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3.xml" ContentType="application/vnd.openxmlformats-officedocument.theme+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notesSlides/notesSlide7.xml" ContentType="application/vnd.openxmlformats-officedocument.presentationml.notesSlide+xml"/>
  <Override PartName="/ppt/tags/tag24.xml" ContentType="application/vnd.openxmlformats-officedocument.presentationml.tags+xml"/>
  <Override PartName="/ppt/notesSlides/notesSlide8.xml" ContentType="application/vnd.openxmlformats-officedocument.presentationml.notesSlide+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notesSlides/notesSlide13.xml" ContentType="application/vnd.openxmlformats-officedocument.presentationml.notesSlide+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3692" r:id="rId5"/>
  </p:sldMasterIdLst>
  <p:notesMasterIdLst>
    <p:notesMasterId r:id="rId21"/>
  </p:notesMasterIdLst>
  <p:sldIdLst>
    <p:sldId id="819" r:id="rId6"/>
    <p:sldId id="825" r:id="rId7"/>
    <p:sldId id="997" r:id="rId8"/>
    <p:sldId id="892" r:id="rId9"/>
    <p:sldId id="878" r:id="rId10"/>
    <p:sldId id="998" r:id="rId11"/>
    <p:sldId id="890" r:id="rId12"/>
    <p:sldId id="995" r:id="rId13"/>
    <p:sldId id="882" r:id="rId14"/>
    <p:sldId id="999" r:id="rId15"/>
    <p:sldId id="1000" r:id="rId16"/>
    <p:sldId id="1001" r:id="rId17"/>
    <p:sldId id="993" r:id="rId18"/>
    <p:sldId id="889" r:id="rId19"/>
    <p:sldId id="888" r:id="rId2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1A0AC3-8C63-85F0-5B34-DFA9AE47EA89}" v="93" dt="2024-08-07T12:39:53.7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850"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DD18F5-C595-4B50-BCA3-5F51E686B946}" type="datetimeFigureOut">
              <a:rPr lang="en-GB" smtClean="0"/>
              <a:t>07/08/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D7766D-46A5-4911-BC88-5C80EE022A61}" type="slidenum">
              <a:rPr lang="en-GB" smtClean="0"/>
              <a:t>‹#›</a:t>
            </a:fld>
            <a:endParaRPr lang="en-GB"/>
          </a:p>
        </p:txBody>
      </p:sp>
    </p:spTree>
    <p:extLst>
      <p:ext uri="{BB962C8B-B14F-4D97-AF65-F5344CB8AC3E}">
        <p14:creationId xmlns:p14="http://schemas.microsoft.com/office/powerpoint/2010/main" val="33766144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9274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46877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73729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9644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25457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91072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0095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17660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11288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48285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44885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44885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98158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647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87895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IG Title slide" type="title">
  <p:cSld name="BIG Title slide">
    <p:bg>
      <p:bgPr>
        <a:solidFill>
          <a:schemeClr val="lt1"/>
        </a:solidFill>
        <a:effectLst/>
      </p:bgPr>
    </p:bg>
    <p:spTree>
      <p:nvGrpSpPr>
        <p:cNvPr id="1" name="Shape 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5799BC0-FF29-4955-5F2D-662A15146890}"/>
              </a:ext>
            </a:extLst>
          </p:cNvPr>
          <p:cNvGraphicFramePr>
            <a:graphicFrameLocks noChangeAspect="1"/>
          </p:cNvGraphicFramePr>
          <p:nvPr userDrawn="1">
            <p:custDataLst>
              <p:tags r:id="rId1"/>
            </p:custDataLst>
            <p:extLst>
              <p:ext uri="{D42A27DB-BD31-4B8C-83A1-F6EECF244321}">
                <p14:modId xmlns:p14="http://schemas.microsoft.com/office/powerpoint/2010/main" val="1510778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25799BC0-FF29-4955-5F2D-662A151468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Google Shape;10;p38"/>
          <p:cNvSpPr txBox="1">
            <a:spLocks noGrp="1"/>
          </p:cNvSpPr>
          <p:nvPr>
            <p:ph type="ctrTitle"/>
          </p:nvPr>
        </p:nvSpPr>
        <p:spPr>
          <a:xfrm>
            <a:off x="243440" y="336181"/>
            <a:ext cx="5901600" cy="1908000"/>
          </a:xfrm>
          <a:prstGeom prst="rect">
            <a:avLst/>
          </a:prstGeom>
          <a:noFill/>
          <a:ln>
            <a:noFill/>
          </a:ln>
        </p:spPr>
        <p:txBody>
          <a:bodyPr spcFirstLastPara="1" wrap="square" lIns="91425" tIns="91425" rIns="91425" bIns="91425" anchor="ctr" anchorCtr="0">
            <a:noAutofit/>
          </a:bodyPr>
          <a:lstStyle>
            <a:lvl1pPr lvl="0" algn="r" rtl="0">
              <a:lnSpc>
                <a:spcPct val="100000"/>
              </a:lnSpc>
              <a:spcBef>
                <a:spcPts val="0"/>
              </a:spcBef>
              <a:spcAft>
                <a:spcPts val="0"/>
              </a:spcAft>
              <a:buClr>
                <a:srgbClr val="FFFFFF"/>
              </a:buClr>
              <a:buSzPts val="3000"/>
              <a:buNone/>
              <a:defRPr sz="4000" b="1">
                <a:solidFill>
                  <a:srgbClr val="FFFFFF"/>
                </a:solidFill>
              </a:defRPr>
            </a:lvl1pPr>
            <a:lvl2pPr lvl="1" algn="r">
              <a:lnSpc>
                <a:spcPct val="100000"/>
              </a:lnSpc>
              <a:spcBef>
                <a:spcPts val="0"/>
              </a:spcBef>
              <a:spcAft>
                <a:spcPts val="0"/>
              </a:spcAft>
              <a:buClr>
                <a:srgbClr val="FFFFFF"/>
              </a:buClr>
              <a:buSzPts val="6000"/>
              <a:buNone/>
              <a:defRPr sz="8000">
                <a:solidFill>
                  <a:srgbClr val="FFFFFF"/>
                </a:solidFill>
              </a:defRPr>
            </a:lvl2pPr>
            <a:lvl3pPr lvl="2" algn="r">
              <a:lnSpc>
                <a:spcPct val="100000"/>
              </a:lnSpc>
              <a:spcBef>
                <a:spcPts val="0"/>
              </a:spcBef>
              <a:spcAft>
                <a:spcPts val="0"/>
              </a:spcAft>
              <a:buClr>
                <a:srgbClr val="FFFFFF"/>
              </a:buClr>
              <a:buSzPts val="6000"/>
              <a:buNone/>
              <a:defRPr sz="8000">
                <a:solidFill>
                  <a:srgbClr val="FFFFFF"/>
                </a:solidFill>
              </a:defRPr>
            </a:lvl3pPr>
            <a:lvl4pPr lvl="3" algn="r">
              <a:lnSpc>
                <a:spcPct val="100000"/>
              </a:lnSpc>
              <a:spcBef>
                <a:spcPts val="0"/>
              </a:spcBef>
              <a:spcAft>
                <a:spcPts val="0"/>
              </a:spcAft>
              <a:buClr>
                <a:srgbClr val="FFFFFF"/>
              </a:buClr>
              <a:buSzPts val="6000"/>
              <a:buNone/>
              <a:defRPr sz="8000">
                <a:solidFill>
                  <a:srgbClr val="FFFFFF"/>
                </a:solidFill>
              </a:defRPr>
            </a:lvl4pPr>
            <a:lvl5pPr lvl="4" algn="r">
              <a:lnSpc>
                <a:spcPct val="100000"/>
              </a:lnSpc>
              <a:spcBef>
                <a:spcPts val="0"/>
              </a:spcBef>
              <a:spcAft>
                <a:spcPts val="0"/>
              </a:spcAft>
              <a:buClr>
                <a:srgbClr val="FFFFFF"/>
              </a:buClr>
              <a:buSzPts val="6000"/>
              <a:buNone/>
              <a:defRPr sz="8000">
                <a:solidFill>
                  <a:srgbClr val="FFFFFF"/>
                </a:solidFill>
              </a:defRPr>
            </a:lvl5pPr>
            <a:lvl6pPr lvl="5" algn="r">
              <a:lnSpc>
                <a:spcPct val="100000"/>
              </a:lnSpc>
              <a:spcBef>
                <a:spcPts val="0"/>
              </a:spcBef>
              <a:spcAft>
                <a:spcPts val="0"/>
              </a:spcAft>
              <a:buClr>
                <a:srgbClr val="FFFFFF"/>
              </a:buClr>
              <a:buSzPts val="6000"/>
              <a:buNone/>
              <a:defRPr sz="8000">
                <a:solidFill>
                  <a:srgbClr val="FFFFFF"/>
                </a:solidFill>
              </a:defRPr>
            </a:lvl6pPr>
            <a:lvl7pPr lvl="6" algn="r">
              <a:lnSpc>
                <a:spcPct val="100000"/>
              </a:lnSpc>
              <a:spcBef>
                <a:spcPts val="0"/>
              </a:spcBef>
              <a:spcAft>
                <a:spcPts val="0"/>
              </a:spcAft>
              <a:buClr>
                <a:srgbClr val="FFFFFF"/>
              </a:buClr>
              <a:buSzPts val="6000"/>
              <a:buNone/>
              <a:defRPr sz="8000">
                <a:solidFill>
                  <a:srgbClr val="FFFFFF"/>
                </a:solidFill>
              </a:defRPr>
            </a:lvl7pPr>
            <a:lvl8pPr lvl="7" algn="r">
              <a:lnSpc>
                <a:spcPct val="100000"/>
              </a:lnSpc>
              <a:spcBef>
                <a:spcPts val="0"/>
              </a:spcBef>
              <a:spcAft>
                <a:spcPts val="0"/>
              </a:spcAft>
              <a:buClr>
                <a:srgbClr val="FFFFFF"/>
              </a:buClr>
              <a:buSzPts val="6000"/>
              <a:buNone/>
              <a:defRPr sz="8000">
                <a:solidFill>
                  <a:srgbClr val="FFFFFF"/>
                </a:solidFill>
              </a:defRPr>
            </a:lvl8pPr>
            <a:lvl9pPr lvl="8" algn="r">
              <a:lnSpc>
                <a:spcPct val="100000"/>
              </a:lnSpc>
              <a:spcBef>
                <a:spcPts val="0"/>
              </a:spcBef>
              <a:spcAft>
                <a:spcPts val="0"/>
              </a:spcAft>
              <a:buClr>
                <a:srgbClr val="FFFFFF"/>
              </a:buClr>
              <a:buSzPts val="6000"/>
              <a:buNone/>
              <a:defRPr sz="8000">
                <a:solidFill>
                  <a:srgbClr val="FFFFFF"/>
                </a:solidFill>
              </a:defRPr>
            </a:lvl9pPr>
          </a:lstStyle>
          <a:p>
            <a:endParaRPr lang="en-GB"/>
          </a:p>
        </p:txBody>
      </p:sp>
      <p:sp>
        <p:nvSpPr>
          <p:cNvPr id="7" name="Google Shape;84;p26">
            <a:extLst>
              <a:ext uri="{FF2B5EF4-FFF2-40B4-BE49-F238E27FC236}">
                <a16:creationId xmlns:a16="http://schemas.microsoft.com/office/drawing/2014/main" id="{66792272-ABE7-4C72-945B-F36106396D74}"/>
              </a:ext>
            </a:extLst>
          </p:cNvPr>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chemeClr val="bg1">
                    <a:lumMod val="10000"/>
                  </a:schemeClr>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6689686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74B7030-3DBF-4C4E-24C0-CF219DF04F95}"/>
              </a:ext>
            </a:extLst>
          </p:cNvPr>
          <p:cNvGraphicFramePr>
            <a:graphicFrameLocks noChangeAspect="1"/>
          </p:cNvGraphicFramePr>
          <p:nvPr userDrawn="1">
            <p:custDataLst>
              <p:tags r:id="rId1"/>
            </p:custDataLst>
            <p:extLst>
              <p:ext uri="{D42A27DB-BD31-4B8C-83A1-F6EECF244321}">
                <p14:modId xmlns:p14="http://schemas.microsoft.com/office/powerpoint/2010/main" val="2669786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674B7030-3DBF-4C4E-24C0-CF219DF04F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0ED71D-EC27-8F28-DB33-B61277AE8ACC}"/>
              </a:ext>
            </a:extLst>
          </p:cNvPr>
          <p:cNvSpPr>
            <a:spLocks noGrp="1"/>
          </p:cNvSpPr>
          <p:nvPr>
            <p:ph type="title"/>
          </p:nvPr>
        </p:nvSpPr>
        <p:spPr>
          <a:xfrm>
            <a:off x="839788" y="457200"/>
            <a:ext cx="3932237" cy="1600200"/>
          </a:xfrm>
        </p:spPr>
        <p:txBody>
          <a:bodyPr vert="horz" anchor="b"/>
          <a:lstStyle>
            <a:lvl1pPr rtl="0">
              <a:defRPr sz="3200"/>
            </a:lvl1pPr>
          </a:lstStyle>
          <a:p>
            <a:r>
              <a:rPr lang="en-GB"/>
              <a:t>Click to edit Master title style</a:t>
            </a:r>
          </a:p>
        </p:txBody>
      </p:sp>
      <p:sp>
        <p:nvSpPr>
          <p:cNvPr id="3" name="Content Placeholder 2">
            <a:extLst>
              <a:ext uri="{FF2B5EF4-FFF2-40B4-BE49-F238E27FC236}">
                <a16:creationId xmlns:a16="http://schemas.microsoft.com/office/drawing/2014/main" id="{42C1DC18-767C-C829-A57C-653269DD5895}"/>
              </a:ext>
            </a:extLst>
          </p:cNvPr>
          <p:cNvSpPr>
            <a:spLocks noGrp="1"/>
          </p:cNvSpPr>
          <p:nvPr>
            <p:ph idx="1"/>
          </p:nvPr>
        </p:nvSpPr>
        <p:spPr>
          <a:xfrm>
            <a:off x="5183188" y="987425"/>
            <a:ext cx="6172200" cy="4873625"/>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94392A34-FE24-4582-D1C0-9C2991F9ED36}"/>
              </a:ext>
            </a:extLst>
          </p:cNvPr>
          <p:cNvSpPr>
            <a:spLocks noGrp="1"/>
          </p:cNvSpPr>
          <p:nvPr>
            <p:ph type="body" sz="half" idx="2"/>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D316953-DDB2-87E2-6C15-5B1C9855F555}"/>
              </a:ext>
            </a:extLst>
          </p:cNvPr>
          <p:cNvSpPr>
            <a:spLocks noGrp="1"/>
          </p:cNvSpPr>
          <p:nvPr>
            <p:ph type="dt" sz="half" idx="10"/>
          </p:nvPr>
        </p:nvSpPr>
        <p:spPr/>
        <p:txBody>
          <a:bodyPr/>
          <a:lstStyle>
            <a:lvl1pPr rtl="0">
              <a:defRPr/>
            </a:lvl1pPr>
          </a:lstStyle>
          <a:p>
            <a:fld id="{01E5E696-B466-4052-86AF-07AEC2786434}" type="datetimeFigureOut">
              <a:rPr lang="en-GB" smtClean="0"/>
              <a:pPr/>
              <a:t>07/08/2024</a:t>
            </a:fld>
            <a:endParaRPr lang="en-GB"/>
          </a:p>
        </p:txBody>
      </p:sp>
      <p:sp>
        <p:nvSpPr>
          <p:cNvPr id="6" name="Footer Placeholder 5">
            <a:extLst>
              <a:ext uri="{FF2B5EF4-FFF2-40B4-BE49-F238E27FC236}">
                <a16:creationId xmlns:a16="http://schemas.microsoft.com/office/drawing/2014/main" id="{418E05FE-FF3D-6D77-AA9A-34F3DBE5EC30}"/>
              </a:ext>
            </a:extLst>
          </p:cNvPr>
          <p:cNvSpPr>
            <a:spLocks noGrp="1"/>
          </p:cNvSpPr>
          <p:nvPr>
            <p:ph type="ftr" sz="quarter" idx="11"/>
          </p:nvPr>
        </p:nvSpPr>
        <p:spPr/>
        <p:txBody>
          <a:bodyPr/>
          <a:lstStyle>
            <a:lvl1pPr rtl="0">
              <a:defRPr/>
            </a:lvl1pPr>
          </a:lstStyle>
          <a:p>
            <a:endParaRPr lang="en-GB"/>
          </a:p>
        </p:txBody>
      </p:sp>
      <p:sp>
        <p:nvSpPr>
          <p:cNvPr id="7" name="Slide Number Placeholder 6">
            <a:extLst>
              <a:ext uri="{FF2B5EF4-FFF2-40B4-BE49-F238E27FC236}">
                <a16:creationId xmlns:a16="http://schemas.microsoft.com/office/drawing/2014/main" id="{C84A9851-96DF-6037-0DDC-9C066BD62A90}"/>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4212196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4F05AFE-A993-C7CD-C163-403B1A1768CC}"/>
              </a:ext>
            </a:extLst>
          </p:cNvPr>
          <p:cNvGraphicFramePr>
            <a:graphicFrameLocks noChangeAspect="1"/>
          </p:cNvGraphicFramePr>
          <p:nvPr userDrawn="1">
            <p:custDataLst>
              <p:tags r:id="rId1"/>
            </p:custDataLst>
            <p:extLst>
              <p:ext uri="{D42A27DB-BD31-4B8C-83A1-F6EECF244321}">
                <p14:modId xmlns:p14="http://schemas.microsoft.com/office/powerpoint/2010/main" val="359244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D4F05AFE-A993-C7CD-C163-403B1A176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46A31A-768F-5709-3DDB-2D882E7DD095}"/>
              </a:ext>
            </a:extLst>
          </p:cNvPr>
          <p:cNvSpPr>
            <a:spLocks noGrp="1"/>
          </p:cNvSpPr>
          <p:nvPr>
            <p:ph type="title"/>
          </p:nvPr>
        </p:nvSpPr>
        <p:spPr>
          <a:xfrm>
            <a:off x="839788" y="457200"/>
            <a:ext cx="3932237" cy="1600200"/>
          </a:xfrm>
        </p:spPr>
        <p:txBody>
          <a:bodyPr vert="horz" anchor="b"/>
          <a:lstStyle>
            <a:lvl1pPr rtl="0">
              <a:defRPr sz="3200"/>
            </a:lvl1pPr>
          </a:lstStyle>
          <a:p>
            <a:r>
              <a:rPr lang="en-GB"/>
              <a:t>Click to edit Master title style</a:t>
            </a:r>
          </a:p>
        </p:txBody>
      </p:sp>
      <p:sp>
        <p:nvSpPr>
          <p:cNvPr id="3" name="Picture Placeholder 2">
            <a:extLst>
              <a:ext uri="{FF2B5EF4-FFF2-40B4-BE49-F238E27FC236}">
                <a16:creationId xmlns:a16="http://schemas.microsoft.com/office/drawing/2014/main" id="{1A62F904-7829-5244-21EC-066845A3C27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9901539-F62C-536A-E9EF-BCF432A8D06D}"/>
              </a:ext>
            </a:extLst>
          </p:cNvPr>
          <p:cNvSpPr>
            <a:spLocks noGrp="1"/>
          </p:cNvSpPr>
          <p:nvPr>
            <p:ph type="body" sz="half" idx="2"/>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B9C73EC0-6539-C7A4-453F-7086DB72EA48}"/>
              </a:ext>
            </a:extLst>
          </p:cNvPr>
          <p:cNvSpPr>
            <a:spLocks noGrp="1"/>
          </p:cNvSpPr>
          <p:nvPr>
            <p:ph type="dt" sz="half" idx="10"/>
          </p:nvPr>
        </p:nvSpPr>
        <p:spPr/>
        <p:txBody>
          <a:bodyPr/>
          <a:lstStyle>
            <a:lvl1pPr rtl="0">
              <a:defRPr/>
            </a:lvl1pPr>
          </a:lstStyle>
          <a:p>
            <a:fld id="{01E5E696-B466-4052-86AF-07AEC2786434}" type="datetimeFigureOut">
              <a:rPr lang="en-GB" smtClean="0"/>
              <a:pPr/>
              <a:t>07/08/2024</a:t>
            </a:fld>
            <a:endParaRPr lang="en-GB"/>
          </a:p>
        </p:txBody>
      </p:sp>
      <p:sp>
        <p:nvSpPr>
          <p:cNvPr id="6" name="Footer Placeholder 5">
            <a:extLst>
              <a:ext uri="{FF2B5EF4-FFF2-40B4-BE49-F238E27FC236}">
                <a16:creationId xmlns:a16="http://schemas.microsoft.com/office/drawing/2014/main" id="{AAAA9B32-75EF-824B-1589-0AEB4BC230C0}"/>
              </a:ext>
            </a:extLst>
          </p:cNvPr>
          <p:cNvSpPr>
            <a:spLocks noGrp="1"/>
          </p:cNvSpPr>
          <p:nvPr>
            <p:ph type="ftr" sz="quarter" idx="11"/>
          </p:nvPr>
        </p:nvSpPr>
        <p:spPr/>
        <p:txBody>
          <a:bodyPr/>
          <a:lstStyle>
            <a:lvl1pPr rtl="0">
              <a:defRPr/>
            </a:lvl1pPr>
          </a:lstStyle>
          <a:p>
            <a:endParaRPr lang="en-GB"/>
          </a:p>
        </p:txBody>
      </p:sp>
      <p:sp>
        <p:nvSpPr>
          <p:cNvPr id="7" name="Slide Number Placeholder 6">
            <a:extLst>
              <a:ext uri="{FF2B5EF4-FFF2-40B4-BE49-F238E27FC236}">
                <a16:creationId xmlns:a16="http://schemas.microsoft.com/office/drawing/2014/main" id="{BAB47272-5AEF-9AD5-20E0-728676E3F85C}"/>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16833160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66306BD-9952-75EE-32D9-891EE93720B1}"/>
              </a:ext>
            </a:extLst>
          </p:cNvPr>
          <p:cNvGraphicFramePr>
            <a:graphicFrameLocks noChangeAspect="1"/>
          </p:cNvGraphicFramePr>
          <p:nvPr userDrawn="1">
            <p:custDataLst>
              <p:tags r:id="rId1"/>
            </p:custDataLst>
            <p:extLst>
              <p:ext uri="{D42A27DB-BD31-4B8C-83A1-F6EECF244321}">
                <p14:modId xmlns:p14="http://schemas.microsoft.com/office/powerpoint/2010/main" val="1223500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D66306BD-9952-75EE-32D9-891EE93720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C68B34F-854E-DC94-6944-160A3279073A}"/>
              </a:ext>
            </a:extLst>
          </p:cNvPr>
          <p:cNvSpPr>
            <a:spLocks noGrp="1"/>
          </p:cNvSpPr>
          <p:nvPr>
            <p:ph type="title"/>
          </p:nvPr>
        </p:nvSpPr>
        <p:spPr/>
        <p:txBody>
          <a:bodyPr vert="horz"/>
          <a:lstStyle>
            <a:lvl1pPr rtl="0">
              <a:defRPr/>
            </a:lvl1pPr>
          </a:lstStyle>
          <a:p>
            <a:r>
              <a:rPr lang="en-GB"/>
              <a:t>Click to edit Master title style</a:t>
            </a:r>
          </a:p>
        </p:txBody>
      </p:sp>
      <p:sp>
        <p:nvSpPr>
          <p:cNvPr id="3" name="Vertical Text Placeholder 2">
            <a:extLst>
              <a:ext uri="{FF2B5EF4-FFF2-40B4-BE49-F238E27FC236}">
                <a16:creationId xmlns:a16="http://schemas.microsoft.com/office/drawing/2014/main" id="{593A1CD8-09ED-A17B-3D38-097B061ECD84}"/>
              </a:ext>
            </a:extLst>
          </p:cNvPr>
          <p:cNvSpPr>
            <a:spLocks noGrp="1"/>
          </p:cNvSpPr>
          <p:nvPr>
            <p:ph type="body" orient="vert" idx="1"/>
          </p:nvPr>
        </p:nvSpPr>
        <p:spPr/>
        <p:txBody>
          <a:bodyPr vert="eaVert"/>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D8E82643-9097-D927-5B27-1CA8676A0231}"/>
              </a:ext>
            </a:extLst>
          </p:cNvPr>
          <p:cNvSpPr>
            <a:spLocks noGrp="1"/>
          </p:cNvSpPr>
          <p:nvPr>
            <p:ph type="dt" sz="half" idx="10"/>
          </p:nvPr>
        </p:nvSpPr>
        <p:spPr/>
        <p:txBody>
          <a:bodyPr/>
          <a:lstStyle>
            <a:lvl1pPr rtl="0">
              <a:defRPr/>
            </a:lvl1pPr>
          </a:lstStyle>
          <a:p>
            <a:fld id="{01E5E696-B466-4052-86AF-07AEC2786434}" type="datetimeFigureOut">
              <a:rPr lang="en-GB" smtClean="0"/>
              <a:pPr/>
              <a:t>07/08/2024</a:t>
            </a:fld>
            <a:endParaRPr lang="en-GB"/>
          </a:p>
        </p:txBody>
      </p:sp>
      <p:sp>
        <p:nvSpPr>
          <p:cNvPr id="5" name="Footer Placeholder 4">
            <a:extLst>
              <a:ext uri="{FF2B5EF4-FFF2-40B4-BE49-F238E27FC236}">
                <a16:creationId xmlns:a16="http://schemas.microsoft.com/office/drawing/2014/main" id="{63E102B5-A279-DFC3-0EA4-6F535460EC29}"/>
              </a:ext>
            </a:extLst>
          </p:cNvPr>
          <p:cNvSpPr>
            <a:spLocks noGrp="1"/>
          </p:cNvSpPr>
          <p:nvPr>
            <p:ph type="ftr" sz="quarter" idx="11"/>
          </p:nvPr>
        </p:nvSpPr>
        <p:spPr/>
        <p:txBody>
          <a:bodyPr/>
          <a:lstStyle>
            <a:lvl1pPr rtl="0">
              <a:defRPr/>
            </a:lvl1pPr>
          </a:lstStyle>
          <a:p>
            <a:endParaRPr lang="en-GB"/>
          </a:p>
        </p:txBody>
      </p:sp>
      <p:sp>
        <p:nvSpPr>
          <p:cNvPr id="6" name="Slide Number Placeholder 5">
            <a:extLst>
              <a:ext uri="{FF2B5EF4-FFF2-40B4-BE49-F238E27FC236}">
                <a16:creationId xmlns:a16="http://schemas.microsoft.com/office/drawing/2014/main" id="{875BCBA9-B2DF-CD3D-8319-1E366827DE15}"/>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7037067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935FC0F-3C14-58A2-65E8-A4B976954747}"/>
              </a:ext>
            </a:extLst>
          </p:cNvPr>
          <p:cNvGraphicFramePr>
            <a:graphicFrameLocks noChangeAspect="1"/>
          </p:cNvGraphicFramePr>
          <p:nvPr userDrawn="1">
            <p:custDataLst>
              <p:tags r:id="rId1"/>
            </p:custDataLst>
            <p:extLst>
              <p:ext uri="{D42A27DB-BD31-4B8C-83A1-F6EECF244321}">
                <p14:modId xmlns:p14="http://schemas.microsoft.com/office/powerpoint/2010/main" val="1735218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935FC0F-3C14-58A2-65E8-A4B9769547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F98F5067-3920-FD52-B89B-56ACAE9B707A}"/>
              </a:ext>
            </a:extLst>
          </p:cNvPr>
          <p:cNvSpPr>
            <a:spLocks noGrp="1"/>
          </p:cNvSpPr>
          <p:nvPr>
            <p:ph type="title" orient="vert"/>
          </p:nvPr>
        </p:nvSpPr>
        <p:spPr>
          <a:xfrm>
            <a:off x="8724900" y="365125"/>
            <a:ext cx="2628900" cy="5811838"/>
          </a:xfrm>
        </p:spPr>
        <p:txBody>
          <a:bodyPr vert="eaVert"/>
          <a:lstStyle>
            <a:lvl1pPr rtl="0">
              <a:defRPr/>
            </a:lvl1pPr>
          </a:lstStyle>
          <a:p>
            <a:r>
              <a:rPr lang="en-GB"/>
              <a:t>Click to edit Master title style</a:t>
            </a:r>
          </a:p>
        </p:txBody>
      </p:sp>
      <p:sp>
        <p:nvSpPr>
          <p:cNvPr id="3" name="Vertical Text Placeholder 2">
            <a:extLst>
              <a:ext uri="{FF2B5EF4-FFF2-40B4-BE49-F238E27FC236}">
                <a16:creationId xmlns:a16="http://schemas.microsoft.com/office/drawing/2014/main" id="{245D4F82-FEB8-BF14-B5E6-20A790BFA0E8}"/>
              </a:ext>
            </a:extLst>
          </p:cNvPr>
          <p:cNvSpPr>
            <a:spLocks noGrp="1"/>
          </p:cNvSpPr>
          <p:nvPr>
            <p:ph type="body" orient="vert" idx="1"/>
          </p:nvPr>
        </p:nvSpPr>
        <p:spPr>
          <a:xfrm>
            <a:off x="838200" y="365125"/>
            <a:ext cx="7734300" cy="5811838"/>
          </a:xfrm>
        </p:spPr>
        <p:txBody>
          <a:bodyPr vert="eaVert"/>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9D7B2A2-9664-C82E-6F47-016A456A1C30}"/>
              </a:ext>
            </a:extLst>
          </p:cNvPr>
          <p:cNvSpPr>
            <a:spLocks noGrp="1"/>
          </p:cNvSpPr>
          <p:nvPr>
            <p:ph type="dt" sz="half" idx="10"/>
          </p:nvPr>
        </p:nvSpPr>
        <p:spPr/>
        <p:txBody>
          <a:bodyPr/>
          <a:lstStyle>
            <a:lvl1pPr rtl="0">
              <a:defRPr/>
            </a:lvl1pPr>
          </a:lstStyle>
          <a:p>
            <a:fld id="{01E5E696-B466-4052-86AF-07AEC2786434}" type="datetimeFigureOut">
              <a:rPr lang="en-GB" smtClean="0"/>
              <a:pPr/>
              <a:t>07/08/2024</a:t>
            </a:fld>
            <a:endParaRPr lang="en-GB"/>
          </a:p>
        </p:txBody>
      </p:sp>
      <p:sp>
        <p:nvSpPr>
          <p:cNvPr id="5" name="Footer Placeholder 4">
            <a:extLst>
              <a:ext uri="{FF2B5EF4-FFF2-40B4-BE49-F238E27FC236}">
                <a16:creationId xmlns:a16="http://schemas.microsoft.com/office/drawing/2014/main" id="{CB39CA04-9521-EA26-0182-1E12166EB742}"/>
              </a:ext>
            </a:extLst>
          </p:cNvPr>
          <p:cNvSpPr>
            <a:spLocks noGrp="1"/>
          </p:cNvSpPr>
          <p:nvPr>
            <p:ph type="ftr" sz="quarter" idx="11"/>
          </p:nvPr>
        </p:nvSpPr>
        <p:spPr/>
        <p:txBody>
          <a:bodyPr/>
          <a:lstStyle>
            <a:lvl1pPr rtl="0">
              <a:defRPr/>
            </a:lvl1pPr>
          </a:lstStyle>
          <a:p>
            <a:endParaRPr lang="en-GB"/>
          </a:p>
        </p:txBody>
      </p:sp>
      <p:sp>
        <p:nvSpPr>
          <p:cNvPr id="6" name="Slide Number Placeholder 5">
            <a:extLst>
              <a:ext uri="{FF2B5EF4-FFF2-40B4-BE49-F238E27FC236}">
                <a16:creationId xmlns:a16="http://schemas.microsoft.com/office/drawing/2014/main" id="{AACCB395-E1DB-21F0-C345-9250784DCF5F}"/>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33104765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BIG Title slide" type="title">
  <p:cSld name="BIG Title slide">
    <p:bg>
      <p:bgPr>
        <a:solidFill>
          <a:schemeClr val="lt1"/>
        </a:solidFill>
        <a:effectLst/>
      </p:bgPr>
    </p:bg>
    <p:spTree>
      <p:nvGrpSpPr>
        <p:cNvPr id="1" name="Shape 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1AE2475-3EF7-B046-C06F-D466A088F5E4}"/>
              </a:ext>
            </a:extLst>
          </p:cNvPr>
          <p:cNvGraphicFramePr>
            <a:graphicFrameLocks noChangeAspect="1"/>
          </p:cNvGraphicFramePr>
          <p:nvPr userDrawn="1">
            <p:custDataLst>
              <p:tags r:id="rId1"/>
            </p:custDataLst>
            <p:extLst>
              <p:ext uri="{D42A27DB-BD31-4B8C-83A1-F6EECF244321}">
                <p14:modId xmlns:p14="http://schemas.microsoft.com/office/powerpoint/2010/main" val="4255872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61AE2475-3EF7-B046-C06F-D466A088F5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Google Shape;10;p38"/>
          <p:cNvSpPr txBox="1">
            <a:spLocks noGrp="1"/>
          </p:cNvSpPr>
          <p:nvPr>
            <p:ph type="ctrTitle"/>
          </p:nvPr>
        </p:nvSpPr>
        <p:spPr>
          <a:xfrm>
            <a:off x="243440" y="336181"/>
            <a:ext cx="5901600" cy="1908000"/>
          </a:xfrm>
          <a:prstGeom prst="rect">
            <a:avLst/>
          </a:prstGeom>
          <a:noFill/>
          <a:ln>
            <a:noFill/>
          </a:ln>
        </p:spPr>
        <p:txBody>
          <a:bodyPr spcFirstLastPara="1" wrap="square" lIns="91425" tIns="91425" rIns="91425" bIns="91425" anchor="ctr" anchorCtr="0">
            <a:noAutofit/>
          </a:bodyPr>
          <a:lstStyle>
            <a:lvl1pPr lvl="0" algn="r" rtl="0">
              <a:lnSpc>
                <a:spcPct val="100000"/>
              </a:lnSpc>
              <a:spcBef>
                <a:spcPts val="0"/>
              </a:spcBef>
              <a:spcAft>
                <a:spcPts val="0"/>
              </a:spcAft>
              <a:buClr>
                <a:srgbClr val="FFFFFF"/>
              </a:buClr>
              <a:buSzPts val="3000"/>
              <a:buNone/>
              <a:defRPr sz="4000" b="1">
                <a:solidFill>
                  <a:srgbClr val="FFFFFF"/>
                </a:solidFill>
              </a:defRPr>
            </a:lvl1pPr>
            <a:lvl2pPr lvl="1" algn="r">
              <a:lnSpc>
                <a:spcPct val="100000"/>
              </a:lnSpc>
              <a:spcBef>
                <a:spcPts val="0"/>
              </a:spcBef>
              <a:spcAft>
                <a:spcPts val="0"/>
              </a:spcAft>
              <a:buClr>
                <a:srgbClr val="FFFFFF"/>
              </a:buClr>
              <a:buSzPts val="6000"/>
              <a:buNone/>
              <a:defRPr sz="8000">
                <a:solidFill>
                  <a:srgbClr val="FFFFFF"/>
                </a:solidFill>
              </a:defRPr>
            </a:lvl2pPr>
            <a:lvl3pPr lvl="2" algn="r">
              <a:lnSpc>
                <a:spcPct val="100000"/>
              </a:lnSpc>
              <a:spcBef>
                <a:spcPts val="0"/>
              </a:spcBef>
              <a:spcAft>
                <a:spcPts val="0"/>
              </a:spcAft>
              <a:buClr>
                <a:srgbClr val="FFFFFF"/>
              </a:buClr>
              <a:buSzPts val="6000"/>
              <a:buNone/>
              <a:defRPr sz="8000">
                <a:solidFill>
                  <a:srgbClr val="FFFFFF"/>
                </a:solidFill>
              </a:defRPr>
            </a:lvl3pPr>
            <a:lvl4pPr lvl="3" algn="r">
              <a:lnSpc>
                <a:spcPct val="100000"/>
              </a:lnSpc>
              <a:spcBef>
                <a:spcPts val="0"/>
              </a:spcBef>
              <a:spcAft>
                <a:spcPts val="0"/>
              </a:spcAft>
              <a:buClr>
                <a:srgbClr val="FFFFFF"/>
              </a:buClr>
              <a:buSzPts val="6000"/>
              <a:buNone/>
              <a:defRPr sz="8000">
                <a:solidFill>
                  <a:srgbClr val="FFFFFF"/>
                </a:solidFill>
              </a:defRPr>
            </a:lvl4pPr>
            <a:lvl5pPr lvl="4" algn="r">
              <a:lnSpc>
                <a:spcPct val="100000"/>
              </a:lnSpc>
              <a:spcBef>
                <a:spcPts val="0"/>
              </a:spcBef>
              <a:spcAft>
                <a:spcPts val="0"/>
              </a:spcAft>
              <a:buClr>
                <a:srgbClr val="FFFFFF"/>
              </a:buClr>
              <a:buSzPts val="6000"/>
              <a:buNone/>
              <a:defRPr sz="8000">
                <a:solidFill>
                  <a:srgbClr val="FFFFFF"/>
                </a:solidFill>
              </a:defRPr>
            </a:lvl5pPr>
            <a:lvl6pPr lvl="5" algn="r">
              <a:lnSpc>
                <a:spcPct val="100000"/>
              </a:lnSpc>
              <a:spcBef>
                <a:spcPts val="0"/>
              </a:spcBef>
              <a:spcAft>
                <a:spcPts val="0"/>
              </a:spcAft>
              <a:buClr>
                <a:srgbClr val="FFFFFF"/>
              </a:buClr>
              <a:buSzPts val="6000"/>
              <a:buNone/>
              <a:defRPr sz="8000">
                <a:solidFill>
                  <a:srgbClr val="FFFFFF"/>
                </a:solidFill>
              </a:defRPr>
            </a:lvl6pPr>
            <a:lvl7pPr lvl="6" algn="r">
              <a:lnSpc>
                <a:spcPct val="100000"/>
              </a:lnSpc>
              <a:spcBef>
                <a:spcPts val="0"/>
              </a:spcBef>
              <a:spcAft>
                <a:spcPts val="0"/>
              </a:spcAft>
              <a:buClr>
                <a:srgbClr val="FFFFFF"/>
              </a:buClr>
              <a:buSzPts val="6000"/>
              <a:buNone/>
              <a:defRPr sz="8000">
                <a:solidFill>
                  <a:srgbClr val="FFFFFF"/>
                </a:solidFill>
              </a:defRPr>
            </a:lvl7pPr>
            <a:lvl8pPr lvl="7" algn="r">
              <a:lnSpc>
                <a:spcPct val="100000"/>
              </a:lnSpc>
              <a:spcBef>
                <a:spcPts val="0"/>
              </a:spcBef>
              <a:spcAft>
                <a:spcPts val="0"/>
              </a:spcAft>
              <a:buClr>
                <a:srgbClr val="FFFFFF"/>
              </a:buClr>
              <a:buSzPts val="6000"/>
              <a:buNone/>
              <a:defRPr sz="8000">
                <a:solidFill>
                  <a:srgbClr val="FFFFFF"/>
                </a:solidFill>
              </a:defRPr>
            </a:lvl8pPr>
            <a:lvl9pPr lvl="8" algn="r">
              <a:lnSpc>
                <a:spcPct val="100000"/>
              </a:lnSpc>
              <a:spcBef>
                <a:spcPts val="0"/>
              </a:spcBef>
              <a:spcAft>
                <a:spcPts val="0"/>
              </a:spcAft>
              <a:buClr>
                <a:srgbClr val="FFFFFF"/>
              </a:buClr>
              <a:buSzPts val="6000"/>
              <a:buNone/>
              <a:defRPr sz="8000">
                <a:solidFill>
                  <a:srgbClr val="FFFFFF"/>
                </a:solidFill>
              </a:defRPr>
            </a:lvl9pPr>
          </a:lstStyle>
          <a:p>
            <a:endParaRPr lang="en-GB"/>
          </a:p>
        </p:txBody>
      </p:sp>
      <p:sp>
        <p:nvSpPr>
          <p:cNvPr id="7" name="Google Shape;84;p26">
            <a:extLst>
              <a:ext uri="{FF2B5EF4-FFF2-40B4-BE49-F238E27FC236}">
                <a16:creationId xmlns:a16="http://schemas.microsoft.com/office/drawing/2014/main" id="{66792272-ABE7-4C72-945B-F36106396D74}"/>
              </a:ext>
            </a:extLst>
          </p:cNvPr>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chemeClr val="bg1">
                    <a:lumMod val="10000"/>
                  </a:schemeClr>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8195834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IG Title slide" type="title" preserve="1">
  <p:cSld name="1_BIG Title slide">
    <p:bg>
      <p:bgPr>
        <a:solidFill>
          <a:schemeClr val="lt1"/>
        </a:solidFill>
        <a:effectLst/>
      </p:bgPr>
    </p:bg>
    <p:spTree>
      <p:nvGrpSpPr>
        <p:cNvPr id="1" name="Shape 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564FA6-FC57-F30D-413F-53780E0CE0EB}"/>
              </a:ext>
            </a:extLst>
          </p:cNvPr>
          <p:cNvGraphicFramePr>
            <a:graphicFrameLocks noChangeAspect="1"/>
          </p:cNvGraphicFramePr>
          <p:nvPr userDrawn="1">
            <p:custDataLst>
              <p:tags r:id="rId1"/>
            </p:custDataLst>
            <p:extLst>
              <p:ext uri="{D42A27DB-BD31-4B8C-83A1-F6EECF244321}">
                <p14:modId xmlns:p14="http://schemas.microsoft.com/office/powerpoint/2010/main" val="303103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3F564FA6-FC57-F30D-413F-53780E0CE0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Google Shape;10;p38"/>
          <p:cNvSpPr txBox="1">
            <a:spLocks noGrp="1"/>
          </p:cNvSpPr>
          <p:nvPr>
            <p:ph type="ctrTitle"/>
          </p:nvPr>
        </p:nvSpPr>
        <p:spPr>
          <a:xfrm>
            <a:off x="243440" y="336181"/>
            <a:ext cx="5901600" cy="1908000"/>
          </a:xfrm>
          <a:prstGeom prst="rect">
            <a:avLst/>
          </a:prstGeom>
          <a:noFill/>
          <a:ln>
            <a:noFill/>
          </a:ln>
        </p:spPr>
        <p:txBody>
          <a:bodyPr spcFirstLastPara="1" wrap="square" lIns="91425" tIns="91425" rIns="91425" bIns="91425" anchor="ctr" anchorCtr="0">
            <a:noAutofit/>
          </a:bodyPr>
          <a:lstStyle>
            <a:lvl1pPr lvl="0" algn="r" rtl="0">
              <a:lnSpc>
                <a:spcPct val="100000"/>
              </a:lnSpc>
              <a:spcBef>
                <a:spcPts val="0"/>
              </a:spcBef>
              <a:spcAft>
                <a:spcPts val="0"/>
              </a:spcAft>
              <a:buClr>
                <a:srgbClr val="FFFFFF"/>
              </a:buClr>
              <a:buSzPts val="3000"/>
              <a:buNone/>
              <a:defRPr sz="4000" b="1">
                <a:solidFill>
                  <a:srgbClr val="FFFFFF"/>
                </a:solidFill>
              </a:defRPr>
            </a:lvl1pPr>
            <a:lvl2pPr lvl="1" algn="r">
              <a:lnSpc>
                <a:spcPct val="100000"/>
              </a:lnSpc>
              <a:spcBef>
                <a:spcPts val="0"/>
              </a:spcBef>
              <a:spcAft>
                <a:spcPts val="0"/>
              </a:spcAft>
              <a:buClr>
                <a:srgbClr val="FFFFFF"/>
              </a:buClr>
              <a:buSzPts val="6000"/>
              <a:buNone/>
              <a:defRPr sz="8000">
                <a:solidFill>
                  <a:srgbClr val="FFFFFF"/>
                </a:solidFill>
              </a:defRPr>
            </a:lvl2pPr>
            <a:lvl3pPr lvl="2" algn="r">
              <a:lnSpc>
                <a:spcPct val="100000"/>
              </a:lnSpc>
              <a:spcBef>
                <a:spcPts val="0"/>
              </a:spcBef>
              <a:spcAft>
                <a:spcPts val="0"/>
              </a:spcAft>
              <a:buClr>
                <a:srgbClr val="FFFFFF"/>
              </a:buClr>
              <a:buSzPts val="6000"/>
              <a:buNone/>
              <a:defRPr sz="8000">
                <a:solidFill>
                  <a:srgbClr val="FFFFFF"/>
                </a:solidFill>
              </a:defRPr>
            </a:lvl3pPr>
            <a:lvl4pPr lvl="3" algn="r">
              <a:lnSpc>
                <a:spcPct val="100000"/>
              </a:lnSpc>
              <a:spcBef>
                <a:spcPts val="0"/>
              </a:spcBef>
              <a:spcAft>
                <a:spcPts val="0"/>
              </a:spcAft>
              <a:buClr>
                <a:srgbClr val="FFFFFF"/>
              </a:buClr>
              <a:buSzPts val="6000"/>
              <a:buNone/>
              <a:defRPr sz="8000">
                <a:solidFill>
                  <a:srgbClr val="FFFFFF"/>
                </a:solidFill>
              </a:defRPr>
            </a:lvl4pPr>
            <a:lvl5pPr lvl="4" algn="r">
              <a:lnSpc>
                <a:spcPct val="100000"/>
              </a:lnSpc>
              <a:spcBef>
                <a:spcPts val="0"/>
              </a:spcBef>
              <a:spcAft>
                <a:spcPts val="0"/>
              </a:spcAft>
              <a:buClr>
                <a:srgbClr val="FFFFFF"/>
              </a:buClr>
              <a:buSzPts val="6000"/>
              <a:buNone/>
              <a:defRPr sz="8000">
                <a:solidFill>
                  <a:srgbClr val="FFFFFF"/>
                </a:solidFill>
              </a:defRPr>
            </a:lvl5pPr>
            <a:lvl6pPr lvl="5" algn="r">
              <a:lnSpc>
                <a:spcPct val="100000"/>
              </a:lnSpc>
              <a:spcBef>
                <a:spcPts val="0"/>
              </a:spcBef>
              <a:spcAft>
                <a:spcPts val="0"/>
              </a:spcAft>
              <a:buClr>
                <a:srgbClr val="FFFFFF"/>
              </a:buClr>
              <a:buSzPts val="6000"/>
              <a:buNone/>
              <a:defRPr sz="8000">
                <a:solidFill>
                  <a:srgbClr val="FFFFFF"/>
                </a:solidFill>
              </a:defRPr>
            </a:lvl6pPr>
            <a:lvl7pPr lvl="6" algn="r">
              <a:lnSpc>
                <a:spcPct val="100000"/>
              </a:lnSpc>
              <a:spcBef>
                <a:spcPts val="0"/>
              </a:spcBef>
              <a:spcAft>
                <a:spcPts val="0"/>
              </a:spcAft>
              <a:buClr>
                <a:srgbClr val="FFFFFF"/>
              </a:buClr>
              <a:buSzPts val="6000"/>
              <a:buNone/>
              <a:defRPr sz="8000">
                <a:solidFill>
                  <a:srgbClr val="FFFFFF"/>
                </a:solidFill>
              </a:defRPr>
            </a:lvl7pPr>
            <a:lvl8pPr lvl="7" algn="r">
              <a:lnSpc>
                <a:spcPct val="100000"/>
              </a:lnSpc>
              <a:spcBef>
                <a:spcPts val="0"/>
              </a:spcBef>
              <a:spcAft>
                <a:spcPts val="0"/>
              </a:spcAft>
              <a:buClr>
                <a:srgbClr val="FFFFFF"/>
              </a:buClr>
              <a:buSzPts val="6000"/>
              <a:buNone/>
              <a:defRPr sz="8000">
                <a:solidFill>
                  <a:srgbClr val="FFFFFF"/>
                </a:solidFill>
              </a:defRPr>
            </a:lvl8pPr>
            <a:lvl9pPr lvl="8" algn="r">
              <a:lnSpc>
                <a:spcPct val="100000"/>
              </a:lnSpc>
              <a:spcBef>
                <a:spcPts val="0"/>
              </a:spcBef>
              <a:spcAft>
                <a:spcPts val="0"/>
              </a:spcAft>
              <a:buClr>
                <a:srgbClr val="FFFFFF"/>
              </a:buClr>
              <a:buSzPts val="6000"/>
              <a:buNone/>
              <a:defRPr sz="8000">
                <a:solidFill>
                  <a:srgbClr val="FFFFFF"/>
                </a:solidFill>
              </a:defRPr>
            </a:lvl9pPr>
          </a:lstStyle>
          <a:p>
            <a:endParaRPr lang="en-GB"/>
          </a:p>
        </p:txBody>
      </p:sp>
      <p:sp>
        <p:nvSpPr>
          <p:cNvPr id="7" name="Google Shape;84;p26">
            <a:extLst>
              <a:ext uri="{FF2B5EF4-FFF2-40B4-BE49-F238E27FC236}">
                <a16:creationId xmlns:a16="http://schemas.microsoft.com/office/drawing/2014/main" id="{66792272-ABE7-4C72-945B-F36106396D74}"/>
              </a:ext>
            </a:extLst>
          </p:cNvPr>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chemeClr val="bg1">
                    <a:lumMod val="10000"/>
                  </a:schemeClr>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0812306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B696B6F-0C51-BA36-D96D-37DE7F54C9AE}"/>
              </a:ext>
            </a:extLst>
          </p:cNvPr>
          <p:cNvGraphicFramePr>
            <a:graphicFrameLocks noChangeAspect="1"/>
          </p:cNvGraphicFramePr>
          <p:nvPr userDrawn="1">
            <p:custDataLst>
              <p:tags r:id="rId1"/>
            </p:custDataLst>
            <p:extLst>
              <p:ext uri="{D42A27DB-BD31-4B8C-83A1-F6EECF244321}">
                <p14:modId xmlns:p14="http://schemas.microsoft.com/office/powerpoint/2010/main" val="3117873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4B696B6F-0C51-BA36-D96D-37DE7F54C9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E557C5-FF64-72E2-83DE-621AE5BC49CB}"/>
              </a:ext>
            </a:extLst>
          </p:cNvPr>
          <p:cNvSpPr>
            <a:spLocks noGrp="1"/>
          </p:cNvSpPr>
          <p:nvPr>
            <p:ph type="ctrTitle"/>
          </p:nvPr>
        </p:nvSpPr>
        <p:spPr>
          <a:xfrm>
            <a:off x="1524000" y="1122363"/>
            <a:ext cx="9144000" cy="2387600"/>
          </a:xfrm>
        </p:spPr>
        <p:txBody>
          <a:bodyPr vert="horz" anchor="b"/>
          <a:lstStyle>
            <a:lvl1pPr algn="ctr" rtl="0">
              <a:defRPr sz="6000"/>
            </a:lvl1pPr>
          </a:lstStyle>
          <a:p>
            <a:r>
              <a:rPr lang="en-GB"/>
              <a:t>Click to edit Master title style</a:t>
            </a:r>
          </a:p>
        </p:txBody>
      </p:sp>
      <p:sp>
        <p:nvSpPr>
          <p:cNvPr id="3" name="Subtitle 2">
            <a:extLst>
              <a:ext uri="{FF2B5EF4-FFF2-40B4-BE49-F238E27FC236}">
                <a16:creationId xmlns:a16="http://schemas.microsoft.com/office/drawing/2014/main" id="{10D95B42-C50D-84A5-B681-9C9BF2434245}"/>
              </a:ext>
            </a:extLst>
          </p:cNvPr>
          <p:cNvSpPr>
            <a:spLocks noGrp="1"/>
          </p:cNvSpPr>
          <p:nvPr>
            <p:ph type="subTitle" idx="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7EFD29E4-8667-0936-CB5A-37651247438C}"/>
              </a:ext>
            </a:extLst>
          </p:cNvPr>
          <p:cNvSpPr>
            <a:spLocks noGrp="1"/>
          </p:cNvSpPr>
          <p:nvPr>
            <p:ph type="dt" sz="half" idx="10"/>
          </p:nvPr>
        </p:nvSpPr>
        <p:spPr/>
        <p:txBody>
          <a:bodyPr/>
          <a:lstStyle>
            <a:lvl1pPr rtl="0">
              <a:defRPr/>
            </a:lvl1pPr>
          </a:lstStyle>
          <a:p>
            <a:fld id="{01E5E696-B466-4052-86AF-07AEC2786434}" type="datetimeFigureOut">
              <a:rPr lang="en-GB" smtClean="0"/>
              <a:pPr/>
              <a:t>07/08/2024</a:t>
            </a:fld>
            <a:endParaRPr lang="en-GB"/>
          </a:p>
        </p:txBody>
      </p:sp>
      <p:sp>
        <p:nvSpPr>
          <p:cNvPr id="5" name="Footer Placeholder 4">
            <a:extLst>
              <a:ext uri="{FF2B5EF4-FFF2-40B4-BE49-F238E27FC236}">
                <a16:creationId xmlns:a16="http://schemas.microsoft.com/office/drawing/2014/main" id="{13DA8B6D-08B2-0A63-FA05-0544C89725CA}"/>
              </a:ext>
            </a:extLst>
          </p:cNvPr>
          <p:cNvSpPr>
            <a:spLocks noGrp="1"/>
          </p:cNvSpPr>
          <p:nvPr>
            <p:ph type="ftr" sz="quarter" idx="11"/>
          </p:nvPr>
        </p:nvSpPr>
        <p:spPr/>
        <p:txBody>
          <a:bodyPr/>
          <a:lstStyle>
            <a:lvl1pPr rtl="0">
              <a:defRPr/>
            </a:lvl1pPr>
          </a:lstStyle>
          <a:p>
            <a:endParaRPr lang="en-GB"/>
          </a:p>
        </p:txBody>
      </p:sp>
      <p:sp>
        <p:nvSpPr>
          <p:cNvPr id="6" name="Slide Number Placeholder 5">
            <a:extLst>
              <a:ext uri="{FF2B5EF4-FFF2-40B4-BE49-F238E27FC236}">
                <a16:creationId xmlns:a16="http://schemas.microsoft.com/office/drawing/2014/main" id="{C3F9F402-FF20-6B6C-918E-BC83D86E326E}"/>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13192829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BBAC24-B24F-F3C1-A213-1DB4A2E50DBA}"/>
              </a:ext>
            </a:extLst>
          </p:cNvPr>
          <p:cNvGraphicFramePr>
            <a:graphicFrameLocks noChangeAspect="1"/>
          </p:cNvGraphicFramePr>
          <p:nvPr userDrawn="1">
            <p:custDataLst>
              <p:tags r:id="rId1"/>
            </p:custDataLst>
            <p:extLst>
              <p:ext uri="{D42A27DB-BD31-4B8C-83A1-F6EECF244321}">
                <p14:modId xmlns:p14="http://schemas.microsoft.com/office/powerpoint/2010/main" val="1219212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71BBAC24-B24F-F3C1-A213-1DB4A2E50D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41DCD6-310C-CA5F-2FD1-97DF6F99FB15}"/>
              </a:ext>
            </a:extLst>
          </p:cNvPr>
          <p:cNvSpPr>
            <a:spLocks noGrp="1"/>
          </p:cNvSpPr>
          <p:nvPr>
            <p:ph type="title"/>
          </p:nvPr>
        </p:nvSpPr>
        <p:spPr/>
        <p:txBody>
          <a:bodyPr vert="horz"/>
          <a:lstStyle>
            <a:lvl1pPr rtl="0">
              <a:defRPr/>
            </a:lvl1pPr>
          </a:lstStyle>
          <a:p>
            <a:r>
              <a:rPr lang="en-GB"/>
              <a:t>Click to edit Master title style</a:t>
            </a:r>
          </a:p>
        </p:txBody>
      </p:sp>
      <p:sp>
        <p:nvSpPr>
          <p:cNvPr id="3" name="Content Placeholder 2">
            <a:extLst>
              <a:ext uri="{FF2B5EF4-FFF2-40B4-BE49-F238E27FC236}">
                <a16:creationId xmlns:a16="http://schemas.microsoft.com/office/drawing/2014/main" id="{EA79AEB1-423D-619A-A054-E3244B50C570}"/>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3833D114-C1CE-01AF-B57E-FC23D309CD86}"/>
              </a:ext>
            </a:extLst>
          </p:cNvPr>
          <p:cNvSpPr>
            <a:spLocks noGrp="1"/>
          </p:cNvSpPr>
          <p:nvPr>
            <p:ph type="dt" sz="half" idx="10"/>
          </p:nvPr>
        </p:nvSpPr>
        <p:spPr/>
        <p:txBody>
          <a:bodyPr/>
          <a:lstStyle>
            <a:lvl1pPr rtl="0">
              <a:defRPr/>
            </a:lvl1pPr>
          </a:lstStyle>
          <a:p>
            <a:fld id="{01E5E696-B466-4052-86AF-07AEC2786434}" type="datetimeFigureOut">
              <a:rPr lang="en-GB" smtClean="0"/>
              <a:pPr/>
              <a:t>07/08/2024</a:t>
            </a:fld>
            <a:endParaRPr lang="en-GB"/>
          </a:p>
        </p:txBody>
      </p:sp>
      <p:sp>
        <p:nvSpPr>
          <p:cNvPr id="5" name="Footer Placeholder 4">
            <a:extLst>
              <a:ext uri="{FF2B5EF4-FFF2-40B4-BE49-F238E27FC236}">
                <a16:creationId xmlns:a16="http://schemas.microsoft.com/office/drawing/2014/main" id="{141044ED-5A14-BA15-510D-3CA371317251}"/>
              </a:ext>
            </a:extLst>
          </p:cNvPr>
          <p:cNvSpPr>
            <a:spLocks noGrp="1"/>
          </p:cNvSpPr>
          <p:nvPr>
            <p:ph type="ftr" sz="quarter" idx="11"/>
          </p:nvPr>
        </p:nvSpPr>
        <p:spPr/>
        <p:txBody>
          <a:bodyPr/>
          <a:lstStyle>
            <a:lvl1pPr rtl="0">
              <a:defRPr/>
            </a:lvl1pPr>
          </a:lstStyle>
          <a:p>
            <a:endParaRPr lang="en-GB"/>
          </a:p>
        </p:txBody>
      </p:sp>
      <p:sp>
        <p:nvSpPr>
          <p:cNvPr id="6" name="Slide Number Placeholder 5">
            <a:extLst>
              <a:ext uri="{FF2B5EF4-FFF2-40B4-BE49-F238E27FC236}">
                <a16:creationId xmlns:a16="http://schemas.microsoft.com/office/drawing/2014/main" id="{C762FE9D-F795-0192-1D60-63990D4E2C79}"/>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4118078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9CAC3A5-9700-3D2D-DFBC-0C73FD42B80C}"/>
              </a:ext>
            </a:extLst>
          </p:cNvPr>
          <p:cNvGraphicFramePr>
            <a:graphicFrameLocks noChangeAspect="1"/>
          </p:cNvGraphicFramePr>
          <p:nvPr userDrawn="1">
            <p:custDataLst>
              <p:tags r:id="rId1"/>
            </p:custDataLst>
            <p:extLst>
              <p:ext uri="{D42A27DB-BD31-4B8C-83A1-F6EECF244321}">
                <p14:modId xmlns:p14="http://schemas.microsoft.com/office/powerpoint/2010/main" val="232908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09CAC3A5-9700-3D2D-DFBC-0C73FD42B8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EA8009-0C86-61A3-E492-2985B6B9FE9A}"/>
              </a:ext>
            </a:extLst>
          </p:cNvPr>
          <p:cNvSpPr>
            <a:spLocks noGrp="1"/>
          </p:cNvSpPr>
          <p:nvPr>
            <p:ph type="title"/>
          </p:nvPr>
        </p:nvSpPr>
        <p:spPr>
          <a:xfrm>
            <a:off x="831850" y="1709738"/>
            <a:ext cx="10515600" cy="2852737"/>
          </a:xfrm>
        </p:spPr>
        <p:txBody>
          <a:bodyPr vert="horz" anchor="b"/>
          <a:lstStyle>
            <a:lvl1pPr rtl="0">
              <a:defRPr sz="6000"/>
            </a:lvl1pPr>
          </a:lstStyle>
          <a:p>
            <a:r>
              <a:rPr lang="en-GB"/>
              <a:t>Click to edit Master title style</a:t>
            </a:r>
          </a:p>
        </p:txBody>
      </p:sp>
      <p:sp>
        <p:nvSpPr>
          <p:cNvPr id="3" name="Text Placeholder 2">
            <a:extLst>
              <a:ext uri="{FF2B5EF4-FFF2-40B4-BE49-F238E27FC236}">
                <a16:creationId xmlns:a16="http://schemas.microsoft.com/office/drawing/2014/main" id="{A5F32E0B-D9FF-C6F8-C740-38F9050C78D0}"/>
              </a:ext>
            </a:extLst>
          </p:cNvPr>
          <p:cNvSpPr>
            <a:spLocks noGrp="1"/>
          </p:cNvSpPr>
          <p:nvPr>
            <p:ph type="body" idx="1"/>
          </p:nvPr>
        </p:nvSpPr>
        <p:spPr>
          <a:xfrm>
            <a:off x="831850" y="4589463"/>
            <a:ext cx="10515600" cy="1500187"/>
          </a:xfrm>
        </p:spPr>
        <p:txBody>
          <a:bodyPr/>
          <a:lstStyle>
            <a:lvl1pPr marL="0" indent="0" rtl="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8568E02F-F162-BBEB-543F-D92794FD8F2F}"/>
              </a:ext>
            </a:extLst>
          </p:cNvPr>
          <p:cNvSpPr>
            <a:spLocks noGrp="1"/>
          </p:cNvSpPr>
          <p:nvPr>
            <p:ph type="dt" sz="half" idx="10"/>
          </p:nvPr>
        </p:nvSpPr>
        <p:spPr/>
        <p:txBody>
          <a:bodyPr/>
          <a:lstStyle>
            <a:lvl1pPr rtl="0">
              <a:defRPr/>
            </a:lvl1pPr>
          </a:lstStyle>
          <a:p>
            <a:fld id="{01E5E696-B466-4052-86AF-07AEC2786434}" type="datetimeFigureOut">
              <a:rPr lang="en-GB" smtClean="0"/>
              <a:pPr/>
              <a:t>07/08/2024</a:t>
            </a:fld>
            <a:endParaRPr lang="en-GB"/>
          </a:p>
        </p:txBody>
      </p:sp>
      <p:sp>
        <p:nvSpPr>
          <p:cNvPr id="5" name="Footer Placeholder 4">
            <a:extLst>
              <a:ext uri="{FF2B5EF4-FFF2-40B4-BE49-F238E27FC236}">
                <a16:creationId xmlns:a16="http://schemas.microsoft.com/office/drawing/2014/main" id="{130DA9C0-28A9-F123-B80A-2DA83914BD3F}"/>
              </a:ext>
            </a:extLst>
          </p:cNvPr>
          <p:cNvSpPr>
            <a:spLocks noGrp="1"/>
          </p:cNvSpPr>
          <p:nvPr>
            <p:ph type="ftr" sz="quarter" idx="11"/>
          </p:nvPr>
        </p:nvSpPr>
        <p:spPr/>
        <p:txBody>
          <a:bodyPr/>
          <a:lstStyle>
            <a:lvl1pPr rtl="0">
              <a:defRPr/>
            </a:lvl1pPr>
          </a:lstStyle>
          <a:p>
            <a:endParaRPr lang="en-GB"/>
          </a:p>
        </p:txBody>
      </p:sp>
      <p:sp>
        <p:nvSpPr>
          <p:cNvPr id="6" name="Slide Number Placeholder 5">
            <a:extLst>
              <a:ext uri="{FF2B5EF4-FFF2-40B4-BE49-F238E27FC236}">
                <a16:creationId xmlns:a16="http://schemas.microsoft.com/office/drawing/2014/main" id="{569632E0-7DBF-F298-7D0F-46D78235631B}"/>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32125146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9157959-D89C-C197-DA2D-3EB5C3235384}"/>
              </a:ext>
            </a:extLst>
          </p:cNvPr>
          <p:cNvGraphicFramePr>
            <a:graphicFrameLocks noChangeAspect="1"/>
          </p:cNvGraphicFramePr>
          <p:nvPr userDrawn="1">
            <p:custDataLst>
              <p:tags r:id="rId1"/>
            </p:custDataLst>
            <p:extLst>
              <p:ext uri="{D42A27DB-BD31-4B8C-83A1-F6EECF244321}">
                <p14:modId xmlns:p14="http://schemas.microsoft.com/office/powerpoint/2010/main" val="1543412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B9157959-D89C-C197-DA2D-3EB5C32353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CC4C23-6A96-5621-5DAD-8B08480400BC}"/>
              </a:ext>
            </a:extLst>
          </p:cNvPr>
          <p:cNvSpPr>
            <a:spLocks noGrp="1"/>
          </p:cNvSpPr>
          <p:nvPr>
            <p:ph type="title"/>
          </p:nvPr>
        </p:nvSpPr>
        <p:spPr/>
        <p:txBody>
          <a:bodyPr vert="horz"/>
          <a:lstStyle>
            <a:lvl1pPr rtl="0">
              <a:defRPr/>
            </a:lvl1pPr>
          </a:lstStyle>
          <a:p>
            <a:r>
              <a:rPr lang="en-GB"/>
              <a:t>Click to edit Master title style</a:t>
            </a:r>
          </a:p>
        </p:txBody>
      </p:sp>
      <p:sp>
        <p:nvSpPr>
          <p:cNvPr id="3" name="Content Placeholder 2">
            <a:extLst>
              <a:ext uri="{FF2B5EF4-FFF2-40B4-BE49-F238E27FC236}">
                <a16:creationId xmlns:a16="http://schemas.microsoft.com/office/drawing/2014/main" id="{2BC74498-9B7A-8C53-6CBD-34B3D9A9C203}"/>
              </a:ext>
            </a:extLst>
          </p:cNvPr>
          <p:cNvSpPr>
            <a:spLocks noGrp="1"/>
          </p:cNvSpPr>
          <p:nvPr>
            <p:ph sz="half" idx="1"/>
          </p:nvPr>
        </p:nvSpPr>
        <p:spPr>
          <a:xfrm>
            <a:off x="838200" y="1825625"/>
            <a:ext cx="5181600" cy="4351338"/>
          </a:xfr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6B57F4D4-499F-8157-83E4-0B673C9416DC}"/>
              </a:ext>
            </a:extLst>
          </p:cNvPr>
          <p:cNvSpPr>
            <a:spLocks noGrp="1"/>
          </p:cNvSpPr>
          <p:nvPr>
            <p:ph sz="half" idx="2"/>
          </p:nvPr>
        </p:nvSpPr>
        <p:spPr>
          <a:xfrm>
            <a:off x="6172200" y="1825625"/>
            <a:ext cx="5181600" cy="4351338"/>
          </a:xfr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DE929882-2772-EEDF-498D-15E21ECE0F3F}"/>
              </a:ext>
            </a:extLst>
          </p:cNvPr>
          <p:cNvSpPr>
            <a:spLocks noGrp="1"/>
          </p:cNvSpPr>
          <p:nvPr>
            <p:ph type="dt" sz="half" idx="10"/>
          </p:nvPr>
        </p:nvSpPr>
        <p:spPr/>
        <p:txBody>
          <a:bodyPr/>
          <a:lstStyle>
            <a:lvl1pPr rtl="0">
              <a:defRPr/>
            </a:lvl1pPr>
          </a:lstStyle>
          <a:p>
            <a:fld id="{01E5E696-B466-4052-86AF-07AEC2786434}" type="datetimeFigureOut">
              <a:rPr lang="en-GB" smtClean="0"/>
              <a:pPr/>
              <a:t>07/08/2024</a:t>
            </a:fld>
            <a:endParaRPr lang="en-GB"/>
          </a:p>
        </p:txBody>
      </p:sp>
      <p:sp>
        <p:nvSpPr>
          <p:cNvPr id="6" name="Footer Placeholder 5">
            <a:extLst>
              <a:ext uri="{FF2B5EF4-FFF2-40B4-BE49-F238E27FC236}">
                <a16:creationId xmlns:a16="http://schemas.microsoft.com/office/drawing/2014/main" id="{57E48ECF-A129-734F-4F11-114BB232150F}"/>
              </a:ext>
            </a:extLst>
          </p:cNvPr>
          <p:cNvSpPr>
            <a:spLocks noGrp="1"/>
          </p:cNvSpPr>
          <p:nvPr>
            <p:ph type="ftr" sz="quarter" idx="11"/>
          </p:nvPr>
        </p:nvSpPr>
        <p:spPr/>
        <p:txBody>
          <a:bodyPr/>
          <a:lstStyle>
            <a:lvl1pPr rtl="0">
              <a:defRPr/>
            </a:lvl1pPr>
          </a:lstStyle>
          <a:p>
            <a:endParaRPr lang="en-GB"/>
          </a:p>
        </p:txBody>
      </p:sp>
      <p:sp>
        <p:nvSpPr>
          <p:cNvPr id="7" name="Slide Number Placeholder 6">
            <a:extLst>
              <a:ext uri="{FF2B5EF4-FFF2-40B4-BE49-F238E27FC236}">
                <a16:creationId xmlns:a16="http://schemas.microsoft.com/office/drawing/2014/main" id="{45993D05-3223-9733-BAEF-BB3226AAB7FE}"/>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329345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69998D2-2CCB-1859-7314-300ACAA03D3B}"/>
              </a:ext>
            </a:extLst>
          </p:cNvPr>
          <p:cNvGraphicFramePr>
            <a:graphicFrameLocks noChangeAspect="1"/>
          </p:cNvGraphicFramePr>
          <p:nvPr userDrawn="1">
            <p:custDataLst>
              <p:tags r:id="rId1"/>
            </p:custDataLst>
            <p:extLst>
              <p:ext uri="{D42A27DB-BD31-4B8C-83A1-F6EECF244321}">
                <p14:modId xmlns:p14="http://schemas.microsoft.com/office/powerpoint/2010/main" val="3825819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C69998D2-2CCB-1859-7314-300ACAA03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F413F5-088B-A149-8B1F-F16221D56ED5}"/>
              </a:ext>
            </a:extLst>
          </p:cNvPr>
          <p:cNvSpPr>
            <a:spLocks noGrp="1"/>
          </p:cNvSpPr>
          <p:nvPr>
            <p:ph type="title"/>
          </p:nvPr>
        </p:nvSpPr>
        <p:spPr>
          <a:xfrm>
            <a:off x="839788" y="365125"/>
            <a:ext cx="10515600" cy="1325563"/>
          </a:xfrm>
        </p:spPr>
        <p:txBody>
          <a:bodyPr vert="horz"/>
          <a:lstStyle>
            <a:lvl1pPr rtl="0">
              <a:defRPr/>
            </a:lvl1pPr>
          </a:lstStyle>
          <a:p>
            <a:r>
              <a:rPr lang="en-GB"/>
              <a:t>Click to edit Master title style</a:t>
            </a:r>
          </a:p>
        </p:txBody>
      </p:sp>
      <p:sp>
        <p:nvSpPr>
          <p:cNvPr id="3" name="Text Placeholder 2">
            <a:extLst>
              <a:ext uri="{FF2B5EF4-FFF2-40B4-BE49-F238E27FC236}">
                <a16:creationId xmlns:a16="http://schemas.microsoft.com/office/drawing/2014/main" id="{56938B18-5D2A-3D7B-5EA5-C776202DECCF}"/>
              </a:ext>
            </a:extLst>
          </p:cNvPr>
          <p:cNvSpPr>
            <a:spLocks noGrp="1"/>
          </p:cNvSpPr>
          <p:nvPr>
            <p:ph type="body" idx="1"/>
          </p:nvPr>
        </p:nvSpPr>
        <p:spPr>
          <a:xfrm>
            <a:off x="839788" y="1681163"/>
            <a:ext cx="5157787"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F0CBA129-C402-3515-72A5-4D1A0DC81297}"/>
              </a:ext>
            </a:extLst>
          </p:cNvPr>
          <p:cNvSpPr>
            <a:spLocks noGrp="1"/>
          </p:cNvSpPr>
          <p:nvPr>
            <p:ph sz="half" idx="2"/>
          </p:nvPr>
        </p:nvSpPr>
        <p:spPr>
          <a:xfrm>
            <a:off x="839788" y="2505075"/>
            <a:ext cx="5157787" cy="3684588"/>
          </a:xfr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2CF5F047-C716-CFB9-B463-0F4473455DC3}"/>
              </a:ext>
            </a:extLst>
          </p:cNvPr>
          <p:cNvSpPr>
            <a:spLocks noGrp="1"/>
          </p:cNvSpPr>
          <p:nvPr>
            <p:ph type="body" sz="quarter" idx="3"/>
          </p:nvPr>
        </p:nvSpPr>
        <p:spPr>
          <a:xfrm>
            <a:off x="6172200" y="1681163"/>
            <a:ext cx="5183188"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5198A4A0-6475-1CF5-4213-9BEE60BF5DFD}"/>
              </a:ext>
            </a:extLst>
          </p:cNvPr>
          <p:cNvSpPr>
            <a:spLocks noGrp="1"/>
          </p:cNvSpPr>
          <p:nvPr>
            <p:ph sz="quarter" idx="4"/>
          </p:nvPr>
        </p:nvSpPr>
        <p:spPr>
          <a:xfrm>
            <a:off x="6172200" y="2505075"/>
            <a:ext cx="5183188" cy="3684588"/>
          </a:xfr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D92DCF6F-4FDB-FDE0-608A-56CFDF6225F9}"/>
              </a:ext>
            </a:extLst>
          </p:cNvPr>
          <p:cNvSpPr>
            <a:spLocks noGrp="1"/>
          </p:cNvSpPr>
          <p:nvPr>
            <p:ph type="dt" sz="half" idx="10"/>
          </p:nvPr>
        </p:nvSpPr>
        <p:spPr/>
        <p:txBody>
          <a:bodyPr/>
          <a:lstStyle>
            <a:lvl1pPr rtl="0">
              <a:defRPr/>
            </a:lvl1pPr>
          </a:lstStyle>
          <a:p>
            <a:fld id="{01E5E696-B466-4052-86AF-07AEC2786434}" type="datetimeFigureOut">
              <a:rPr lang="en-GB" smtClean="0"/>
              <a:pPr/>
              <a:t>07/08/2024</a:t>
            </a:fld>
            <a:endParaRPr lang="en-GB"/>
          </a:p>
        </p:txBody>
      </p:sp>
      <p:sp>
        <p:nvSpPr>
          <p:cNvPr id="8" name="Footer Placeholder 7">
            <a:extLst>
              <a:ext uri="{FF2B5EF4-FFF2-40B4-BE49-F238E27FC236}">
                <a16:creationId xmlns:a16="http://schemas.microsoft.com/office/drawing/2014/main" id="{76C4A699-17A2-5C73-D653-A4EDA14E62C3}"/>
              </a:ext>
            </a:extLst>
          </p:cNvPr>
          <p:cNvSpPr>
            <a:spLocks noGrp="1"/>
          </p:cNvSpPr>
          <p:nvPr>
            <p:ph type="ftr" sz="quarter" idx="11"/>
          </p:nvPr>
        </p:nvSpPr>
        <p:spPr/>
        <p:txBody>
          <a:bodyPr/>
          <a:lstStyle>
            <a:lvl1pPr rtl="0">
              <a:defRPr/>
            </a:lvl1pPr>
          </a:lstStyle>
          <a:p>
            <a:endParaRPr lang="en-GB"/>
          </a:p>
        </p:txBody>
      </p:sp>
      <p:sp>
        <p:nvSpPr>
          <p:cNvPr id="9" name="Slide Number Placeholder 8">
            <a:extLst>
              <a:ext uri="{FF2B5EF4-FFF2-40B4-BE49-F238E27FC236}">
                <a16:creationId xmlns:a16="http://schemas.microsoft.com/office/drawing/2014/main" id="{969427A1-B9D2-8DB4-256E-C8C9F0E95F4A}"/>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39066008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D446A-53B9-F671-7332-D5F0E0F6EE36}"/>
              </a:ext>
            </a:extLst>
          </p:cNvPr>
          <p:cNvGraphicFramePr>
            <a:graphicFrameLocks noChangeAspect="1"/>
          </p:cNvGraphicFramePr>
          <p:nvPr userDrawn="1">
            <p:custDataLst>
              <p:tags r:id="rId1"/>
            </p:custDataLst>
            <p:extLst>
              <p:ext uri="{D42A27DB-BD31-4B8C-83A1-F6EECF244321}">
                <p14:modId xmlns:p14="http://schemas.microsoft.com/office/powerpoint/2010/main" val="3262446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Object 6" hidden="1">
                        <a:extLst>
                          <a:ext uri="{FF2B5EF4-FFF2-40B4-BE49-F238E27FC236}">
                            <a16:creationId xmlns:a16="http://schemas.microsoft.com/office/drawing/2014/main" id="{B19D446A-53B9-F671-7332-D5F0E0F6E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7D2331-E9F7-D635-260D-49F777B38559}"/>
              </a:ext>
            </a:extLst>
          </p:cNvPr>
          <p:cNvSpPr>
            <a:spLocks noGrp="1"/>
          </p:cNvSpPr>
          <p:nvPr>
            <p:ph type="title"/>
          </p:nvPr>
        </p:nvSpPr>
        <p:spPr/>
        <p:txBody>
          <a:bodyPr vert="horz"/>
          <a:lstStyle>
            <a:lvl1pPr rtl="0">
              <a:defRPr/>
            </a:lvl1pPr>
          </a:lstStyle>
          <a:p>
            <a:r>
              <a:rPr lang="en-GB"/>
              <a:t>Click to edit Master title style</a:t>
            </a:r>
          </a:p>
        </p:txBody>
      </p:sp>
      <p:sp>
        <p:nvSpPr>
          <p:cNvPr id="3" name="Date Placeholder 2">
            <a:extLst>
              <a:ext uri="{FF2B5EF4-FFF2-40B4-BE49-F238E27FC236}">
                <a16:creationId xmlns:a16="http://schemas.microsoft.com/office/drawing/2014/main" id="{D00E6B4C-DACF-3689-987E-5B1216DB4AE0}"/>
              </a:ext>
            </a:extLst>
          </p:cNvPr>
          <p:cNvSpPr>
            <a:spLocks noGrp="1"/>
          </p:cNvSpPr>
          <p:nvPr>
            <p:ph type="dt" sz="half" idx="10"/>
          </p:nvPr>
        </p:nvSpPr>
        <p:spPr/>
        <p:txBody>
          <a:bodyPr/>
          <a:lstStyle>
            <a:lvl1pPr rtl="0">
              <a:defRPr/>
            </a:lvl1pPr>
          </a:lstStyle>
          <a:p>
            <a:fld id="{01E5E696-B466-4052-86AF-07AEC2786434}" type="datetimeFigureOut">
              <a:rPr lang="en-GB" smtClean="0"/>
              <a:pPr/>
              <a:t>07/08/2024</a:t>
            </a:fld>
            <a:endParaRPr lang="en-GB"/>
          </a:p>
        </p:txBody>
      </p:sp>
      <p:sp>
        <p:nvSpPr>
          <p:cNvPr id="4" name="Footer Placeholder 3">
            <a:extLst>
              <a:ext uri="{FF2B5EF4-FFF2-40B4-BE49-F238E27FC236}">
                <a16:creationId xmlns:a16="http://schemas.microsoft.com/office/drawing/2014/main" id="{F5DFE926-EA61-6A09-E0DF-277DB331B041}"/>
              </a:ext>
            </a:extLst>
          </p:cNvPr>
          <p:cNvSpPr>
            <a:spLocks noGrp="1"/>
          </p:cNvSpPr>
          <p:nvPr>
            <p:ph type="ftr" sz="quarter" idx="11"/>
          </p:nvPr>
        </p:nvSpPr>
        <p:spPr/>
        <p:txBody>
          <a:bodyPr/>
          <a:lstStyle>
            <a:lvl1pPr rtl="0">
              <a:defRPr/>
            </a:lvl1pPr>
          </a:lstStyle>
          <a:p>
            <a:endParaRPr lang="en-GB"/>
          </a:p>
        </p:txBody>
      </p:sp>
      <p:sp>
        <p:nvSpPr>
          <p:cNvPr id="5" name="Slide Number Placeholder 4">
            <a:extLst>
              <a:ext uri="{FF2B5EF4-FFF2-40B4-BE49-F238E27FC236}">
                <a16:creationId xmlns:a16="http://schemas.microsoft.com/office/drawing/2014/main" id="{6DCAC529-CBEC-AA32-E843-E3556C1739BC}"/>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21944084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AB67DE-BDEE-B8D9-E7BB-17D40784712E}"/>
              </a:ext>
            </a:extLst>
          </p:cNvPr>
          <p:cNvGraphicFramePr>
            <a:graphicFrameLocks noChangeAspect="1"/>
          </p:cNvGraphicFramePr>
          <p:nvPr userDrawn="1">
            <p:custDataLst>
              <p:tags r:id="rId1"/>
            </p:custDataLst>
            <p:extLst>
              <p:ext uri="{D42A27DB-BD31-4B8C-83A1-F6EECF244321}">
                <p14:modId xmlns:p14="http://schemas.microsoft.com/office/powerpoint/2010/main" val="295351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CAAB67DE-BDEE-B8D9-E7BB-17D4078471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9DA9237-073B-E003-2BE7-7AC7B86EFE0A}"/>
              </a:ext>
            </a:extLst>
          </p:cNvPr>
          <p:cNvSpPr>
            <a:spLocks noGrp="1"/>
          </p:cNvSpPr>
          <p:nvPr>
            <p:ph type="dt" sz="half" idx="10"/>
          </p:nvPr>
        </p:nvSpPr>
        <p:spPr/>
        <p:txBody>
          <a:bodyPr/>
          <a:lstStyle>
            <a:lvl1pPr rtl="0">
              <a:defRPr/>
            </a:lvl1pPr>
          </a:lstStyle>
          <a:p>
            <a:fld id="{01E5E696-B466-4052-86AF-07AEC2786434}" type="datetimeFigureOut">
              <a:rPr lang="en-GB" smtClean="0"/>
              <a:pPr/>
              <a:t>07/08/2024</a:t>
            </a:fld>
            <a:endParaRPr lang="en-GB"/>
          </a:p>
        </p:txBody>
      </p:sp>
      <p:sp>
        <p:nvSpPr>
          <p:cNvPr id="3" name="Footer Placeholder 2">
            <a:extLst>
              <a:ext uri="{FF2B5EF4-FFF2-40B4-BE49-F238E27FC236}">
                <a16:creationId xmlns:a16="http://schemas.microsoft.com/office/drawing/2014/main" id="{67050D5F-401B-1D12-3918-8484BC1C8D74}"/>
              </a:ext>
            </a:extLst>
          </p:cNvPr>
          <p:cNvSpPr>
            <a:spLocks noGrp="1"/>
          </p:cNvSpPr>
          <p:nvPr>
            <p:ph type="ftr" sz="quarter" idx="11"/>
          </p:nvPr>
        </p:nvSpPr>
        <p:spPr/>
        <p:txBody>
          <a:bodyPr/>
          <a:lstStyle>
            <a:lvl1pPr rtl="0">
              <a:defRPr/>
            </a:lvl1pPr>
          </a:lstStyle>
          <a:p>
            <a:endParaRPr lang="en-GB"/>
          </a:p>
        </p:txBody>
      </p:sp>
      <p:sp>
        <p:nvSpPr>
          <p:cNvPr id="4" name="Slide Number Placeholder 3">
            <a:extLst>
              <a:ext uri="{FF2B5EF4-FFF2-40B4-BE49-F238E27FC236}">
                <a16:creationId xmlns:a16="http://schemas.microsoft.com/office/drawing/2014/main" id="{C1E2EE19-915A-C023-BBCE-2363E39D4041}"/>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67492449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theme" Target="../theme/theme2.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2" Type="http://schemas.openxmlformats.org/officeDocument/2006/relationships/slideLayout" Target="../slideLayouts/slideLayout4.xml"/><Relationship Id="rId16" Type="http://schemas.openxmlformats.org/officeDocument/2006/relationships/image" Target="../media/image3.emf"/><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oleObject" Target="../embeddings/oleObject4.bin"/><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BD90F0-906B-472D-8DDC-7BE69065731E}"/>
              </a:ext>
            </a:extLst>
          </p:cNvPr>
          <p:cNvGraphicFramePr>
            <a:graphicFrameLocks noChangeAspect="1"/>
          </p:cNvGraphicFramePr>
          <p:nvPr userDrawn="1">
            <p:custDataLst>
              <p:tags r:id="rId4"/>
            </p:custDataLst>
            <p:extLst>
              <p:ext uri="{D42A27DB-BD31-4B8C-83A1-F6EECF244321}">
                <p14:modId xmlns:p14="http://schemas.microsoft.com/office/powerpoint/2010/main" val="190605561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378" imgH="377" progId="TCLayout.ActiveDocument.1">
                  <p:embed/>
                </p:oleObj>
              </mc:Choice>
              <mc:Fallback>
                <p:oleObj name="think-cell Slide" r:id="rId5" imgW="378" imgH="377" progId="TCLayout.ActiveDocument.1">
                  <p:embed/>
                  <p:pic>
                    <p:nvPicPr>
                      <p:cNvPr id="2" name="Object 1" hidden="1">
                        <a:extLst>
                          <a:ext uri="{FF2B5EF4-FFF2-40B4-BE49-F238E27FC236}">
                            <a16:creationId xmlns:a16="http://schemas.microsoft.com/office/drawing/2014/main" id="{2FBD90F0-906B-472D-8DDC-7BE69065731E}"/>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6" name="Google Shape;6;p37"/>
          <p:cNvSpPr txBox="1">
            <a:spLocks noGrp="1"/>
          </p:cNvSpPr>
          <p:nvPr>
            <p:ph type="title"/>
          </p:nvPr>
        </p:nvSpPr>
        <p:spPr>
          <a:xfrm>
            <a:off x="1424133" y="1244600"/>
            <a:ext cx="9396400" cy="6432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D2929"/>
              </a:buClr>
              <a:buSzPts val="2400"/>
              <a:buFont typeface="Oswald"/>
              <a:buNone/>
              <a:defRPr sz="2400" b="0" i="0" u="none" strike="noStrike" cap="none">
                <a:solidFill>
                  <a:srgbClr val="2D2929"/>
                </a:solidFill>
                <a:latin typeface="Oswald"/>
                <a:ea typeface="Oswald"/>
                <a:cs typeface="Oswald"/>
                <a:sym typeface="Oswald"/>
              </a:defRPr>
            </a:lvl1pPr>
            <a:lvl2pPr marR="0" lvl="1"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2pPr>
            <a:lvl3pPr marR="0" lvl="2"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3pPr>
            <a:lvl4pPr marR="0" lvl="3"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4pPr>
            <a:lvl5pPr marR="0" lvl="4"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5pPr>
            <a:lvl6pPr marR="0" lvl="5"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6pPr>
            <a:lvl7pPr marR="0" lvl="6"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7pPr>
            <a:lvl8pPr marR="0" lvl="7"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8pPr>
            <a:lvl9pPr marR="0" lvl="8"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9pPr>
          </a:lstStyle>
          <a:p>
            <a:endParaRPr lang="en-GB"/>
          </a:p>
        </p:txBody>
      </p:sp>
      <p:sp>
        <p:nvSpPr>
          <p:cNvPr id="7" name="Google Shape;7;p37"/>
          <p:cNvSpPr txBox="1">
            <a:spLocks noGrp="1"/>
          </p:cNvSpPr>
          <p:nvPr>
            <p:ph type="body" idx="1"/>
          </p:nvPr>
        </p:nvSpPr>
        <p:spPr>
          <a:xfrm>
            <a:off x="1424133" y="2260600"/>
            <a:ext cx="9396400" cy="3336000"/>
          </a:xfrm>
          <a:prstGeom prst="rect">
            <a:avLst/>
          </a:prstGeom>
          <a:noFill/>
          <a:ln>
            <a:noFill/>
          </a:ln>
        </p:spPr>
        <p:txBody>
          <a:bodyPr spcFirstLastPara="1" wrap="square" lIns="91425" tIns="91425" rIns="91425" bIns="91425" anchor="t" anchorCtr="0">
            <a:noAutofit/>
          </a:bodyPr>
          <a:lstStyle>
            <a:lvl1pPr marL="457200" marR="0" lvl="0" indent="-311150" algn="l" rtl="0">
              <a:lnSpc>
                <a:spcPct val="100000"/>
              </a:lnSpc>
              <a:spcBef>
                <a:spcPts val="0"/>
              </a:spcBef>
              <a:spcAft>
                <a:spcPts val="0"/>
              </a:spcAft>
              <a:buClr>
                <a:srgbClr val="2D2929"/>
              </a:buClr>
              <a:buSzPts val="1300"/>
              <a:buFont typeface="Ubuntu Light"/>
              <a:buChar char="●"/>
              <a:defRPr sz="1300" b="0" i="0" u="none" strike="noStrike" cap="none">
                <a:solidFill>
                  <a:srgbClr val="2D2929"/>
                </a:solidFill>
                <a:latin typeface="Ubuntu Light"/>
                <a:ea typeface="Ubuntu Light"/>
                <a:cs typeface="Ubuntu Light"/>
                <a:sym typeface="Ubuntu Light"/>
              </a:defRPr>
            </a:lvl1pPr>
            <a:lvl2pPr marL="914400" marR="0" lvl="1" indent="-311150" algn="l" rtl="0">
              <a:lnSpc>
                <a:spcPct val="100000"/>
              </a:lnSpc>
              <a:spcBef>
                <a:spcPts val="0"/>
              </a:spcBef>
              <a:spcAft>
                <a:spcPts val="0"/>
              </a:spcAft>
              <a:buClr>
                <a:srgbClr val="2D2929"/>
              </a:buClr>
              <a:buSzPts val="1300"/>
              <a:buFont typeface="Ubuntu Light"/>
              <a:buChar char="○"/>
              <a:defRPr sz="1300" b="0" i="0" u="none" strike="noStrike" cap="none">
                <a:solidFill>
                  <a:srgbClr val="2D2929"/>
                </a:solidFill>
                <a:latin typeface="Ubuntu Light"/>
                <a:ea typeface="Ubuntu Light"/>
                <a:cs typeface="Ubuntu Light"/>
                <a:sym typeface="Ubuntu Light"/>
              </a:defRPr>
            </a:lvl2pPr>
            <a:lvl3pPr marL="1371600" marR="0" lvl="2" indent="-304800" algn="l" rtl="0">
              <a:lnSpc>
                <a:spcPct val="100000"/>
              </a:lnSpc>
              <a:spcBef>
                <a:spcPts val="0"/>
              </a:spcBef>
              <a:spcAft>
                <a:spcPts val="0"/>
              </a:spcAft>
              <a:buClr>
                <a:srgbClr val="2D2929"/>
              </a:buClr>
              <a:buSzPts val="1200"/>
              <a:buFont typeface="Ubuntu Light"/>
              <a:buChar char="■"/>
              <a:defRPr sz="1200" b="0" i="0" u="none" strike="noStrike" cap="none">
                <a:solidFill>
                  <a:srgbClr val="2D2929"/>
                </a:solidFill>
                <a:latin typeface="Ubuntu Light"/>
                <a:ea typeface="Ubuntu Light"/>
                <a:cs typeface="Ubuntu Light"/>
                <a:sym typeface="Ubuntu Light"/>
              </a:defRPr>
            </a:lvl3pPr>
            <a:lvl4pPr marL="1828800" marR="0" lvl="3" indent="-304800" algn="l" rtl="0">
              <a:lnSpc>
                <a:spcPct val="100000"/>
              </a:lnSpc>
              <a:spcBef>
                <a:spcPts val="0"/>
              </a:spcBef>
              <a:spcAft>
                <a:spcPts val="0"/>
              </a:spcAft>
              <a:buClr>
                <a:srgbClr val="2D2929"/>
              </a:buClr>
              <a:buSzPts val="1200"/>
              <a:buFont typeface="Ubuntu Light"/>
              <a:buChar char="●"/>
              <a:defRPr sz="1200" b="0" i="0" u="none" strike="noStrike" cap="none">
                <a:solidFill>
                  <a:srgbClr val="2D2929"/>
                </a:solidFill>
                <a:latin typeface="Ubuntu Light"/>
                <a:ea typeface="Ubuntu Light"/>
                <a:cs typeface="Ubuntu Light"/>
                <a:sym typeface="Ubuntu Light"/>
              </a:defRPr>
            </a:lvl4pPr>
            <a:lvl5pPr marL="2286000" marR="0" lvl="4" indent="-298450" algn="l" rtl="0">
              <a:lnSpc>
                <a:spcPct val="100000"/>
              </a:lnSpc>
              <a:spcBef>
                <a:spcPts val="0"/>
              </a:spcBef>
              <a:spcAft>
                <a:spcPts val="0"/>
              </a:spcAft>
              <a:buClr>
                <a:srgbClr val="2D2929"/>
              </a:buClr>
              <a:buSzPts val="1100"/>
              <a:buFont typeface="Ubuntu Light"/>
              <a:buChar char="○"/>
              <a:defRPr sz="1100" b="0" i="0" u="none" strike="noStrike" cap="none">
                <a:solidFill>
                  <a:srgbClr val="2D2929"/>
                </a:solidFill>
                <a:latin typeface="Ubuntu Light"/>
                <a:ea typeface="Ubuntu Light"/>
                <a:cs typeface="Ubuntu Light"/>
                <a:sym typeface="Ubuntu Light"/>
              </a:defRPr>
            </a:lvl5pPr>
            <a:lvl6pPr marL="2743200" marR="0" lvl="5" indent="-298450" algn="l" rtl="0">
              <a:lnSpc>
                <a:spcPct val="100000"/>
              </a:lnSpc>
              <a:spcBef>
                <a:spcPts val="0"/>
              </a:spcBef>
              <a:spcAft>
                <a:spcPts val="0"/>
              </a:spcAft>
              <a:buClr>
                <a:srgbClr val="2D2929"/>
              </a:buClr>
              <a:buSzPts val="1100"/>
              <a:buFont typeface="Ubuntu Light"/>
              <a:buChar char="■"/>
              <a:defRPr sz="1100" b="0" i="0" u="none" strike="noStrike" cap="none">
                <a:solidFill>
                  <a:srgbClr val="2D2929"/>
                </a:solidFill>
                <a:latin typeface="Ubuntu Light"/>
                <a:ea typeface="Ubuntu Light"/>
                <a:cs typeface="Ubuntu Light"/>
                <a:sym typeface="Ubuntu Light"/>
              </a:defRPr>
            </a:lvl6pPr>
            <a:lvl7pPr marL="3200400" marR="0" lvl="6" indent="-292100" algn="l" rtl="0">
              <a:lnSpc>
                <a:spcPct val="100000"/>
              </a:lnSpc>
              <a:spcBef>
                <a:spcPts val="0"/>
              </a:spcBef>
              <a:spcAft>
                <a:spcPts val="0"/>
              </a:spcAft>
              <a:buClr>
                <a:srgbClr val="2D2929"/>
              </a:buClr>
              <a:buSzPts val="1000"/>
              <a:buFont typeface="Ubuntu Light"/>
              <a:buChar char="●"/>
              <a:defRPr sz="1000" b="0" i="0" u="none" strike="noStrike" cap="none">
                <a:solidFill>
                  <a:srgbClr val="2D2929"/>
                </a:solidFill>
                <a:latin typeface="Ubuntu Light"/>
                <a:ea typeface="Ubuntu Light"/>
                <a:cs typeface="Ubuntu Light"/>
                <a:sym typeface="Ubuntu Light"/>
              </a:defRPr>
            </a:lvl7pPr>
            <a:lvl8pPr marL="3657600" marR="0" lvl="7" indent="-292100" algn="l" rtl="0">
              <a:lnSpc>
                <a:spcPct val="100000"/>
              </a:lnSpc>
              <a:spcBef>
                <a:spcPts val="0"/>
              </a:spcBef>
              <a:spcAft>
                <a:spcPts val="0"/>
              </a:spcAft>
              <a:buClr>
                <a:srgbClr val="2D2929"/>
              </a:buClr>
              <a:buSzPts val="1000"/>
              <a:buFont typeface="Ubuntu Light"/>
              <a:buChar char="○"/>
              <a:defRPr sz="1000" b="0" i="0" u="none" strike="noStrike" cap="none">
                <a:solidFill>
                  <a:srgbClr val="2D2929"/>
                </a:solidFill>
                <a:latin typeface="Ubuntu Light"/>
                <a:ea typeface="Ubuntu Light"/>
                <a:cs typeface="Ubuntu Light"/>
                <a:sym typeface="Ubuntu Light"/>
              </a:defRPr>
            </a:lvl8pPr>
            <a:lvl9pPr marL="4114800" marR="0" lvl="8" indent="-285750" algn="l" rtl="0">
              <a:lnSpc>
                <a:spcPct val="100000"/>
              </a:lnSpc>
              <a:spcBef>
                <a:spcPts val="0"/>
              </a:spcBef>
              <a:spcAft>
                <a:spcPts val="0"/>
              </a:spcAft>
              <a:buClr>
                <a:srgbClr val="2D2929"/>
              </a:buClr>
              <a:buSzPts val="900"/>
              <a:buFont typeface="Ubuntu Light"/>
              <a:buChar char="■"/>
              <a:defRPr sz="900" b="0" i="0" u="none" strike="noStrike" cap="none">
                <a:solidFill>
                  <a:srgbClr val="2D2929"/>
                </a:solidFill>
                <a:latin typeface="Ubuntu Light"/>
                <a:ea typeface="Ubuntu Light"/>
                <a:cs typeface="Ubuntu Light"/>
                <a:sym typeface="Ubuntu Light"/>
              </a:defRPr>
            </a:lvl9pPr>
          </a:lstStyle>
          <a:p>
            <a:endParaRPr lang="en-GB"/>
          </a:p>
        </p:txBody>
      </p:sp>
      <p:sp>
        <p:nvSpPr>
          <p:cNvPr id="10" name="Google Shape;84;p26">
            <a:extLst>
              <a:ext uri="{FF2B5EF4-FFF2-40B4-BE49-F238E27FC236}">
                <a16:creationId xmlns:a16="http://schemas.microsoft.com/office/drawing/2014/main" id="{3C9CDBED-8BCB-4099-B4AA-9C6A30948B4E}"/>
              </a:ext>
            </a:extLst>
          </p:cNvPr>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chemeClr val="bg1">
                    <a:lumMod val="10000"/>
                  </a:schemeClr>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556888980"/>
      </p:ext>
    </p:extLst>
  </p:cSld>
  <p:clrMap bg1="lt1" tx1="dk1" bg2="dk2" tx2="lt2" accent1="accent1" accent2="accent2" accent3="accent3" accent4="accent4" accent5="accent5" accent6="accent6" hlink="hlink" folHlink="folHlink"/>
  <p:sldLayoutIdLst>
    <p:sldLayoutId id="2147483690" r:id="rId1"/>
    <p:sldLayoutId id="2147483691"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07A61C6-D0F1-780F-E97B-BBA650A2C3A9}"/>
              </a:ext>
            </a:extLst>
          </p:cNvPr>
          <p:cNvGraphicFramePr>
            <a:graphicFrameLocks noChangeAspect="1"/>
          </p:cNvGraphicFramePr>
          <p:nvPr userDrawn="1">
            <p:custDataLst>
              <p:tags r:id="rId14"/>
            </p:custDataLst>
            <p:extLst>
              <p:ext uri="{D42A27DB-BD31-4B8C-83A1-F6EECF244321}">
                <p14:modId xmlns:p14="http://schemas.microsoft.com/office/powerpoint/2010/main" val="253690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9" imgH="401" progId="TCLayout.ActiveDocument.1">
                  <p:embed/>
                </p:oleObj>
              </mc:Choice>
              <mc:Fallback>
                <p:oleObj name="think-cell Slide" r:id="rId15" imgW="399" imgH="401" progId="TCLayout.ActiveDocument.1">
                  <p:embed/>
                  <p:pic>
                    <p:nvPicPr>
                      <p:cNvPr id="8" name="Object 7" hidden="1">
                        <a:extLst>
                          <a:ext uri="{FF2B5EF4-FFF2-40B4-BE49-F238E27FC236}">
                            <a16:creationId xmlns:a16="http://schemas.microsoft.com/office/drawing/2014/main" id="{707A61C6-D0F1-780F-E97B-BBA650A2C3A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5590E21-1F8C-B916-CA85-C54A7DE4270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1695F7E5-FBB5-E8F3-8AF7-78393C0A61A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F4D78DA-837F-E754-A71D-C873B321387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01E5E696-B466-4052-86AF-07AEC2786434}" type="datetimeFigureOut">
              <a:rPr lang="en-GB" smtClean="0"/>
              <a:pPr/>
              <a:t>07/08/2024</a:t>
            </a:fld>
            <a:endParaRPr lang="en-GB"/>
          </a:p>
        </p:txBody>
      </p:sp>
      <p:sp>
        <p:nvSpPr>
          <p:cNvPr id="5" name="Footer Placeholder 4">
            <a:extLst>
              <a:ext uri="{FF2B5EF4-FFF2-40B4-BE49-F238E27FC236}">
                <a16:creationId xmlns:a16="http://schemas.microsoft.com/office/drawing/2014/main" id="{1387421D-7C4B-5582-0949-73427A4A786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9A94EA24-D311-8918-52BA-39C370B9795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322415066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1.xml"/><Relationship Id="rId1" Type="http://schemas.openxmlformats.org/officeDocument/2006/relationships/tags" Target="../tags/tag17.xml"/><Relationship Id="rId6" Type="http://schemas.openxmlformats.org/officeDocument/2006/relationships/image" Target="../media/image4.jpeg"/><Relationship Id="rId5" Type="http://schemas.openxmlformats.org/officeDocument/2006/relationships/image" Target="../media/image2.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6.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7.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9.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30.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31.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1.bin"/></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2.xml"/><Relationship Id="rId7" Type="http://schemas.openxmlformats.org/officeDocument/2006/relationships/image" Target="../media/image8.svg"/><Relationship Id="rId2" Type="http://schemas.openxmlformats.org/officeDocument/2006/relationships/slideLayout" Target="../slideLayouts/slideLayout14.xml"/><Relationship Id="rId1" Type="http://schemas.openxmlformats.org/officeDocument/2006/relationships/tags" Target="../tags/tag18.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18.bin"/><Relationship Id="rId9"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3.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1.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2.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3.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4.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5.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5.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25"/>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7B559B8-8AB3-42C2-B0E1-0BDD1FBCD4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57B559B8-8AB3-42C2-B0E1-0BDD1FBCD4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Google Shape;90;p1">
            <a:extLst>
              <a:ext uri="{FF2B5EF4-FFF2-40B4-BE49-F238E27FC236}">
                <a16:creationId xmlns:a16="http://schemas.microsoft.com/office/drawing/2014/main" id="{880CD6F4-1AF6-4BED-8E7C-87952032E365}"/>
              </a:ext>
            </a:extLst>
          </p:cNvPr>
          <p:cNvSpPr txBox="1"/>
          <p:nvPr/>
        </p:nvSpPr>
        <p:spPr>
          <a:xfrm>
            <a:off x="243440" y="2244182"/>
            <a:ext cx="5901600" cy="1083704"/>
          </a:xfrm>
          <a:prstGeom prst="rect">
            <a:avLst/>
          </a:prstGeom>
          <a:no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800"/>
              </a:spcAft>
              <a:buClr>
                <a:srgbClr val="000000"/>
              </a:buClr>
              <a:buSzPts val="1400"/>
              <a:buFontTx/>
              <a:buNone/>
              <a:tabLst/>
              <a:defRPr/>
            </a:pPr>
            <a:endParaRPr kumimoji="0" lang="en-GB" sz="1400" b="1" i="0" u="none" strike="noStrike" kern="0" cap="none" spc="0" normalizeH="0" baseline="0" noProof="0">
              <a:ln>
                <a:noFill/>
              </a:ln>
              <a:solidFill>
                <a:srgbClr val="FFFFFF"/>
              </a:solidFill>
              <a:effectLst/>
              <a:uLnTx/>
              <a:uFillTx/>
              <a:latin typeface="Poppins" panose="00000500000000000000" pitchFamily="2" charset="0"/>
              <a:ea typeface="Oswald"/>
              <a:cs typeface="Poppins" panose="00000500000000000000" pitchFamily="2" charset="0"/>
              <a:sym typeface="Oswald"/>
            </a:endParaRPr>
          </a:p>
        </p:txBody>
      </p:sp>
      <p:cxnSp>
        <p:nvCxnSpPr>
          <p:cNvPr id="14" name="Straight Arrow Connector 13">
            <a:extLst>
              <a:ext uri="{FF2B5EF4-FFF2-40B4-BE49-F238E27FC236}">
                <a16:creationId xmlns:a16="http://schemas.microsoft.com/office/drawing/2014/main" id="{06C51A3F-20A3-45CE-9D84-A37DC442C2CC}"/>
              </a:ext>
            </a:extLst>
          </p:cNvPr>
          <p:cNvCxnSpPr>
            <a:cxnSpLocks/>
          </p:cNvCxnSpPr>
          <p:nvPr/>
        </p:nvCxnSpPr>
        <p:spPr>
          <a:xfrm>
            <a:off x="341079" y="2650615"/>
            <a:ext cx="1094868" cy="0"/>
          </a:xfrm>
          <a:prstGeom prst="straightConnector1">
            <a:avLst/>
          </a:prstGeom>
          <a:ln w="38100">
            <a:solidFill>
              <a:srgbClr val="145275"/>
            </a:solidFill>
          </a:ln>
        </p:spPr>
        <p:style>
          <a:lnRef idx="1">
            <a:schemeClr val="accent1"/>
          </a:lnRef>
          <a:fillRef idx="0">
            <a:schemeClr val="accent1"/>
          </a:fillRef>
          <a:effectRef idx="0">
            <a:schemeClr val="accent1"/>
          </a:effectRef>
          <a:fontRef idx="minor">
            <a:schemeClr val="tx1"/>
          </a:fontRef>
        </p:style>
      </p:cxnSp>
      <p:pic>
        <p:nvPicPr>
          <p:cNvPr id="63" name="Picture 62">
            <a:extLst>
              <a:ext uri="{FF2B5EF4-FFF2-40B4-BE49-F238E27FC236}">
                <a16:creationId xmlns:a16="http://schemas.microsoft.com/office/drawing/2014/main" id="{192891C1-FA02-6782-16D6-1150DDE8B994}"/>
              </a:ext>
            </a:extLst>
          </p:cNvPr>
          <p:cNvPicPr>
            <a:picLocks noChangeAspect="1"/>
          </p:cNvPicPr>
          <p:nvPr/>
        </p:nvPicPr>
        <p:blipFill>
          <a:blip r:embed="rId6">
            <a:extLst>
              <a:ext uri="{28A0092B-C50C-407E-A947-70E740481C1C}">
                <a14:useLocalDpi xmlns:a14="http://schemas.microsoft.com/office/drawing/2010/main" val="0"/>
              </a:ext>
            </a:extLst>
          </a:blip>
          <a:srcRect l="11061" t="-90" r="85570" b="100000"/>
          <a:stretch>
            <a:fillRect/>
          </a:stretch>
        </p:blipFill>
        <p:spPr>
          <a:xfrm>
            <a:off x="5607391" y="0"/>
            <a:ext cx="227961" cy="6179"/>
          </a:xfrm>
          <a:custGeom>
            <a:avLst/>
            <a:gdLst>
              <a:gd name="connsiteX0" fmla="*/ 0 w 227961"/>
              <a:gd name="connsiteY0" fmla="*/ 0 h 6179"/>
              <a:gd name="connsiteX1" fmla="*/ 227961 w 227961"/>
              <a:gd name="connsiteY1" fmla="*/ 0 h 6179"/>
              <a:gd name="connsiteX2" fmla="*/ 227961 w 227961"/>
              <a:gd name="connsiteY2" fmla="*/ 6179 h 6179"/>
              <a:gd name="connsiteX3" fmla="*/ 0 w 227961"/>
              <a:gd name="connsiteY3" fmla="*/ 6179 h 6179"/>
              <a:gd name="connsiteX4" fmla="*/ 0 w 227961"/>
              <a:gd name="connsiteY4" fmla="*/ 0 h 6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61" h="6179">
                <a:moveTo>
                  <a:pt x="0" y="0"/>
                </a:moveTo>
                <a:lnTo>
                  <a:pt x="227961" y="0"/>
                </a:lnTo>
                <a:lnTo>
                  <a:pt x="227961" y="6179"/>
                </a:lnTo>
                <a:lnTo>
                  <a:pt x="0" y="6179"/>
                </a:lnTo>
                <a:lnTo>
                  <a:pt x="0" y="0"/>
                </a:lnTo>
                <a:close/>
              </a:path>
            </a:pathLst>
          </a:custGeom>
        </p:spPr>
      </p:pic>
      <p:pic>
        <p:nvPicPr>
          <p:cNvPr id="62" name="Picture 61">
            <a:extLst>
              <a:ext uri="{FF2B5EF4-FFF2-40B4-BE49-F238E27FC236}">
                <a16:creationId xmlns:a16="http://schemas.microsoft.com/office/drawing/2014/main" id="{62576E26-03AB-8586-9B16-9320EBBDA0CB}"/>
              </a:ext>
            </a:extLst>
          </p:cNvPr>
          <p:cNvPicPr>
            <a:picLocks noChangeAspect="1"/>
          </p:cNvPicPr>
          <p:nvPr/>
        </p:nvPicPr>
        <p:blipFill>
          <a:blip r:embed="rId6">
            <a:extLst>
              <a:ext uri="{28A0092B-C50C-407E-A947-70E740481C1C}">
                <a14:useLocalDpi xmlns:a14="http://schemas.microsoft.com/office/drawing/2010/main" val="0"/>
              </a:ext>
            </a:extLst>
          </a:blip>
          <a:srcRect l="40033" t="-90" r="56599" b="100000"/>
          <a:stretch>
            <a:fillRect/>
          </a:stretch>
        </p:blipFill>
        <p:spPr>
          <a:xfrm>
            <a:off x="7567911" y="0"/>
            <a:ext cx="227961" cy="6179"/>
          </a:xfrm>
          <a:custGeom>
            <a:avLst/>
            <a:gdLst>
              <a:gd name="connsiteX0" fmla="*/ 0 w 227961"/>
              <a:gd name="connsiteY0" fmla="*/ 0 h 6179"/>
              <a:gd name="connsiteX1" fmla="*/ 227961 w 227961"/>
              <a:gd name="connsiteY1" fmla="*/ 0 h 6179"/>
              <a:gd name="connsiteX2" fmla="*/ 227961 w 227961"/>
              <a:gd name="connsiteY2" fmla="*/ 6179 h 6179"/>
              <a:gd name="connsiteX3" fmla="*/ 0 w 227961"/>
              <a:gd name="connsiteY3" fmla="*/ 6179 h 6179"/>
              <a:gd name="connsiteX4" fmla="*/ 0 w 227961"/>
              <a:gd name="connsiteY4" fmla="*/ 0 h 6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61" h="6179">
                <a:moveTo>
                  <a:pt x="0" y="0"/>
                </a:moveTo>
                <a:lnTo>
                  <a:pt x="227961" y="0"/>
                </a:lnTo>
                <a:lnTo>
                  <a:pt x="227961" y="6179"/>
                </a:lnTo>
                <a:lnTo>
                  <a:pt x="0" y="6179"/>
                </a:lnTo>
                <a:lnTo>
                  <a:pt x="0" y="0"/>
                </a:lnTo>
                <a:close/>
              </a:path>
            </a:pathLst>
          </a:custGeom>
        </p:spPr>
      </p:pic>
      <p:pic>
        <p:nvPicPr>
          <p:cNvPr id="61" name="Picture 60">
            <a:extLst>
              <a:ext uri="{FF2B5EF4-FFF2-40B4-BE49-F238E27FC236}">
                <a16:creationId xmlns:a16="http://schemas.microsoft.com/office/drawing/2014/main" id="{FD112019-6E78-C955-AD04-174AFFE41027}"/>
              </a:ext>
            </a:extLst>
          </p:cNvPr>
          <p:cNvPicPr>
            <a:picLocks noChangeAspect="1"/>
          </p:cNvPicPr>
          <p:nvPr/>
        </p:nvPicPr>
        <p:blipFill>
          <a:blip r:embed="rId6">
            <a:extLst>
              <a:ext uri="{28A0092B-C50C-407E-A947-70E740481C1C}">
                <a14:useLocalDpi xmlns:a14="http://schemas.microsoft.com/office/drawing/2010/main" val="0"/>
              </a:ext>
            </a:extLst>
          </a:blip>
          <a:srcRect l="79268" t="-90" r="17364" b="100000"/>
          <a:stretch>
            <a:fillRect/>
          </a:stretch>
        </p:blipFill>
        <p:spPr>
          <a:xfrm>
            <a:off x="10222978" y="0"/>
            <a:ext cx="227961" cy="6179"/>
          </a:xfrm>
          <a:custGeom>
            <a:avLst/>
            <a:gdLst>
              <a:gd name="connsiteX0" fmla="*/ 0 w 227961"/>
              <a:gd name="connsiteY0" fmla="*/ 0 h 6179"/>
              <a:gd name="connsiteX1" fmla="*/ 227961 w 227961"/>
              <a:gd name="connsiteY1" fmla="*/ 0 h 6179"/>
              <a:gd name="connsiteX2" fmla="*/ 227961 w 227961"/>
              <a:gd name="connsiteY2" fmla="*/ 6179 h 6179"/>
              <a:gd name="connsiteX3" fmla="*/ 0 w 227961"/>
              <a:gd name="connsiteY3" fmla="*/ 6179 h 6179"/>
              <a:gd name="connsiteX4" fmla="*/ 0 w 227961"/>
              <a:gd name="connsiteY4" fmla="*/ 0 h 6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61" h="6179">
                <a:moveTo>
                  <a:pt x="0" y="0"/>
                </a:moveTo>
                <a:lnTo>
                  <a:pt x="227961" y="0"/>
                </a:lnTo>
                <a:lnTo>
                  <a:pt x="227961" y="6179"/>
                </a:lnTo>
                <a:lnTo>
                  <a:pt x="0" y="6179"/>
                </a:lnTo>
                <a:lnTo>
                  <a:pt x="0" y="0"/>
                </a:lnTo>
                <a:close/>
              </a:path>
            </a:pathLst>
          </a:custGeom>
        </p:spPr>
      </p:pic>
      <p:pic>
        <p:nvPicPr>
          <p:cNvPr id="77" name="Picture 76">
            <a:extLst>
              <a:ext uri="{FF2B5EF4-FFF2-40B4-BE49-F238E27FC236}">
                <a16:creationId xmlns:a16="http://schemas.microsoft.com/office/drawing/2014/main" id="{FB0E7DF7-0CF1-9B29-C4A0-C469BDDDADDF}"/>
              </a:ext>
            </a:extLst>
          </p:cNvPr>
          <p:cNvPicPr>
            <a:picLocks noChangeAspect="1"/>
          </p:cNvPicPr>
          <p:nvPr/>
        </p:nvPicPr>
        <p:blipFill>
          <a:blip r:embed="rId6">
            <a:extLst>
              <a:ext uri="{28A0092B-C50C-407E-A947-70E740481C1C}">
                <a14:useLocalDpi xmlns:a14="http://schemas.microsoft.com/office/drawing/2010/main" val="0"/>
              </a:ext>
            </a:extLst>
          </a:blip>
          <a:srcRect l="14430" r="59967" b="47528"/>
          <a:stretch>
            <a:fillRect/>
          </a:stretch>
        </p:blipFill>
        <p:spPr>
          <a:xfrm>
            <a:off x="5835352" y="6158"/>
            <a:ext cx="1732559" cy="3586563"/>
          </a:xfrm>
          <a:custGeom>
            <a:avLst/>
            <a:gdLst>
              <a:gd name="connsiteX0" fmla="*/ 0 w 1732559"/>
              <a:gd name="connsiteY0" fmla="*/ 0 h 3598515"/>
              <a:gd name="connsiteX1" fmla="*/ 1732559 w 1732559"/>
              <a:gd name="connsiteY1" fmla="*/ 0 h 3598515"/>
              <a:gd name="connsiteX2" fmla="*/ 1732559 w 1732559"/>
              <a:gd name="connsiteY2" fmla="*/ 3295503 h 3598515"/>
              <a:gd name="connsiteX3" fmla="*/ 0 w 1732559"/>
              <a:gd name="connsiteY3" fmla="*/ 3598515 h 3598515"/>
              <a:gd name="connsiteX4" fmla="*/ 0 w 1732559"/>
              <a:gd name="connsiteY4" fmla="*/ 0 h 3598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2559" h="3598515">
                <a:moveTo>
                  <a:pt x="0" y="0"/>
                </a:moveTo>
                <a:lnTo>
                  <a:pt x="1732559" y="0"/>
                </a:lnTo>
                <a:lnTo>
                  <a:pt x="1732559" y="3295503"/>
                </a:lnTo>
                <a:lnTo>
                  <a:pt x="0" y="3598515"/>
                </a:lnTo>
                <a:lnTo>
                  <a:pt x="0" y="0"/>
                </a:lnTo>
                <a:close/>
              </a:path>
            </a:pathLst>
          </a:custGeom>
        </p:spPr>
      </p:pic>
      <p:pic>
        <p:nvPicPr>
          <p:cNvPr id="58" name="Picture 57">
            <a:extLst>
              <a:ext uri="{FF2B5EF4-FFF2-40B4-BE49-F238E27FC236}">
                <a16:creationId xmlns:a16="http://schemas.microsoft.com/office/drawing/2014/main" id="{C88C2AA4-19E7-3C12-6A01-74D111A08389}"/>
              </a:ext>
            </a:extLst>
          </p:cNvPr>
          <p:cNvPicPr>
            <a:picLocks noChangeAspect="1"/>
          </p:cNvPicPr>
          <p:nvPr/>
        </p:nvPicPr>
        <p:blipFill>
          <a:blip r:embed="rId6">
            <a:extLst>
              <a:ext uri="{28A0092B-C50C-407E-A947-70E740481C1C}">
                <a14:useLocalDpi xmlns:a14="http://schemas.microsoft.com/office/drawing/2010/main" val="0"/>
              </a:ext>
            </a:extLst>
          </a:blip>
          <a:srcRect l="43401" r="20732" b="77973"/>
          <a:stretch>
            <a:fillRect/>
          </a:stretch>
        </p:blipFill>
        <p:spPr>
          <a:xfrm>
            <a:off x="7834427" y="0"/>
            <a:ext cx="2427106" cy="1505565"/>
          </a:xfrm>
          <a:custGeom>
            <a:avLst/>
            <a:gdLst>
              <a:gd name="connsiteX0" fmla="*/ 0 w 2427106"/>
              <a:gd name="connsiteY0" fmla="*/ 0 h 1510582"/>
              <a:gd name="connsiteX1" fmla="*/ 2427106 w 2427106"/>
              <a:gd name="connsiteY1" fmla="*/ 0 h 1510582"/>
              <a:gd name="connsiteX2" fmla="*/ 2427106 w 2427106"/>
              <a:gd name="connsiteY2" fmla="*/ 1096857 h 1510582"/>
              <a:gd name="connsiteX3" fmla="*/ 0 w 2427106"/>
              <a:gd name="connsiteY3" fmla="*/ 1510582 h 1510582"/>
              <a:gd name="connsiteX4" fmla="*/ 0 w 2427106"/>
              <a:gd name="connsiteY4" fmla="*/ 0 h 151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106" h="1510582">
                <a:moveTo>
                  <a:pt x="0" y="0"/>
                </a:moveTo>
                <a:lnTo>
                  <a:pt x="2427106" y="0"/>
                </a:lnTo>
                <a:lnTo>
                  <a:pt x="2427106" y="1096857"/>
                </a:lnTo>
                <a:lnTo>
                  <a:pt x="0" y="1510582"/>
                </a:lnTo>
                <a:lnTo>
                  <a:pt x="0" y="0"/>
                </a:lnTo>
                <a:close/>
              </a:path>
            </a:pathLst>
          </a:custGeom>
        </p:spPr>
      </p:pic>
      <p:sp>
        <p:nvSpPr>
          <p:cNvPr id="85" name="Google Shape;129;p12">
            <a:extLst>
              <a:ext uri="{FF2B5EF4-FFF2-40B4-BE49-F238E27FC236}">
                <a16:creationId xmlns:a16="http://schemas.microsoft.com/office/drawing/2014/main" id="{9BD98FBE-4656-CA20-37C8-62576C6AF1EC}"/>
              </a:ext>
            </a:extLst>
          </p:cNvPr>
          <p:cNvSpPr/>
          <p:nvPr/>
        </p:nvSpPr>
        <p:spPr>
          <a:xfrm>
            <a:off x="5767230" y="4209"/>
            <a:ext cx="1877791" cy="1187130"/>
          </a:xfrm>
          <a:custGeom>
            <a:avLst/>
            <a:gdLst>
              <a:gd name="connsiteX0" fmla="*/ 0 w 21600"/>
              <a:gd name="connsiteY0" fmla="*/ 25634 h 25634"/>
              <a:gd name="connsiteX1" fmla="*/ 21600 w 21600"/>
              <a:gd name="connsiteY1" fmla="*/ 19177 h 25634"/>
              <a:gd name="connsiteX2" fmla="*/ 21600 w 21600"/>
              <a:gd name="connsiteY2" fmla="*/ 0 h 25634"/>
              <a:gd name="connsiteX3" fmla="*/ 0 w 21600"/>
              <a:gd name="connsiteY3" fmla="*/ 2423 h 25634"/>
              <a:gd name="connsiteX4" fmla="*/ 0 w 21600"/>
              <a:gd name="connsiteY4" fmla="*/ 25634 h 25634"/>
              <a:gd name="connsiteX0" fmla="*/ 0 w 21600"/>
              <a:gd name="connsiteY0" fmla="*/ 25634 h 25634"/>
              <a:gd name="connsiteX1" fmla="*/ 21600 w 21600"/>
              <a:gd name="connsiteY1" fmla="*/ 19177 h 25634"/>
              <a:gd name="connsiteX2" fmla="*/ 21600 w 21600"/>
              <a:gd name="connsiteY2" fmla="*/ 0 h 25634"/>
              <a:gd name="connsiteX3" fmla="*/ 0 w 21600"/>
              <a:gd name="connsiteY3" fmla="*/ 88 h 25634"/>
              <a:gd name="connsiteX4" fmla="*/ 0 w 21600"/>
              <a:gd name="connsiteY4" fmla="*/ 25634 h 25634"/>
              <a:gd name="connsiteX0" fmla="*/ 0 w 21600"/>
              <a:gd name="connsiteY0" fmla="*/ 25634 h 25634"/>
              <a:gd name="connsiteX1" fmla="*/ 21600 w 21600"/>
              <a:gd name="connsiteY1" fmla="*/ 19808 h 25634"/>
              <a:gd name="connsiteX2" fmla="*/ 21600 w 21600"/>
              <a:gd name="connsiteY2" fmla="*/ 0 h 25634"/>
              <a:gd name="connsiteX3" fmla="*/ 0 w 21600"/>
              <a:gd name="connsiteY3" fmla="*/ 88 h 25634"/>
              <a:gd name="connsiteX4" fmla="*/ 0 w 21600"/>
              <a:gd name="connsiteY4" fmla="*/ 25634 h 25634"/>
              <a:gd name="connsiteX0" fmla="*/ 0 w 21600"/>
              <a:gd name="connsiteY0" fmla="*/ 25634 h 25634"/>
              <a:gd name="connsiteX1" fmla="*/ 21444 w 21600"/>
              <a:gd name="connsiteY1" fmla="*/ 18265 h 25634"/>
              <a:gd name="connsiteX2" fmla="*/ 21600 w 21600"/>
              <a:gd name="connsiteY2" fmla="*/ 0 h 25634"/>
              <a:gd name="connsiteX3" fmla="*/ 0 w 21600"/>
              <a:gd name="connsiteY3" fmla="*/ 88 h 25634"/>
              <a:gd name="connsiteX4" fmla="*/ 0 w 21600"/>
              <a:gd name="connsiteY4" fmla="*/ 25634 h 25634"/>
              <a:gd name="connsiteX0" fmla="*/ 0 w 21600"/>
              <a:gd name="connsiteY0" fmla="*/ 25634 h 25634"/>
              <a:gd name="connsiteX1" fmla="*/ 21366 w 21600"/>
              <a:gd name="connsiteY1" fmla="*/ 18967 h 25634"/>
              <a:gd name="connsiteX2" fmla="*/ 21600 w 21600"/>
              <a:gd name="connsiteY2" fmla="*/ 0 h 25634"/>
              <a:gd name="connsiteX3" fmla="*/ 0 w 21600"/>
              <a:gd name="connsiteY3" fmla="*/ 88 h 25634"/>
              <a:gd name="connsiteX4" fmla="*/ 0 w 21600"/>
              <a:gd name="connsiteY4" fmla="*/ 25634 h 25634"/>
              <a:gd name="connsiteX0" fmla="*/ 156 w 21600"/>
              <a:gd name="connsiteY0" fmla="*/ 25494 h 25494"/>
              <a:gd name="connsiteX1" fmla="*/ 21366 w 21600"/>
              <a:gd name="connsiteY1" fmla="*/ 18967 h 25494"/>
              <a:gd name="connsiteX2" fmla="*/ 21600 w 21600"/>
              <a:gd name="connsiteY2" fmla="*/ 0 h 25494"/>
              <a:gd name="connsiteX3" fmla="*/ 0 w 21600"/>
              <a:gd name="connsiteY3" fmla="*/ 88 h 25494"/>
              <a:gd name="connsiteX4" fmla="*/ 156 w 21600"/>
              <a:gd name="connsiteY4" fmla="*/ 25494 h 25494"/>
              <a:gd name="connsiteX0" fmla="*/ 0 w 21669"/>
              <a:gd name="connsiteY0" fmla="*/ 25915 h 25915"/>
              <a:gd name="connsiteX1" fmla="*/ 21435 w 21669"/>
              <a:gd name="connsiteY1" fmla="*/ 18967 h 25915"/>
              <a:gd name="connsiteX2" fmla="*/ 21669 w 21669"/>
              <a:gd name="connsiteY2" fmla="*/ 0 h 25915"/>
              <a:gd name="connsiteX3" fmla="*/ 69 w 21669"/>
              <a:gd name="connsiteY3" fmla="*/ 88 h 25915"/>
              <a:gd name="connsiteX4" fmla="*/ 0 w 21669"/>
              <a:gd name="connsiteY4" fmla="*/ 25915 h 25915"/>
              <a:gd name="connsiteX0" fmla="*/ 0 w 21642"/>
              <a:gd name="connsiteY0" fmla="*/ 26231 h 26231"/>
              <a:gd name="connsiteX1" fmla="*/ 21408 w 21642"/>
              <a:gd name="connsiteY1" fmla="*/ 18967 h 26231"/>
              <a:gd name="connsiteX2" fmla="*/ 21642 w 21642"/>
              <a:gd name="connsiteY2" fmla="*/ 0 h 26231"/>
              <a:gd name="connsiteX3" fmla="*/ 42 w 21642"/>
              <a:gd name="connsiteY3" fmla="*/ 88 h 26231"/>
              <a:gd name="connsiteX4" fmla="*/ 0 w 21642"/>
              <a:gd name="connsiteY4" fmla="*/ 26231 h 26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2" h="26231" extrusionOk="0">
                <a:moveTo>
                  <a:pt x="0" y="26231"/>
                </a:moveTo>
                <a:lnTo>
                  <a:pt x="21408" y="18967"/>
                </a:lnTo>
                <a:lnTo>
                  <a:pt x="21642" y="0"/>
                </a:lnTo>
                <a:lnTo>
                  <a:pt x="42" y="88"/>
                </a:lnTo>
                <a:cubicBezTo>
                  <a:pt x="28" y="8802"/>
                  <a:pt x="14" y="17517"/>
                  <a:pt x="0" y="26231"/>
                </a:cubicBezTo>
                <a:close/>
              </a:path>
            </a:pathLst>
          </a:custGeom>
          <a:solidFill>
            <a:srgbClr val="FFFFFF"/>
          </a:solidFill>
          <a:ln>
            <a:noFill/>
          </a:ln>
        </p:spPr>
        <p:txBody>
          <a:bodyPr spcFirstLastPara="1" wrap="square" lIns="60933" tIns="60933" rIns="60933" bIns="60933"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800"/>
              <a:buFontTx/>
              <a:buNone/>
              <a:tabLst/>
              <a:defRPr/>
            </a:pPr>
            <a:endParaRPr kumimoji="0" lang="en-GB" sz="2400" b="0" i="0" u="none" strike="noStrike" kern="0" cap="none" spc="0" normalizeH="0" baseline="0" noProof="0">
              <a:ln>
                <a:noFill/>
              </a:ln>
              <a:solidFill>
                <a:srgbClr val="000000"/>
              </a:solidFill>
              <a:effectLst/>
              <a:uLnTx/>
              <a:uFillTx/>
              <a:latin typeface="Poppins" panose="00000500000000000000" pitchFamily="2" charset="0"/>
              <a:ea typeface="Calibri"/>
              <a:cs typeface="Poppins" panose="00000500000000000000" pitchFamily="2" charset="0"/>
              <a:sym typeface="Calibri"/>
            </a:endParaRPr>
          </a:p>
        </p:txBody>
      </p:sp>
      <p:sp>
        <p:nvSpPr>
          <p:cNvPr id="80" name="Rectangle 79">
            <a:extLst>
              <a:ext uri="{FF2B5EF4-FFF2-40B4-BE49-F238E27FC236}">
                <a16:creationId xmlns:a16="http://schemas.microsoft.com/office/drawing/2014/main" id="{4CD092B8-E93F-CD2D-8E5E-82BE17F4EDF9}"/>
              </a:ext>
            </a:extLst>
          </p:cNvPr>
          <p:cNvSpPr/>
          <p:nvPr/>
        </p:nvSpPr>
        <p:spPr>
          <a:xfrm>
            <a:off x="10301056" y="4356227"/>
            <a:ext cx="1315356" cy="25078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2F2F2"/>
              </a:solidFill>
              <a:effectLst/>
              <a:uLnTx/>
              <a:uFillTx/>
              <a:latin typeface="Poppins" panose="00000500000000000000" pitchFamily="2" charset="0"/>
              <a:ea typeface="+mn-ea"/>
              <a:cs typeface="Poppins" panose="00000500000000000000" pitchFamily="2" charset="0"/>
            </a:endParaRPr>
          </a:p>
        </p:txBody>
      </p:sp>
      <p:sp>
        <p:nvSpPr>
          <p:cNvPr id="23" name="Google Shape;129;p12">
            <a:extLst>
              <a:ext uri="{FF2B5EF4-FFF2-40B4-BE49-F238E27FC236}">
                <a16:creationId xmlns:a16="http://schemas.microsoft.com/office/drawing/2014/main" id="{5036FD65-07B4-CC34-ADC1-3C304EA27EC0}"/>
              </a:ext>
            </a:extLst>
          </p:cNvPr>
          <p:cNvSpPr/>
          <p:nvPr/>
        </p:nvSpPr>
        <p:spPr>
          <a:xfrm>
            <a:off x="5822049" y="869307"/>
            <a:ext cx="1743560" cy="2731134"/>
          </a:xfrm>
          <a:custGeom>
            <a:avLst/>
            <a:gdLst>
              <a:gd name="connsiteX0" fmla="*/ 0 w 21600"/>
              <a:gd name="connsiteY0" fmla="*/ 21600 h 21600"/>
              <a:gd name="connsiteX1" fmla="*/ 21600 w 21600"/>
              <a:gd name="connsiteY1" fmla="*/ 18983 h 21600"/>
              <a:gd name="connsiteX2" fmla="*/ 21600 w 21600"/>
              <a:gd name="connsiteY2" fmla="*/ 0 h 21600"/>
              <a:gd name="connsiteX3" fmla="*/ 0 w 21600"/>
              <a:gd name="connsiteY3" fmla="*/ 2423 h 21600"/>
              <a:gd name="connsiteX4" fmla="*/ 0 w 21600"/>
              <a:gd name="connsiteY4" fmla="*/ 21600 h 21600"/>
              <a:gd name="connsiteX0" fmla="*/ 117 w 21600"/>
              <a:gd name="connsiteY0" fmla="*/ 21334 h 21334"/>
              <a:gd name="connsiteX1" fmla="*/ 21600 w 21600"/>
              <a:gd name="connsiteY1" fmla="*/ 18983 h 21334"/>
              <a:gd name="connsiteX2" fmla="*/ 21600 w 21600"/>
              <a:gd name="connsiteY2" fmla="*/ 0 h 21334"/>
              <a:gd name="connsiteX3" fmla="*/ 0 w 21600"/>
              <a:gd name="connsiteY3" fmla="*/ 2423 h 21334"/>
              <a:gd name="connsiteX4" fmla="*/ 117 w 21600"/>
              <a:gd name="connsiteY4" fmla="*/ 21334 h 21334"/>
              <a:gd name="connsiteX0" fmla="*/ 117 w 21600"/>
              <a:gd name="connsiteY0" fmla="*/ 21261 h 21261"/>
              <a:gd name="connsiteX1" fmla="*/ 21600 w 21600"/>
              <a:gd name="connsiteY1" fmla="*/ 18983 h 21261"/>
              <a:gd name="connsiteX2" fmla="*/ 21600 w 21600"/>
              <a:gd name="connsiteY2" fmla="*/ 0 h 21261"/>
              <a:gd name="connsiteX3" fmla="*/ 0 w 21600"/>
              <a:gd name="connsiteY3" fmla="*/ 2423 h 21261"/>
              <a:gd name="connsiteX4" fmla="*/ 117 w 21600"/>
              <a:gd name="connsiteY4" fmla="*/ 21261 h 21261"/>
              <a:gd name="connsiteX0" fmla="*/ 117 w 21600"/>
              <a:gd name="connsiteY0" fmla="*/ 21261 h 21261"/>
              <a:gd name="connsiteX1" fmla="*/ 21600 w 21600"/>
              <a:gd name="connsiteY1" fmla="*/ 18983 h 21261"/>
              <a:gd name="connsiteX2" fmla="*/ 21600 w 21600"/>
              <a:gd name="connsiteY2" fmla="*/ 0 h 21261"/>
              <a:gd name="connsiteX3" fmla="*/ 0 w 21600"/>
              <a:gd name="connsiteY3" fmla="*/ 2423 h 21261"/>
              <a:gd name="connsiteX4" fmla="*/ 117 w 21600"/>
              <a:gd name="connsiteY4" fmla="*/ 21261 h 21261"/>
              <a:gd name="connsiteX0" fmla="*/ 0 w 21483"/>
              <a:gd name="connsiteY0" fmla="*/ 21261 h 21261"/>
              <a:gd name="connsiteX1" fmla="*/ 21483 w 21483"/>
              <a:gd name="connsiteY1" fmla="*/ 18983 h 21261"/>
              <a:gd name="connsiteX2" fmla="*/ 21483 w 21483"/>
              <a:gd name="connsiteY2" fmla="*/ 0 h 21261"/>
              <a:gd name="connsiteX3" fmla="*/ 196 w 21483"/>
              <a:gd name="connsiteY3" fmla="*/ 2835 h 21261"/>
              <a:gd name="connsiteX4" fmla="*/ 0 w 21483"/>
              <a:gd name="connsiteY4" fmla="*/ 21261 h 21261"/>
              <a:gd name="connsiteX0" fmla="*/ 0 w 21483"/>
              <a:gd name="connsiteY0" fmla="*/ 20728 h 20728"/>
              <a:gd name="connsiteX1" fmla="*/ 21483 w 21483"/>
              <a:gd name="connsiteY1" fmla="*/ 18450 h 20728"/>
              <a:gd name="connsiteX2" fmla="*/ 21483 w 21483"/>
              <a:gd name="connsiteY2" fmla="*/ 0 h 20728"/>
              <a:gd name="connsiteX3" fmla="*/ 196 w 21483"/>
              <a:gd name="connsiteY3" fmla="*/ 2302 h 20728"/>
              <a:gd name="connsiteX4" fmla="*/ 0 w 21483"/>
              <a:gd name="connsiteY4" fmla="*/ 20728 h 20728"/>
              <a:gd name="connsiteX0" fmla="*/ 0 w 21483"/>
              <a:gd name="connsiteY0" fmla="*/ 20825 h 20825"/>
              <a:gd name="connsiteX1" fmla="*/ 21483 w 21483"/>
              <a:gd name="connsiteY1" fmla="*/ 18547 h 20825"/>
              <a:gd name="connsiteX2" fmla="*/ 21483 w 21483"/>
              <a:gd name="connsiteY2" fmla="*/ 0 h 20825"/>
              <a:gd name="connsiteX3" fmla="*/ 196 w 21483"/>
              <a:gd name="connsiteY3" fmla="*/ 2399 h 20825"/>
              <a:gd name="connsiteX4" fmla="*/ 0 w 21483"/>
              <a:gd name="connsiteY4" fmla="*/ 20825 h 20825"/>
              <a:gd name="connsiteX0" fmla="*/ 0 w 21483"/>
              <a:gd name="connsiteY0" fmla="*/ 20825 h 20825"/>
              <a:gd name="connsiteX1" fmla="*/ 21483 w 21483"/>
              <a:gd name="connsiteY1" fmla="*/ 18547 h 20825"/>
              <a:gd name="connsiteX2" fmla="*/ 21483 w 21483"/>
              <a:gd name="connsiteY2" fmla="*/ 0 h 20825"/>
              <a:gd name="connsiteX3" fmla="*/ 196 w 21483"/>
              <a:gd name="connsiteY3" fmla="*/ 2351 h 20825"/>
              <a:gd name="connsiteX4" fmla="*/ 0 w 21483"/>
              <a:gd name="connsiteY4" fmla="*/ 20825 h 20825"/>
              <a:gd name="connsiteX0" fmla="*/ 0 w 21483"/>
              <a:gd name="connsiteY0" fmla="*/ 20825 h 20825"/>
              <a:gd name="connsiteX1" fmla="*/ 21483 w 21483"/>
              <a:gd name="connsiteY1" fmla="*/ 18547 h 20825"/>
              <a:gd name="connsiteX2" fmla="*/ 21483 w 21483"/>
              <a:gd name="connsiteY2" fmla="*/ 0 h 20825"/>
              <a:gd name="connsiteX3" fmla="*/ 157 w 21483"/>
              <a:gd name="connsiteY3" fmla="*/ 2351 h 20825"/>
              <a:gd name="connsiteX4" fmla="*/ 0 w 21483"/>
              <a:gd name="connsiteY4" fmla="*/ 20825 h 20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83" h="20825" extrusionOk="0">
                <a:moveTo>
                  <a:pt x="0" y="20825"/>
                </a:moveTo>
                <a:lnTo>
                  <a:pt x="21483" y="18547"/>
                </a:lnTo>
                <a:lnTo>
                  <a:pt x="21483" y="0"/>
                </a:lnTo>
                <a:lnTo>
                  <a:pt x="157" y="2351"/>
                </a:lnTo>
                <a:cubicBezTo>
                  <a:pt x="92" y="8493"/>
                  <a:pt x="65" y="14683"/>
                  <a:pt x="0" y="20825"/>
                </a:cubicBezTo>
                <a:close/>
              </a:path>
            </a:pathLst>
          </a:custGeom>
          <a:solidFill>
            <a:srgbClr val="6BB4DA">
              <a:alpha val="46000"/>
            </a:srgbClr>
          </a:solidFill>
          <a:ln>
            <a:noFill/>
          </a:ln>
        </p:spPr>
        <p:txBody>
          <a:bodyPr spcFirstLastPara="1" wrap="square" lIns="60933" tIns="60933" rIns="60933" bIns="60933"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800"/>
              <a:buFontTx/>
              <a:buNone/>
              <a:tabLst/>
              <a:defRPr/>
            </a:pPr>
            <a:endParaRPr kumimoji="0" lang="en-GB" sz="2400" b="0" i="0" u="none" strike="noStrike" kern="0" cap="none" spc="0" normalizeH="0" baseline="0" noProof="0">
              <a:ln>
                <a:noFill/>
              </a:ln>
              <a:solidFill>
                <a:srgbClr val="000000"/>
              </a:solidFill>
              <a:effectLst/>
              <a:uLnTx/>
              <a:uFillTx/>
              <a:latin typeface="Poppins" panose="00000500000000000000" pitchFamily="2" charset="0"/>
              <a:ea typeface="Calibri"/>
              <a:cs typeface="Poppins" panose="00000500000000000000" pitchFamily="2" charset="0"/>
              <a:sym typeface="Calibri"/>
            </a:endParaRPr>
          </a:p>
        </p:txBody>
      </p:sp>
      <p:pic>
        <p:nvPicPr>
          <p:cNvPr id="27" name="Picture 26">
            <a:extLst>
              <a:ext uri="{FF2B5EF4-FFF2-40B4-BE49-F238E27FC236}">
                <a16:creationId xmlns:a16="http://schemas.microsoft.com/office/drawing/2014/main" id="{C2E0D4B7-B203-7FE2-079C-A452D0B6B6A9}"/>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a:xfrm>
            <a:off x="4725231" y="0"/>
            <a:ext cx="6883814" cy="6858000"/>
          </a:xfrm>
          <a:custGeom>
            <a:avLst/>
            <a:gdLst>
              <a:gd name="connsiteX0" fmla="*/ 141714 w 6883814"/>
              <a:gd name="connsiteY0" fmla="*/ 6726411 h 6858000"/>
              <a:gd name="connsiteX1" fmla="*/ 142357 w 6883814"/>
              <a:gd name="connsiteY1" fmla="*/ 6857999 h 6858000"/>
              <a:gd name="connsiteX2" fmla="*/ 872634 w 6883814"/>
              <a:gd name="connsiteY2" fmla="*/ 6857999 h 6858000"/>
              <a:gd name="connsiteX3" fmla="*/ 872634 w 6883814"/>
              <a:gd name="connsiteY3" fmla="*/ 6858000 h 6858000"/>
              <a:gd name="connsiteX4" fmla="*/ 0 w 6883814"/>
              <a:gd name="connsiteY4" fmla="*/ 6858000 h 6858000"/>
              <a:gd name="connsiteX5" fmla="*/ 0 w 6883814"/>
              <a:gd name="connsiteY5" fmla="*/ 6857999 h 6858000"/>
              <a:gd name="connsiteX6" fmla="*/ 141714 w 6883814"/>
              <a:gd name="connsiteY6" fmla="*/ 6857999 h 6858000"/>
              <a:gd name="connsiteX7" fmla="*/ 6883814 w 6883814"/>
              <a:gd name="connsiteY7" fmla="*/ 4163016 h 6858000"/>
              <a:gd name="connsiteX8" fmla="*/ 6883814 w 6883814"/>
              <a:gd name="connsiteY8" fmla="*/ 5716567 h 6858000"/>
              <a:gd name="connsiteX9" fmla="*/ 6881972 w 6883814"/>
              <a:gd name="connsiteY9" fmla="*/ 5717623 h 6858000"/>
              <a:gd name="connsiteX10" fmla="*/ 6881972 w 6883814"/>
              <a:gd name="connsiteY10" fmla="*/ 5715517 h 6858000"/>
              <a:gd name="connsiteX11" fmla="*/ 5716182 w 6883814"/>
              <a:gd name="connsiteY11" fmla="*/ 5928691 h 6858000"/>
              <a:gd name="connsiteX12" fmla="*/ 5716182 w 6883814"/>
              <a:gd name="connsiteY12" fmla="*/ 4568230 h 6858000"/>
              <a:gd name="connsiteX13" fmla="*/ 6883497 w 6883814"/>
              <a:gd name="connsiteY13" fmla="*/ 4360795 h 6858000"/>
              <a:gd name="connsiteX14" fmla="*/ 6883814 w 6883814"/>
              <a:gd name="connsiteY14" fmla="*/ 4163016 h 6858000"/>
              <a:gd name="connsiteX15" fmla="*/ 2833154 w 6883814"/>
              <a:gd name="connsiteY15" fmla="*/ 3547668 h 6858000"/>
              <a:gd name="connsiteX16" fmla="*/ 2833154 w 6883814"/>
              <a:gd name="connsiteY16" fmla="*/ 6858000 h 6858000"/>
              <a:gd name="connsiteX17" fmla="*/ 1100595 w 6883814"/>
              <a:gd name="connsiteY17" fmla="*/ 6858000 h 6858000"/>
              <a:gd name="connsiteX18" fmla="*/ 1100595 w 6883814"/>
              <a:gd name="connsiteY18" fmla="*/ 3859618 h 6858000"/>
              <a:gd name="connsiteX19" fmla="*/ 5488221 w 6883814"/>
              <a:gd name="connsiteY19" fmla="*/ 1335152 h 6858000"/>
              <a:gd name="connsiteX20" fmla="*/ 5488221 w 6883814"/>
              <a:gd name="connsiteY20" fmla="*/ 6858000 h 6858000"/>
              <a:gd name="connsiteX21" fmla="*/ 3061115 w 6883814"/>
              <a:gd name="connsiteY21" fmla="*/ 6858000 h 6858000"/>
              <a:gd name="connsiteX22" fmla="*/ 3061115 w 6883814"/>
              <a:gd name="connsiteY22" fmla="*/ 1778627 h 6858000"/>
              <a:gd name="connsiteX23" fmla="*/ 6883814 w 6883814"/>
              <a:gd name="connsiteY23" fmla="*/ 299122 h 6858000"/>
              <a:gd name="connsiteX24" fmla="*/ 6883814 w 6883814"/>
              <a:gd name="connsiteY24" fmla="*/ 4163016 h 6858000"/>
              <a:gd name="connsiteX25" fmla="*/ 5716182 w 6883814"/>
              <a:gd name="connsiteY25" fmla="*/ 4365300 h 6858000"/>
              <a:gd name="connsiteX26" fmla="*/ 5716182 w 6883814"/>
              <a:gd name="connsiteY26" fmla="*/ 648839 h 6858000"/>
              <a:gd name="connsiteX27" fmla="*/ 6883497 w 6883814"/>
              <a:gd name="connsiteY27" fmla="*/ 487407 h 6858000"/>
              <a:gd name="connsiteX28" fmla="*/ 6883814 w 6883814"/>
              <a:gd name="connsiteY28" fmla="*/ 299122 h 6858000"/>
              <a:gd name="connsiteX29" fmla="*/ 5713665 w 6883814"/>
              <a:gd name="connsiteY29" fmla="*/ 0 h 6858000"/>
              <a:gd name="connsiteX30" fmla="*/ 6883814 w 6883814"/>
              <a:gd name="connsiteY30" fmla="*/ 0 h 6858000"/>
              <a:gd name="connsiteX31" fmla="*/ 6883814 w 6883814"/>
              <a:gd name="connsiteY31" fmla="*/ 299122 h 6858000"/>
              <a:gd name="connsiteX32" fmla="*/ 5716182 w 6883814"/>
              <a:gd name="connsiteY32" fmla="*/ 444631 h 6858000"/>
              <a:gd name="connsiteX33" fmla="*/ 5716182 w 6883814"/>
              <a:gd name="connsiteY33" fmla="*/ 22779 h 6858000"/>
              <a:gd name="connsiteX34" fmla="*/ 5713665 w 6883814"/>
              <a:gd name="connsiteY34" fmla="*/ 22779 h 6858000"/>
              <a:gd name="connsiteX35" fmla="*/ 3109196 w 6883814"/>
              <a:gd name="connsiteY35" fmla="*/ 0 h 6858000"/>
              <a:gd name="connsiteX36" fmla="*/ 5536302 w 6883814"/>
              <a:gd name="connsiteY36" fmla="*/ 0 h 6858000"/>
              <a:gd name="connsiteX37" fmla="*/ 5536302 w 6883814"/>
              <a:gd name="connsiteY37" fmla="*/ 22779 h 6858000"/>
              <a:gd name="connsiteX38" fmla="*/ 3109196 w 6883814"/>
              <a:gd name="connsiteY38" fmla="*/ 22779 h 6858000"/>
              <a:gd name="connsiteX39" fmla="*/ 141714 w 6883814"/>
              <a:gd name="connsiteY39" fmla="*/ 0 h 6858000"/>
              <a:gd name="connsiteX40" fmla="*/ 872025 w 6883814"/>
              <a:gd name="connsiteY40" fmla="*/ 0 h 6858000"/>
              <a:gd name="connsiteX41" fmla="*/ 872025 w 6883814"/>
              <a:gd name="connsiteY41" fmla="*/ 596752 h 6858000"/>
              <a:gd name="connsiteX42" fmla="*/ 872634 w 6883814"/>
              <a:gd name="connsiteY42" fmla="*/ 596752 h 6858000"/>
              <a:gd name="connsiteX43" fmla="*/ 872634 w 6883814"/>
              <a:gd name="connsiteY43" fmla="*/ 2144289 h 6858000"/>
              <a:gd name="connsiteX44" fmla="*/ 141714 w 6883814"/>
              <a:gd name="connsiteY44" fmla="*/ 22998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883814" h="6858000">
                <a:moveTo>
                  <a:pt x="141714" y="6726411"/>
                </a:moveTo>
                <a:lnTo>
                  <a:pt x="142357" y="6857999"/>
                </a:lnTo>
                <a:lnTo>
                  <a:pt x="872634" y="6857999"/>
                </a:lnTo>
                <a:lnTo>
                  <a:pt x="872634" y="6858000"/>
                </a:lnTo>
                <a:lnTo>
                  <a:pt x="0" y="6858000"/>
                </a:lnTo>
                <a:lnTo>
                  <a:pt x="0" y="6857999"/>
                </a:lnTo>
                <a:lnTo>
                  <a:pt x="141714" y="6857999"/>
                </a:lnTo>
                <a:close/>
                <a:moveTo>
                  <a:pt x="6883814" y="4163016"/>
                </a:moveTo>
                <a:lnTo>
                  <a:pt x="6883814" y="5716567"/>
                </a:lnTo>
                <a:lnTo>
                  <a:pt x="6881972" y="5717623"/>
                </a:lnTo>
                <a:lnTo>
                  <a:pt x="6881972" y="5715517"/>
                </a:lnTo>
                <a:lnTo>
                  <a:pt x="5716182" y="5928691"/>
                </a:lnTo>
                <a:lnTo>
                  <a:pt x="5716182" y="4568230"/>
                </a:lnTo>
                <a:lnTo>
                  <a:pt x="6883497" y="4360795"/>
                </a:lnTo>
                <a:cubicBezTo>
                  <a:pt x="6883814" y="4289278"/>
                  <a:pt x="6883497" y="4234533"/>
                  <a:pt x="6883814" y="4163016"/>
                </a:cubicBezTo>
                <a:close/>
                <a:moveTo>
                  <a:pt x="2833154" y="3547668"/>
                </a:moveTo>
                <a:lnTo>
                  <a:pt x="2833154" y="6858000"/>
                </a:lnTo>
                <a:lnTo>
                  <a:pt x="1100595" y="6858000"/>
                </a:lnTo>
                <a:lnTo>
                  <a:pt x="1100595" y="3859618"/>
                </a:lnTo>
                <a:close/>
                <a:moveTo>
                  <a:pt x="5488221" y="1335152"/>
                </a:moveTo>
                <a:lnTo>
                  <a:pt x="5488221" y="6858000"/>
                </a:lnTo>
                <a:lnTo>
                  <a:pt x="3061115" y="6858000"/>
                </a:lnTo>
                <a:lnTo>
                  <a:pt x="3061115" y="1778627"/>
                </a:lnTo>
                <a:close/>
                <a:moveTo>
                  <a:pt x="6883814" y="299122"/>
                </a:moveTo>
                <a:lnTo>
                  <a:pt x="6883814" y="4163016"/>
                </a:lnTo>
                <a:lnTo>
                  <a:pt x="5716182" y="4365300"/>
                </a:lnTo>
                <a:lnTo>
                  <a:pt x="5716182" y="648839"/>
                </a:lnTo>
                <a:lnTo>
                  <a:pt x="6883497" y="487407"/>
                </a:lnTo>
                <a:cubicBezTo>
                  <a:pt x="6883814" y="415890"/>
                  <a:pt x="6883497" y="370639"/>
                  <a:pt x="6883814" y="299122"/>
                </a:cubicBezTo>
                <a:close/>
                <a:moveTo>
                  <a:pt x="5713665" y="0"/>
                </a:moveTo>
                <a:lnTo>
                  <a:pt x="6883814" y="0"/>
                </a:lnTo>
                <a:lnTo>
                  <a:pt x="6883814" y="299122"/>
                </a:lnTo>
                <a:lnTo>
                  <a:pt x="5716182" y="444631"/>
                </a:lnTo>
                <a:lnTo>
                  <a:pt x="5716182" y="22779"/>
                </a:lnTo>
                <a:lnTo>
                  <a:pt x="5713665" y="22779"/>
                </a:lnTo>
                <a:close/>
                <a:moveTo>
                  <a:pt x="3109196" y="0"/>
                </a:moveTo>
                <a:lnTo>
                  <a:pt x="5536302" y="0"/>
                </a:lnTo>
                <a:lnTo>
                  <a:pt x="5536302" y="22779"/>
                </a:lnTo>
                <a:lnTo>
                  <a:pt x="3109196" y="22779"/>
                </a:lnTo>
                <a:close/>
                <a:moveTo>
                  <a:pt x="141714" y="0"/>
                </a:moveTo>
                <a:lnTo>
                  <a:pt x="872025" y="0"/>
                </a:lnTo>
                <a:lnTo>
                  <a:pt x="872025" y="596752"/>
                </a:lnTo>
                <a:lnTo>
                  <a:pt x="872634" y="596752"/>
                </a:lnTo>
                <a:lnTo>
                  <a:pt x="872634" y="2144289"/>
                </a:lnTo>
                <a:lnTo>
                  <a:pt x="141714" y="2299821"/>
                </a:lnTo>
                <a:close/>
              </a:path>
            </a:pathLst>
          </a:custGeom>
        </p:spPr>
      </p:pic>
      <p:sp>
        <p:nvSpPr>
          <p:cNvPr id="31" name="Google Shape;130;p12">
            <a:extLst>
              <a:ext uri="{FF2B5EF4-FFF2-40B4-BE49-F238E27FC236}">
                <a16:creationId xmlns:a16="http://schemas.microsoft.com/office/drawing/2014/main" id="{1B22CCBD-F30B-BEEB-B365-9E7A391B88F6}"/>
              </a:ext>
            </a:extLst>
          </p:cNvPr>
          <p:cNvSpPr/>
          <p:nvPr/>
        </p:nvSpPr>
        <p:spPr>
          <a:xfrm>
            <a:off x="10438896" y="4361000"/>
            <a:ext cx="1173093" cy="1567329"/>
          </a:xfrm>
          <a:custGeom>
            <a:avLst/>
            <a:gdLst>
              <a:gd name="connsiteX0" fmla="*/ 0 w 21600"/>
              <a:gd name="connsiteY0" fmla="*/ 21469 h 21469"/>
              <a:gd name="connsiteX1" fmla="*/ 21600 w 21600"/>
              <a:gd name="connsiteY1" fmla="*/ 18480 h 21469"/>
              <a:gd name="connsiteX2" fmla="*/ 21254 w 21600"/>
              <a:gd name="connsiteY2" fmla="*/ 0 h 21469"/>
              <a:gd name="connsiteX3" fmla="*/ 0 w 21600"/>
              <a:gd name="connsiteY3" fmla="*/ 2858 h 21469"/>
              <a:gd name="connsiteX4" fmla="*/ 0 w 21600"/>
              <a:gd name="connsiteY4" fmla="*/ 21469 h 21469"/>
              <a:gd name="connsiteX0" fmla="*/ 0 w 21341"/>
              <a:gd name="connsiteY0" fmla="*/ 21469 h 21469"/>
              <a:gd name="connsiteX1" fmla="*/ 21341 w 21341"/>
              <a:gd name="connsiteY1" fmla="*/ 18676 h 21469"/>
              <a:gd name="connsiteX2" fmla="*/ 21254 w 21341"/>
              <a:gd name="connsiteY2" fmla="*/ 0 h 21469"/>
              <a:gd name="connsiteX3" fmla="*/ 0 w 21341"/>
              <a:gd name="connsiteY3" fmla="*/ 2858 h 21469"/>
              <a:gd name="connsiteX4" fmla="*/ 0 w 21341"/>
              <a:gd name="connsiteY4" fmla="*/ 21469 h 21469"/>
              <a:gd name="connsiteX0" fmla="*/ 0 w 21341"/>
              <a:gd name="connsiteY0" fmla="*/ 21469 h 21469"/>
              <a:gd name="connsiteX1" fmla="*/ 21341 w 21341"/>
              <a:gd name="connsiteY1" fmla="*/ 18611 h 21469"/>
              <a:gd name="connsiteX2" fmla="*/ 21254 w 21341"/>
              <a:gd name="connsiteY2" fmla="*/ 0 h 21469"/>
              <a:gd name="connsiteX3" fmla="*/ 0 w 21341"/>
              <a:gd name="connsiteY3" fmla="*/ 2858 h 21469"/>
              <a:gd name="connsiteX4" fmla="*/ 0 w 21341"/>
              <a:gd name="connsiteY4" fmla="*/ 21469 h 21469"/>
              <a:gd name="connsiteX0" fmla="*/ 216 w 21341"/>
              <a:gd name="connsiteY0" fmla="*/ 21534 h 21534"/>
              <a:gd name="connsiteX1" fmla="*/ 21341 w 21341"/>
              <a:gd name="connsiteY1" fmla="*/ 18611 h 21534"/>
              <a:gd name="connsiteX2" fmla="*/ 21254 w 21341"/>
              <a:gd name="connsiteY2" fmla="*/ 0 h 21534"/>
              <a:gd name="connsiteX3" fmla="*/ 0 w 21341"/>
              <a:gd name="connsiteY3" fmla="*/ 2858 h 21534"/>
              <a:gd name="connsiteX4" fmla="*/ 216 w 21341"/>
              <a:gd name="connsiteY4" fmla="*/ 21534 h 21534"/>
              <a:gd name="connsiteX0" fmla="*/ 130 w 21255"/>
              <a:gd name="connsiteY0" fmla="*/ 21534 h 21534"/>
              <a:gd name="connsiteX1" fmla="*/ 21255 w 21255"/>
              <a:gd name="connsiteY1" fmla="*/ 18611 h 21534"/>
              <a:gd name="connsiteX2" fmla="*/ 21168 w 21255"/>
              <a:gd name="connsiteY2" fmla="*/ 0 h 21534"/>
              <a:gd name="connsiteX3" fmla="*/ 0 w 21255"/>
              <a:gd name="connsiteY3" fmla="*/ 2858 h 21534"/>
              <a:gd name="connsiteX4" fmla="*/ 130 w 21255"/>
              <a:gd name="connsiteY4" fmla="*/ 21534 h 21534"/>
              <a:gd name="connsiteX0" fmla="*/ 130 w 21255"/>
              <a:gd name="connsiteY0" fmla="*/ 21534 h 21534"/>
              <a:gd name="connsiteX1" fmla="*/ 21255 w 21255"/>
              <a:gd name="connsiteY1" fmla="*/ 18611 h 21534"/>
              <a:gd name="connsiteX2" fmla="*/ 21168 w 21255"/>
              <a:gd name="connsiteY2" fmla="*/ 0 h 21534"/>
              <a:gd name="connsiteX3" fmla="*/ 0 w 21255"/>
              <a:gd name="connsiteY3" fmla="*/ 2858 h 21534"/>
              <a:gd name="connsiteX4" fmla="*/ 130 w 21255"/>
              <a:gd name="connsiteY4" fmla="*/ 21534 h 21534"/>
              <a:gd name="connsiteX0" fmla="*/ 173 w 21298"/>
              <a:gd name="connsiteY0" fmla="*/ 21534 h 21534"/>
              <a:gd name="connsiteX1" fmla="*/ 21298 w 21298"/>
              <a:gd name="connsiteY1" fmla="*/ 18611 h 21534"/>
              <a:gd name="connsiteX2" fmla="*/ 21211 w 21298"/>
              <a:gd name="connsiteY2" fmla="*/ 0 h 21534"/>
              <a:gd name="connsiteX3" fmla="*/ 0 w 21298"/>
              <a:gd name="connsiteY3" fmla="*/ 2825 h 21534"/>
              <a:gd name="connsiteX4" fmla="*/ 173 w 21298"/>
              <a:gd name="connsiteY4" fmla="*/ 21534 h 21534"/>
              <a:gd name="connsiteX0" fmla="*/ 43 w 21298"/>
              <a:gd name="connsiteY0" fmla="*/ 21534 h 21534"/>
              <a:gd name="connsiteX1" fmla="*/ 21298 w 21298"/>
              <a:gd name="connsiteY1" fmla="*/ 18611 h 21534"/>
              <a:gd name="connsiteX2" fmla="*/ 21211 w 21298"/>
              <a:gd name="connsiteY2" fmla="*/ 0 h 21534"/>
              <a:gd name="connsiteX3" fmla="*/ 0 w 21298"/>
              <a:gd name="connsiteY3" fmla="*/ 2825 h 21534"/>
              <a:gd name="connsiteX4" fmla="*/ 43 w 21298"/>
              <a:gd name="connsiteY4" fmla="*/ 21534 h 21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98" h="21534" extrusionOk="0">
                <a:moveTo>
                  <a:pt x="43" y="21534"/>
                </a:moveTo>
                <a:lnTo>
                  <a:pt x="21298" y="18611"/>
                </a:lnTo>
                <a:cubicBezTo>
                  <a:pt x="21183" y="12451"/>
                  <a:pt x="21326" y="6160"/>
                  <a:pt x="21211" y="0"/>
                </a:cubicBezTo>
                <a:lnTo>
                  <a:pt x="0" y="2825"/>
                </a:lnTo>
                <a:cubicBezTo>
                  <a:pt x="43" y="9050"/>
                  <a:pt x="0" y="15309"/>
                  <a:pt x="43" y="21534"/>
                </a:cubicBezTo>
                <a:close/>
              </a:path>
            </a:pathLst>
          </a:custGeom>
          <a:solidFill>
            <a:srgbClr val="6BB4DA">
              <a:alpha val="48600"/>
            </a:srgbClr>
          </a:solidFill>
          <a:ln>
            <a:noFill/>
          </a:ln>
        </p:spPr>
        <p:txBody>
          <a:bodyPr spcFirstLastPara="1" wrap="square" lIns="60933" tIns="60933" rIns="60933" bIns="60933"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800"/>
              <a:buFontTx/>
              <a:buNone/>
              <a:tabLst/>
              <a:defRPr/>
            </a:pPr>
            <a:endParaRPr kumimoji="0" lang="en-GB" sz="2400" b="0" i="0" u="none" strike="noStrike" kern="0" cap="none" spc="0" normalizeH="0" baseline="0" noProof="0">
              <a:ln>
                <a:noFill/>
              </a:ln>
              <a:solidFill>
                <a:srgbClr val="000000"/>
              </a:solidFill>
              <a:effectLst/>
              <a:uLnTx/>
              <a:uFillTx/>
              <a:latin typeface="Poppins" panose="00000500000000000000" pitchFamily="2" charset="0"/>
              <a:ea typeface="Calibri"/>
              <a:cs typeface="Poppins" panose="00000500000000000000" pitchFamily="2" charset="0"/>
              <a:sym typeface="Calibri"/>
            </a:endParaRPr>
          </a:p>
        </p:txBody>
      </p:sp>
      <p:sp>
        <p:nvSpPr>
          <p:cNvPr id="36" name="Slide Number Placeholder 2">
            <a:extLst>
              <a:ext uri="{FF2B5EF4-FFF2-40B4-BE49-F238E27FC236}">
                <a16:creationId xmlns:a16="http://schemas.microsoft.com/office/drawing/2014/main" id="{F4465E14-C244-2940-9F37-5B7AD25F75E9}"/>
              </a:ext>
            </a:extLst>
          </p:cNvPr>
          <p:cNvSpPr>
            <a:spLocks noGrp="1"/>
          </p:cNvSpPr>
          <p:nvPr>
            <p:ph type="sldNum" idx="4"/>
          </p:nvPr>
        </p:nvSpPr>
        <p:spPr>
          <a:xfrm>
            <a:off x="11355439" y="6146868"/>
            <a:ext cx="731600" cy="524800"/>
          </a:xfrm>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GB"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a:t>
            </a:fld>
            <a:endParaRPr kumimoji="0" lang="en-GB"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37" name="Google Shape;90;p1">
            <a:extLst>
              <a:ext uri="{FF2B5EF4-FFF2-40B4-BE49-F238E27FC236}">
                <a16:creationId xmlns:a16="http://schemas.microsoft.com/office/drawing/2014/main" id="{B9267E61-BB39-9CA2-7F69-E0AC0F92AE59}"/>
              </a:ext>
            </a:extLst>
          </p:cNvPr>
          <p:cNvSpPr txBox="1"/>
          <p:nvPr/>
        </p:nvSpPr>
        <p:spPr>
          <a:xfrm>
            <a:off x="117465" y="2851949"/>
            <a:ext cx="5156175" cy="1820979"/>
          </a:xfrm>
          <a:prstGeom prst="rect">
            <a:avLst/>
          </a:prstGeom>
          <a:no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15000"/>
              </a:lnSpc>
              <a:spcBef>
                <a:spcPts val="0"/>
              </a:spcBef>
              <a:spcAft>
                <a:spcPts val="800"/>
              </a:spcAft>
              <a:buClr>
                <a:srgbClr val="000000"/>
              </a:buClr>
              <a:buSzPts val="1400"/>
              <a:buFontTx/>
              <a:buNone/>
              <a:tabLst/>
              <a:defRPr/>
            </a:pPr>
            <a:r>
              <a:rPr kumimoji="0" lang="en-GB" sz="4400" i="0" u="none" strike="noStrike" kern="0" cap="none" spc="0" normalizeH="0" baseline="0" noProof="0" dirty="0">
                <a:ln>
                  <a:noFill/>
                </a:ln>
                <a:solidFill>
                  <a:srgbClr val="145275"/>
                </a:solidFill>
                <a:effectLst/>
                <a:uLnTx/>
                <a:uFillTx/>
                <a:latin typeface="Poppins" panose="00000500000000000000" pitchFamily="2" charset="0"/>
                <a:ea typeface="Oswald"/>
                <a:cs typeface="Poppins" panose="00000500000000000000" pitchFamily="2" charset="0"/>
                <a:sym typeface="Oswald"/>
              </a:rPr>
              <a:t>Sprint Planning</a:t>
            </a:r>
          </a:p>
          <a:p>
            <a:pPr algn="ctr" defTabSz="1219170">
              <a:lnSpc>
                <a:spcPct val="115000"/>
              </a:lnSpc>
              <a:spcAft>
                <a:spcPts val="800"/>
              </a:spcAft>
              <a:buClr>
                <a:srgbClr val="000000"/>
              </a:buClr>
              <a:buSzPts val="1400"/>
              <a:defRPr/>
            </a:pPr>
            <a:r>
              <a:rPr kumimoji="0" lang="en-GB" sz="4400" i="0" u="none" strike="noStrike" kern="0" cap="none" spc="0" normalizeH="0" baseline="0" noProof="0" dirty="0">
                <a:ln>
                  <a:noFill/>
                </a:ln>
                <a:solidFill>
                  <a:srgbClr val="145275"/>
                </a:solidFill>
                <a:effectLst/>
                <a:uLnTx/>
                <a:uFillTx/>
                <a:latin typeface="Poppins" panose="00000500000000000000" pitchFamily="2" charset="0"/>
                <a:ea typeface="Oswald"/>
                <a:cs typeface="Poppins" panose="00000500000000000000" pitchFamily="2" charset="0"/>
                <a:sym typeface="Oswald"/>
              </a:rPr>
              <a:t>(P4) </a:t>
            </a:r>
          </a:p>
        </p:txBody>
      </p:sp>
      <p:sp>
        <p:nvSpPr>
          <p:cNvPr id="82" name="Google Shape;128;p12">
            <a:extLst>
              <a:ext uri="{FF2B5EF4-FFF2-40B4-BE49-F238E27FC236}">
                <a16:creationId xmlns:a16="http://schemas.microsoft.com/office/drawing/2014/main" id="{D59BA0FB-A5D5-5F2B-977E-C9B39BD22B96}"/>
              </a:ext>
            </a:extLst>
          </p:cNvPr>
          <p:cNvSpPr/>
          <p:nvPr/>
        </p:nvSpPr>
        <p:spPr>
          <a:xfrm>
            <a:off x="4866944" y="-2422"/>
            <a:ext cx="730313" cy="2297191"/>
          </a:xfrm>
          <a:custGeom>
            <a:avLst/>
            <a:gdLst>
              <a:gd name="connsiteX0" fmla="*/ 0 w 21600"/>
              <a:gd name="connsiteY0" fmla="*/ 0 h 21600"/>
              <a:gd name="connsiteX1" fmla="*/ 0 w 21600"/>
              <a:gd name="connsiteY1" fmla="*/ 21600 h 21600"/>
              <a:gd name="connsiteX2" fmla="*/ 20916 w 21600"/>
              <a:gd name="connsiteY2" fmla="*/ 20417 h 21600"/>
              <a:gd name="connsiteX3" fmla="*/ 21600 w 21600"/>
              <a:gd name="connsiteY3" fmla="*/ 0 h 21600"/>
              <a:gd name="connsiteX4" fmla="*/ 0 w 21600"/>
              <a:gd name="connsiteY4" fmla="*/ 0 h 21600"/>
              <a:gd name="connsiteX0" fmla="*/ 0 w 21600"/>
              <a:gd name="connsiteY0" fmla="*/ 0 h 21781"/>
              <a:gd name="connsiteX1" fmla="*/ 205 w 21600"/>
              <a:gd name="connsiteY1" fmla="*/ 21781 h 21781"/>
              <a:gd name="connsiteX2" fmla="*/ 20916 w 21600"/>
              <a:gd name="connsiteY2" fmla="*/ 20417 h 21781"/>
              <a:gd name="connsiteX3" fmla="*/ 21600 w 21600"/>
              <a:gd name="connsiteY3" fmla="*/ 0 h 21781"/>
              <a:gd name="connsiteX4" fmla="*/ 0 w 21600"/>
              <a:gd name="connsiteY4" fmla="*/ 0 h 21781"/>
              <a:gd name="connsiteX0" fmla="*/ 0 w 21600"/>
              <a:gd name="connsiteY0" fmla="*/ 0 h 21781"/>
              <a:gd name="connsiteX1" fmla="*/ 273 w 21600"/>
              <a:gd name="connsiteY1" fmla="*/ 21781 h 21781"/>
              <a:gd name="connsiteX2" fmla="*/ 20916 w 21600"/>
              <a:gd name="connsiteY2" fmla="*/ 20417 h 21781"/>
              <a:gd name="connsiteX3" fmla="*/ 21600 w 21600"/>
              <a:gd name="connsiteY3" fmla="*/ 0 h 21781"/>
              <a:gd name="connsiteX4" fmla="*/ 0 w 21600"/>
              <a:gd name="connsiteY4" fmla="*/ 0 h 21781"/>
              <a:gd name="connsiteX0" fmla="*/ 83 w 21683"/>
              <a:gd name="connsiteY0" fmla="*/ 0 h 21781"/>
              <a:gd name="connsiteX1" fmla="*/ 14 w 21683"/>
              <a:gd name="connsiteY1" fmla="*/ 21781 h 21781"/>
              <a:gd name="connsiteX2" fmla="*/ 20999 w 21683"/>
              <a:gd name="connsiteY2" fmla="*/ 20417 h 21781"/>
              <a:gd name="connsiteX3" fmla="*/ 21683 w 21683"/>
              <a:gd name="connsiteY3" fmla="*/ 0 h 21781"/>
              <a:gd name="connsiteX4" fmla="*/ 83 w 21683"/>
              <a:gd name="connsiteY4" fmla="*/ 0 h 21781"/>
              <a:gd name="connsiteX0" fmla="*/ 0 w 21600"/>
              <a:gd name="connsiteY0" fmla="*/ 0 h 21804"/>
              <a:gd name="connsiteX1" fmla="*/ 68 w 21600"/>
              <a:gd name="connsiteY1" fmla="*/ 21804 h 21804"/>
              <a:gd name="connsiteX2" fmla="*/ 20916 w 21600"/>
              <a:gd name="connsiteY2" fmla="*/ 20417 h 21804"/>
              <a:gd name="connsiteX3" fmla="*/ 21600 w 21600"/>
              <a:gd name="connsiteY3" fmla="*/ 0 h 21804"/>
              <a:gd name="connsiteX4" fmla="*/ 0 w 21600"/>
              <a:gd name="connsiteY4" fmla="*/ 0 h 21804"/>
              <a:gd name="connsiteX0" fmla="*/ 0 w 20984"/>
              <a:gd name="connsiteY0" fmla="*/ 23 h 21827"/>
              <a:gd name="connsiteX1" fmla="*/ 68 w 20984"/>
              <a:gd name="connsiteY1" fmla="*/ 21827 h 21827"/>
              <a:gd name="connsiteX2" fmla="*/ 20916 w 20984"/>
              <a:gd name="connsiteY2" fmla="*/ 20440 h 21827"/>
              <a:gd name="connsiteX3" fmla="*/ 20984 w 20984"/>
              <a:gd name="connsiteY3" fmla="*/ 0 h 21827"/>
              <a:gd name="connsiteX4" fmla="*/ 0 w 20984"/>
              <a:gd name="connsiteY4" fmla="*/ 23 h 21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84" h="21827" extrusionOk="0">
                <a:moveTo>
                  <a:pt x="0" y="23"/>
                </a:moveTo>
                <a:cubicBezTo>
                  <a:pt x="68" y="7283"/>
                  <a:pt x="0" y="14567"/>
                  <a:pt x="68" y="21827"/>
                </a:cubicBezTo>
                <a:lnTo>
                  <a:pt x="20916" y="20440"/>
                </a:lnTo>
                <a:cubicBezTo>
                  <a:pt x="20939" y="13627"/>
                  <a:pt x="20961" y="6813"/>
                  <a:pt x="20984" y="0"/>
                </a:cubicBezTo>
                <a:lnTo>
                  <a:pt x="0" y="23"/>
                </a:lnTo>
                <a:close/>
              </a:path>
            </a:pathLst>
          </a:custGeom>
          <a:solidFill>
            <a:srgbClr val="28ACE2">
              <a:alpha val="43580"/>
            </a:srgbClr>
          </a:solidFill>
          <a:ln>
            <a:noFill/>
          </a:ln>
        </p:spPr>
        <p:txBody>
          <a:bodyPr spcFirstLastPara="1" wrap="square" lIns="60933" tIns="60933" rIns="60933" bIns="60933"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800"/>
              <a:buFontTx/>
              <a:buNone/>
              <a:tabLst/>
              <a:defRPr/>
            </a:pPr>
            <a:endParaRPr kumimoji="0" lang="en-GB" sz="2400" b="0" i="0" u="none" strike="noStrike" kern="0" cap="none" spc="0" normalizeH="0" baseline="0" noProof="0">
              <a:ln>
                <a:noFill/>
              </a:ln>
              <a:solidFill>
                <a:srgbClr val="000000"/>
              </a:solidFill>
              <a:effectLst/>
              <a:uLnTx/>
              <a:uFillTx/>
              <a:latin typeface="Poppins" panose="00000500000000000000" pitchFamily="2" charset="0"/>
              <a:ea typeface="Calibri"/>
              <a:cs typeface="Poppins" panose="00000500000000000000" pitchFamily="2" charset="0"/>
              <a:sym typeface="Calibri"/>
            </a:endParaRPr>
          </a:p>
        </p:txBody>
      </p:sp>
      <p:sp>
        <p:nvSpPr>
          <p:cNvPr id="4" name="Title 3">
            <a:extLst>
              <a:ext uri="{FF2B5EF4-FFF2-40B4-BE49-F238E27FC236}">
                <a16:creationId xmlns:a16="http://schemas.microsoft.com/office/drawing/2014/main" id="{1F47E732-9887-4617-A9C3-D75A2BDB8E85}"/>
              </a:ext>
            </a:extLst>
          </p:cNvPr>
          <p:cNvSpPr>
            <a:spLocks noGrp="1"/>
          </p:cNvSpPr>
          <p:nvPr>
            <p:ph type="ctrTitle"/>
          </p:nvPr>
        </p:nvSpPr>
        <p:spPr>
          <a:xfrm>
            <a:off x="243440" y="336180"/>
            <a:ext cx="5901600" cy="2854839"/>
          </a:xfrm>
        </p:spPr>
        <p:txBody>
          <a:bodyPr vert="horz" tIns="0" bIns="0" anchor="t"/>
          <a:lstStyle/>
          <a:p>
            <a:pPr algn="l"/>
            <a:r>
              <a:rPr lang="en-GB" sz="5000" dirty="0">
                <a:solidFill>
                  <a:srgbClr val="145275"/>
                </a:solidFill>
                <a:latin typeface="Poppins" panose="00000500000000000000" pitchFamily="2" charset="0"/>
                <a:cs typeface="Poppins" panose="00000500000000000000" pitchFamily="2" charset="0"/>
              </a:rPr>
              <a:t>Career Accelerator</a:t>
            </a:r>
          </a:p>
        </p:txBody>
      </p:sp>
      <p:pic>
        <p:nvPicPr>
          <p:cNvPr id="20" name="Picture 19">
            <a:extLst>
              <a:ext uri="{FF2B5EF4-FFF2-40B4-BE49-F238E27FC236}">
                <a16:creationId xmlns:a16="http://schemas.microsoft.com/office/drawing/2014/main" id="{4EF350E7-AD50-2B3E-813D-DB8716540DF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6892" y="5584628"/>
            <a:ext cx="1930285" cy="791417"/>
          </a:xfrm>
          <a:prstGeom prst="rect">
            <a:avLst/>
          </a:prstGeom>
        </p:spPr>
      </p:pic>
      <p:pic>
        <p:nvPicPr>
          <p:cNvPr id="21" name="Picture 20">
            <a:extLst>
              <a:ext uri="{FF2B5EF4-FFF2-40B4-BE49-F238E27FC236}">
                <a16:creationId xmlns:a16="http://schemas.microsoft.com/office/drawing/2014/main" id="{1F311C0F-9B3C-40CF-7FC8-098FD20AC60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2349500" y="5980336"/>
            <a:ext cx="3368320" cy="367258"/>
          </a:xfrm>
          <a:prstGeom prst="rect">
            <a:avLst/>
          </a:prstGeom>
        </p:spPr>
      </p:pic>
    </p:spTree>
    <p:extLst>
      <p:ext uri="{BB962C8B-B14F-4D97-AF65-F5344CB8AC3E}">
        <p14:creationId xmlns:p14="http://schemas.microsoft.com/office/powerpoint/2010/main" val="555666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nl-NL"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0</a:t>
            </a:fld>
            <a:endParaRPr kumimoji="0" lang="nl-NL"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381920" y="128831"/>
            <a:ext cx="11705119" cy="610880"/>
          </a:xfrm>
        </p:spPr>
        <p:txBody>
          <a:bodyPr vert="horz" tIns="0" bIns="0" anchor="t"/>
          <a:lstStyle/>
          <a:p>
            <a:pPr algn="ctr"/>
            <a:r>
              <a:rPr lang="en-US" sz="4400" dirty="0">
                <a:solidFill>
                  <a:srgbClr val="145275"/>
                </a:solidFill>
                <a:latin typeface="+mn-lt"/>
                <a:cs typeface="Poppins" panose="00000500000000000000" pitchFamily="2" charset="0"/>
              </a:rPr>
              <a:t>Sprint Backlog</a:t>
            </a:r>
          </a:p>
        </p:txBody>
      </p:sp>
      <p:pic>
        <p:nvPicPr>
          <p:cNvPr id="17" name="Picture 16">
            <a:extLst>
              <a:ext uri="{FF2B5EF4-FFF2-40B4-BE49-F238E27FC236}">
                <a16:creationId xmlns:a16="http://schemas.microsoft.com/office/drawing/2014/main" id="{3EE3682B-36DD-8122-AD41-A50E944C57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18" name="Picture 17">
            <a:extLst>
              <a:ext uri="{FF2B5EF4-FFF2-40B4-BE49-F238E27FC236}">
                <a16:creationId xmlns:a16="http://schemas.microsoft.com/office/drawing/2014/main" id="{56445B68-8578-CEF1-BEC4-5F4CFBBB43EB}"/>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4" name="Content Placeholder 2">
            <a:extLst>
              <a:ext uri="{FF2B5EF4-FFF2-40B4-BE49-F238E27FC236}">
                <a16:creationId xmlns:a16="http://schemas.microsoft.com/office/drawing/2014/main" id="{4F6C6FDA-A230-2EDD-8BC8-9249877DE41B}"/>
              </a:ext>
            </a:extLst>
          </p:cNvPr>
          <p:cNvSpPr txBox="1">
            <a:spLocks/>
          </p:cNvSpPr>
          <p:nvPr/>
        </p:nvSpPr>
        <p:spPr>
          <a:xfrm>
            <a:off x="1064730" y="836621"/>
            <a:ext cx="9921152" cy="5358750"/>
          </a:xfrm>
          <a:prstGeom prst="rect">
            <a:avLst/>
          </a:prstGeom>
        </p:spPr>
        <p:txBody>
          <a:bodyPr vert="horz" lIns="0" tIns="0" rIns="0" bIns="0" rtlCol="0" anchor="t">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342900" lvl="0" indent="-342900">
              <a:spcBef>
                <a:spcPts val="1200"/>
              </a:spcBef>
              <a:spcAft>
                <a:spcPts val="600"/>
              </a:spcAft>
              <a:buFont typeface="+mj-lt"/>
              <a:buAutoNum type="arabicPeriod" startAt="6"/>
            </a:pPr>
            <a:r>
              <a:rPr lang="en-US" sz="2200" dirty="0">
                <a:solidFill>
                  <a:schemeClr val="accent1">
                    <a:lumMod val="75000"/>
                  </a:schemeClr>
                </a:solidFill>
                <a:effectLst/>
                <a:latin typeface="Open Sans" panose="020B0606030504020204" pitchFamily="34" charset="0"/>
                <a:ea typeface="Times New Roman" panose="02020603050405020304" pitchFamily="18" charset="0"/>
              </a:rPr>
              <a:t>Your app should have the following pages </a:t>
            </a:r>
            <a:r>
              <a:rPr lang="en-GH" sz="2200" dirty="0">
                <a:solidFill>
                  <a:schemeClr val="accent1">
                    <a:lumMod val="75000"/>
                  </a:schemeClr>
                </a:solidFill>
                <a:effectLst/>
                <a:latin typeface="Open Sans" panose="020B0606030504020204" pitchFamily="34" charset="0"/>
                <a:ea typeface="Times New Roman" panose="02020603050405020304" pitchFamily="18" charset="0"/>
              </a:rPr>
              <a:t>app</a:t>
            </a:r>
            <a:r>
              <a:rPr lang="en-US" sz="2200" dirty="0">
                <a:solidFill>
                  <a:schemeClr val="accent1">
                    <a:lumMod val="75000"/>
                  </a:schemeClr>
                </a:solidFill>
                <a:effectLst/>
                <a:latin typeface="Open Sans" panose="020B0606030504020204" pitchFamily="34" charset="0"/>
                <a:ea typeface="Times New Roman" panose="02020603050405020304" pitchFamily="18" charset="0"/>
              </a:rPr>
              <a:t>.</a:t>
            </a:r>
            <a:endParaRPr lang="en-GH" sz="2200" dirty="0">
              <a:solidFill>
                <a:schemeClr val="accent1">
                  <a:lumMod val="75000"/>
                </a:schemeClr>
              </a:solidFill>
              <a:effectLst/>
              <a:latin typeface="Times New Roman" panose="02020603050405020304" pitchFamily="18" charset="0"/>
              <a:ea typeface="Times New Roman" panose="02020603050405020304" pitchFamily="18" charset="0"/>
            </a:endParaRPr>
          </a:p>
          <a:p>
            <a:pPr marL="742950" lvl="1" indent="-285750">
              <a:spcBef>
                <a:spcPts val="1200"/>
              </a:spcBef>
              <a:spcAft>
                <a:spcPts val="600"/>
              </a:spcAft>
              <a:buFont typeface="+mj-lt"/>
              <a:buAutoNum type="arabicPeriod"/>
            </a:pPr>
            <a:r>
              <a:rPr lang="en-US" sz="2200" b="1" dirty="0">
                <a:solidFill>
                  <a:schemeClr val="accent1">
                    <a:lumMod val="75000"/>
                  </a:schemeClr>
                </a:solidFill>
                <a:effectLst/>
                <a:latin typeface="Open Sans" panose="020B0606030504020204" pitchFamily="34" charset="0"/>
                <a:ea typeface="Times New Roman" panose="02020603050405020304" pitchFamily="18" charset="0"/>
              </a:rPr>
              <a:t>Home Page </a:t>
            </a:r>
            <a:r>
              <a:rPr lang="en-US" sz="2200" dirty="0">
                <a:solidFill>
                  <a:schemeClr val="accent1">
                    <a:lumMod val="75000"/>
                  </a:schemeClr>
                </a:solidFill>
                <a:effectLst/>
                <a:latin typeface="Open Sans" panose="020B0606030504020204" pitchFamily="34" charset="0"/>
                <a:ea typeface="Times New Roman" panose="02020603050405020304" pitchFamily="18" charset="0"/>
              </a:rPr>
              <a:t>– This should have information about the application including a link to the source code on GitHub and links to all your social handles like GitHub, LinkedIn, Medium, etc.</a:t>
            </a:r>
            <a:endParaRPr lang="en-GH" sz="2200" dirty="0">
              <a:solidFill>
                <a:schemeClr val="accent1">
                  <a:lumMod val="75000"/>
                </a:schemeClr>
              </a:solidFill>
              <a:effectLst/>
              <a:latin typeface="Times New Roman" panose="02020603050405020304" pitchFamily="18" charset="0"/>
              <a:ea typeface="Times New Roman" panose="02020603050405020304" pitchFamily="18" charset="0"/>
            </a:endParaRPr>
          </a:p>
          <a:p>
            <a:pPr marL="742950" lvl="1" indent="-285750">
              <a:spcBef>
                <a:spcPts val="1200"/>
              </a:spcBef>
              <a:spcAft>
                <a:spcPts val="600"/>
              </a:spcAft>
              <a:buFont typeface="+mj-lt"/>
              <a:buAutoNum type="arabicPeriod"/>
            </a:pPr>
            <a:r>
              <a:rPr lang="en-US" sz="2200" b="1" dirty="0">
                <a:solidFill>
                  <a:schemeClr val="accent1">
                    <a:lumMod val="75000"/>
                  </a:schemeClr>
                </a:solidFill>
                <a:effectLst/>
                <a:latin typeface="Open Sans" panose="020B0606030504020204" pitchFamily="34" charset="0"/>
                <a:ea typeface="Times New Roman" panose="02020603050405020304" pitchFamily="18" charset="0"/>
              </a:rPr>
              <a:t>Data Page</a:t>
            </a:r>
            <a:r>
              <a:rPr lang="en-US" sz="2200" dirty="0">
                <a:solidFill>
                  <a:schemeClr val="accent1">
                    <a:lumMod val="75000"/>
                  </a:schemeClr>
                </a:solidFill>
                <a:effectLst/>
                <a:latin typeface="Open Sans" panose="020B0606030504020204" pitchFamily="34" charset="0"/>
                <a:ea typeface="Times New Roman" panose="02020603050405020304" pitchFamily="18" charset="0"/>
              </a:rPr>
              <a:t> – This page should display the data found in the database shared for this sprint. Connect to a database and make API calls.</a:t>
            </a:r>
            <a:endParaRPr lang="en-GH" sz="2200" dirty="0">
              <a:solidFill>
                <a:schemeClr val="accent1">
                  <a:lumMod val="75000"/>
                </a:schemeClr>
              </a:solidFill>
              <a:effectLst/>
              <a:latin typeface="Times New Roman" panose="02020603050405020304" pitchFamily="18" charset="0"/>
              <a:ea typeface="Times New Roman" panose="02020603050405020304" pitchFamily="18" charset="0"/>
            </a:endParaRPr>
          </a:p>
          <a:p>
            <a:pPr marL="742950" lvl="1" indent="-285750">
              <a:spcBef>
                <a:spcPts val="1200"/>
              </a:spcBef>
              <a:spcAft>
                <a:spcPts val="600"/>
              </a:spcAft>
              <a:buFont typeface="+mj-lt"/>
              <a:buAutoNum type="arabicPeriod"/>
            </a:pPr>
            <a:r>
              <a:rPr lang="en-US" sz="2200" b="1" dirty="0">
                <a:solidFill>
                  <a:schemeClr val="accent1">
                    <a:lumMod val="75000"/>
                  </a:schemeClr>
                </a:solidFill>
                <a:effectLst/>
                <a:latin typeface="Open Sans" panose="020B0606030504020204" pitchFamily="34" charset="0"/>
                <a:ea typeface="Times New Roman" panose="02020603050405020304" pitchFamily="18" charset="0"/>
              </a:rPr>
              <a:t>Dashboard Page </a:t>
            </a:r>
            <a:r>
              <a:rPr lang="en-US" sz="2200" dirty="0">
                <a:solidFill>
                  <a:schemeClr val="accent1">
                    <a:lumMod val="75000"/>
                  </a:schemeClr>
                </a:solidFill>
                <a:effectLst/>
                <a:latin typeface="Open Sans" panose="020B0606030504020204" pitchFamily="34" charset="0"/>
                <a:ea typeface="Times New Roman" panose="02020603050405020304" pitchFamily="18" charset="0"/>
              </a:rPr>
              <a:t>– Create an interactive dashboard to visualize the data from the database and derive meaningful insights. </a:t>
            </a:r>
            <a:endParaRPr lang="en-GH" sz="2200" dirty="0">
              <a:solidFill>
                <a:schemeClr val="accent1">
                  <a:lumMod val="75000"/>
                </a:schemeClr>
              </a:solidFill>
              <a:effectLst/>
              <a:latin typeface="Times New Roman" panose="02020603050405020304" pitchFamily="18" charset="0"/>
              <a:ea typeface="Times New Roman" panose="02020603050405020304" pitchFamily="18" charset="0"/>
            </a:endParaRPr>
          </a:p>
          <a:p>
            <a:pPr marL="742950" lvl="1" indent="-285750">
              <a:spcBef>
                <a:spcPts val="1200"/>
              </a:spcBef>
              <a:spcAft>
                <a:spcPts val="600"/>
              </a:spcAft>
              <a:buFont typeface="+mj-lt"/>
              <a:buAutoNum type="arabicPeriod"/>
            </a:pPr>
            <a:r>
              <a:rPr lang="en-US" sz="2200" b="1" dirty="0">
                <a:solidFill>
                  <a:schemeClr val="accent1">
                    <a:lumMod val="75000"/>
                  </a:schemeClr>
                </a:solidFill>
                <a:effectLst/>
                <a:latin typeface="Open Sans" panose="020B0606030504020204" pitchFamily="34" charset="0"/>
                <a:ea typeface="Times New Roman" panose="02020603050405020304" pitchFamily="18" charset="0"/>
              </a:rPr>
              <a:t>Predict Page </a:t>
            </a:r>
            <a:r>
              <a:rPr lang="en-US" sz="2200" dirty="0">
                <a:solidFill>
                  <a:schemeClr val="accent1">
                    <a:lumMod val="75000"/>
                  </a:schemeClr>
                </a:solidFill>
                <a:effectLst/>
                <a:latin typeface="Open Sans" panose="020B0606030504020204" pitchFamily="34" charset="0"/>
                <a:ea typeface="Times New Roman" panose="02020603050405020304" pitchFamily="18" charset="0"/>
              </a:rPr>
              <a:t>– On this page, the user should interact with the Machine Learning model to make predictions. Predictions should also include probabilities of accuracy.</a:t>
            </a:r>
            <a:endParaRPr lang="en-GH" sz="2200" dirty="0">
              <a:solidFill>
                <a:schemeClr val="accent1">
                  <a:lumMod val="75000"/>
                </a:schemeClr>
              </a:solidFill>
              <a:effectLst/>
              <a:latin typeface="Times New Roman" panose="02020603050405020304" pitchFamily="18" charset="0"/>
              <a:ea typeface="Times New Roman" panose="02020603050405020304" pitchFamily="18" charset="0"/>
            </a:endParaRPr>
          </a:p>
        </p:txBody>
      </p:sp>
      <p:grpSp>
        <p:nvGrpSpPr>
          <p:cNvPr id="402" name="Group 401">
            <a:extLst>
              <a:ext uri="{FF2B5EF4-FFF2-40B4-BE49-F238E27FC236}">
                <a16:creationId xmlns:a16="http://schemas.microsoft.com/office/drawing/2014/main" id="{6F04B63D-62D0-5A0C-81C6-1E47E423DB94}"/>
              </a:ext>
            </a:extLst>
          </p:cNvPr>
          <p:cNvGrpSpPr/>
          <p:nvPr/>
        </p:nvGrpSpPr>
        <p:grpSpPr>
          <a:xfrm>
            <a:off x="10133029" y="3282450"/>
            <a:ext cx="1931723" cy="2721556"/>
            <a:chOff x="4953134" y="1836052"/>
            <a:chExt cx="2443737" cy="3226463"/>
          </a:xfrm>
        </p:grpSpPr>
        <p:sp>
          <p:nvSpPr>
            <p:cNvPr id="403" name="Freeform: Shape 402">
              <a:extLst>
                <a:ext uri="{FF2B5EF4-FFF2-40B4-BE49-F238E27FC236}">
                  <a16:creationId xmlns:a16="http://schemas.microsoft.com/office/drawing/2014/main" id="{79B02943-6DB6-A9C8-B7C2-ADD56C1A2461}"/>
                </a:ext>
              </a:extLst>
            </p:cNvPr>
            <p:cNvSpPr/>
            <p:nvPr/>
          </p:nvSpPr>
          <p:spPr>
            <a:xfrm flipV="1">
              <a:off x="5055882" y="4176439"/>
              <a:ext cx="2332102" cy="886076"/>
            </a:xfrm>
            <a:custGeom>
              <a:avLst/>
              <a:gdLst>
                <a:gd name="connsiteX0" fmla="*/ 1712457 w 2332102"/>
                <a:gd name="connsiteY0" fmla="*/ 886044 h 886076"/>
                <a:gd name="connsiteX1" fmla="*/ 2152586 w 2332102"/>
                <a:gd name="connsiteY1" fmla="*/ 872320 h 886076"/>
                <a:gd name="connsiteX2" fmla="*/ 2221154 w 2332102"/>
                <a:gd name="connsiteY2" fmla="*/ 789096 h 886076"/>
                <a:gd name="connsiteX3" fmla="*/ 2168943 w 2332102"/>
                <a:gd name="connsiteY3" fmla="*/ 456940 h 886076"/>
                <a:gd name="connsiteX4" fmla="*/ 2139469 w 2332102"/>
                <a:gd name="connsiteY4" fmla="*/ 269450 h 886076"/>
                <a:gd name="connsiteX5" fmla="*/ 2180692 w 2332102"/>
                <a:gd name="connsiteY5" fmla="*/ 192622 h 886076"/>
                <a:gd name="connsiteX6" fmla="*/ 2289976 w 2332102"/>
                <a:gd name="connsiteY6" fmla="*/ 143100 h 886076"/>
                <a:gd name="connsiteX7" fmla="*/ 2331704 w 2332102"/>
                <a:gd name="connsiteY7" fmla="*/ 70182 h 886076"/>
                <a:gd name="connsiteX8" fmla="*/ 2324248 w 2332102"/>
                <a:gd name="connsiteY8" fmla="*/ 0 h 886076"/>
                <a:gd name="connsiteX9" fmla="*/ 0 w 2332102"/>
                <a:gd name="connsiteY9" fmla="*/ 0 h 886076"/>
                <a:gd name="connsiteX10" fmla="*/ 73708 w 2332102"/>
                <a:gd name="connsiteY10" fmla="*/ 102957 h 886076"/>
                <a:gd name="connsiteX11" fmla="*/ 128062 w 2332102"/>
                <a:gd name="connsiteY11" fmla="*/ 127913 h 886076"/>
                <a:gd name="connsiteX12" fmla="*/ 182815 w 2332102"/>
                <a:gd name="connsiteY12" fmla="*/ 191498 h 886076"/>
                <a:gd name="connsiteX13" fmla="*/ 237169 w 2332102"/>
                <a:gd name="connsiteY13" fmla="*/ 216454 h 886076"/>
                <a:gd name="connsiteX14" fmla="*/ 523722 w 2332102"/>
                <a:gd name="connsiteY14" fmla="*/ 226284 h 886076"/>
                <a:gd name="connsiteX15" fmla="*/ 586725 w 2332102"/>
                <a:gd name="connsiteY15" fmla="*/ 263698 h 886076"/>
                <a:gd name="connsiteX16" fmla="*/ 658272 w 2332102"/>
                <a:gd name="connsiteY16" fmla="*/ 399715 h 886076"/>
                <a:gd name="connsiteX17" fmla="*/ 721279 w 2332102"/>
                <a:gd name="connsiteY17" fmla="*/ 437174 h 886076"/>
                <a:gd name="connsiteX18" fmla="*/ 914729 w 2332102"/>
                <a:gd name="connsiteY18" fmla="*/ 437174 h 886076"/>
                <a:gd name="connsiteX19" fmla="*/ 980219 w 2332102"/>
                <a:gd name="connsiteY19" fmla="*/ 479668 h 886076"/>
                <a:gd name="connsiteX20" fmla="*/ 1333903 w 2332102"/>
                <a:gd name="connsiteY20" fmla="*/ 795588 h 886076"/>
                <a:gd name="connsiteX21" fmla="*/ 1395199 w 2332102"/>
                <a:gd name="connsiteY21" fmla="*/ 837985 h 886076"/>
                <a:gd name="connsiteX22" fmla="*/ 1620492 w 2332102"/>
                <a:gd name="connsiteY22" fmla="*/ 851173 h 886076"/>
                <a:gd name="connsiteX23" fmla="*/ 1663274 w 2332102"/>
                <a:gd name="connsiteY23" fmla="*/ 868558 h 886076"/>
                <a:gd name="connsiteX24" fmla="*/ 1712457 w 2332102"/>
                <a:gd name="connsiteY24" fmla="*/ 886044 h 886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32102" h="886076">
                  <a:moveTo>
                    <a:pt x="1712457" y="886044"/>
                  </a:moveTo>
                  <a:lnTo>
                    <a:pt x="2152586" y="872320"/>
                  </a:lnTo>
                  <a:cubicBezTo>
                    <a:pt x="2195884" y="870953"/>
                    <a:pt x="2228092" y="831833"/>
                    <a:pt x="2221154" y="789096"/>
                  </a:cubicBezTo>
                  <a:lnTo>
                    <a:pt x="2168943" y="456940"/>
                  </a:lnTo>
                  <a:lnTo>
                    <a:pt x="2139469" y="269450"/>
                  </a:lnTo>
                  <a:cubicBezTo>
                    <a:pt x="2134304" y="237455"/>
                    <a:pt x="2151168" y="205956"/>
                    <a:pt x="2180692" y="192622"/>
                  </a:cubicBezTo>
                  <a:lnTo>
                    <a:pt x="2289976" y="143100"/>
                  </a:lnTo>
                  <a:cubicBezTo>
                    <a:pt x="2318183" y="130354"/>
                    <a:pt x="2334945" y="100951"/>
                    <a:pt x="2331704" y="70182"/>
                  </a:cubicBezTo>
                  <a:lnTo>
                    <a:pt x="2324248" y="0"/>
                  </a:lnTo>
                  <a:lnTo>
                    <a:pt x="0" y="0"/>
                  </a:lnTo>
                  <a:lnTo>
                    <a:pt x="73708" y="102957"/>
                  </a:lnTo>
                  <a:cubicBezTo>
                    <a:pt x="94603" y="102957"/>
                    <a:pt x="114439" y="112087"/>
                    <a:pt x="128062" y="127913"/>
                  </a:cubicBezTo>
                  <a:lnTo>
                    <a:pt x="182815" y="191498"/>
                  </a:lnTo>
                  <a:cubicBezTo>
                    <a:pt x="196438" y="207324"/>
                    <a:pt x="216314" y="216454"/>
                    <a:pt x="237169" y="216454"/>
                  </a:cubicBezTo>
                  <a:lnTo>
                    <a:pt x="523722" y="226284"/>
                  </a:lnTo>
                  <a:cubicBezTo>
                    <a:pt x="549995" y="226284"/>
                    <a:pt x="574126" y="240646"/>
                    <a:pt x="586725" y="263698"/>
                  </a:cubicBezTo>
                  <a:lnTo>
                    <a:pt x="658272" y="399715"/>
                  </a:lnTo>
                  <a:cubicBezTo>
                    <a:pt x="670830" y="422818"/>
                    <a:pt x="695002" y="437174"/>
                    <a:pt x="721279" y="437174"/>
                  </a:cubicBezTo>
                  <a:lnTo>
                    <a:pt x="914729" y="437174"/>
                  </a:lnTo>
                  <a:cubicBezTo>
                    <a:pt x="943007" y="437174"/>
                    <a:pt x="968698" y="453830"/>
                    <a:pt x="980219" y="479668"/>
                  </a:cubicBezTo>
                  <a:lnTo>
                    <a:pt x="1333903" y="795588"/>
                  </a:lnTo>
                  <a:cubicBezTo>
                    <a:pt x="1344796" y="820063"/>
                    <a:pt x="1368435" y="836421"/>
                    <a:pt x="1395199" y="837985"/>
                  </a:cubicBezTo>
                  <a:lnTo>
                    <a:pt x="1620492" y="851173"/>
                  </a:lnTo>
                  <a:cubicBezTo>
                    <a:pt x="1636267" y="852099"/>
                    <a:pt x="1651313" y="858206"/>
                    <a:pt x="1663274" y="868558"/>
                  </a:cubicBezTo>
                  <a:cubicBezTo>
                    <a:pt x="1676901" y="880377"/>
                    <a:pt x="1694438" y="886581"/>
                    <a:pt x="1712457" y="886044"/>
                  </a:cubicBezTo>
                  <a:close/>
                </a:path>
              </a:pathLst>
            </a:custGeom>
            <a:solidFill>
              <a:srgbClr val="FFFFFF">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4" name="Freeform: Shape 403">
              <a:extLst>
                <a:ext uri="{FF2B5EF4-FFF2-40B4-BE49-F238E27FC236}">
                  <a16:creationId xmlns:a16="http://schemas.microsoft.com/office/drawing/2014/main" id="{5C64E0CF-98FD-02A4-D9F3-C36D90BCB663}"/>
                </a:ext>
              </a:extLst>
            </p:cNvPr>
            <p:cNvSpPr/>
            <p:nvPr/>
          </p:nvSpPr>
          <p:spPr>
            <a:xfrm flipV="1">
              <a:off x="5031388" y="4140655"/>
              <a:ext cx="2264931" cy="921860"/>
            </a:xfrm>
            <a:custGeom>
              <a:avLst/>
              <a:gdLst>
                <a:gd name="connsiteX0" fmla="*/ 1738049 w 2264931"/>
                <a:gd name="connsiteY0" fmla="*/ 921811 h 921860"/>
                <a:gd name="connsiteX1" fmla="*/ 2226935 w 2264931"/>
                <a:gd name="connsiteY1" fmla="*/ 908087 h 921860"/>
                <a:gd name="connsiteX2" fmla="*/ 2264916 w 2264931"/>
                <a:gd name="connsiteY2" fmla="*/ 867944 h 921860"/>
                <a:gd name="connsiteX3" fmla="*/ 2224758 w 2264931"/>
                <a:gd name="connsiteY3" fmla="*/ 829948 h 921860"/>
                <a:gd name="connsiteX4" fmla="*/ 1735800 w 2264931"/>
                <a:gd name="connsiteY4" fmla="*/ 843671 h 921860"/>
                <a:gd name="connsiteX5" fmla="*/ 1713285 w 2264931"/>
                <a:gd name="connsiteY5" fmla="*/ 835756 h 921860"/>
                <a:gd name="connsiteX6" fmla="*/ 1647204 w 2264931"/>
                <a:gd name="connsiteY6" fmla="*/ 808896 h 921860"/>
                <a:gd name="connsiteX7" fmla="*/ 1421911 w 2264931"/>
                <a:gd name="connsiteY7" fmla="*/ 795709 h 921860"/>
                <a:gd name="connsiteX8" fmla="*/ 1394124 w 2264931"/>
                <a:gd name="connsiteY8" fmla="*/ 776663 h 921860"/>
                <a:gd name="connsiteX9" fmla="*/ 1040328 w 2264931"/>
                <a:gd name="connsiteY9" fmla="*/ 460428 h 921860"/>
                <a:gd name="connsiteX10" fmla="*/ 939136 w 2264931"/>
                <a:gd name="connsiteY10" fmla="*/ 394837 h 921860"/>
                <a:gd name="connsiteX11" fmla="*/ 745681 w 2264931"/>
                <a:gd name="connsiteY11" fmla="*/ 394837 h 921860"/>
                <a:gd name="connsiteX12" fmla="*/ 717110 w 2264931"/>
                <a:gd name="connsiteY12" fmla="*/ 377938 h 921860"/>
                <a:gd name="connsiteX13" fmla="*/ 645417 w 2264931"/>
                <a:gd name="connsiteY13" fmla="*/ 241678 h 921860"/>
                <a:gd name="connsiteX14" fmla="*/ 548125 w 2264931"/>
                <a:gd name="connsiteY14" fmla="*/ 183896 h 921860"/>
                <a:gd name="connsiteX15" fmla="*/ 261586 w 2264931"/>
                <a:gd name="connsiteY15" fmla="*/ 174082 h 921860"/>
                <a:gd name="connsiteX16" fmla="*/ 248009 w 2264931"/>
                <a:gd name="connsiteY16" fmla="*/ 171104 h 921860"/>
                <a:gd name="connsiteX17" fmla="*/ 178821 w 2264931"/>
                <a:gd name="connsiteY17" fmla="*/ 77495 h 921860"/>
                <a:gd name="connsiteX18" fmla="*/ 118999 w 2264931"/>
                <a:gd name="connsiteY18" fmla="*/ 0 h 921860"/>
                <a:gd name="connsiteX19" fmla="*/ 0 w 2264931"/>
                <a:gd name="connsiteY19" fmla="*/ 0 h 921860"/>
                <a:gd name="connsiteX20" fmla="*/ 12032 w 2264931"/>
                <a:gd name="connsiteY20" fmla="*/ 15450 h 921860"/>
                <a:gd name="connsiteX21" fmla="*/ 157123 w 2264931"/>
                <a:gd name="connsiteY21" fmla="*/ 196794 h 921860"/>
                <a:gd name="connsiteX22" fmla="*/ 172847 w 2264931"/>
                <a:gd name="connsiteY22" fmla="*/ 208128 h 921860"/>
                <a:gd name="connsiteX23" fmla="*/ 177632 w 2264931"/>
                <a:gd name="connsiteY23" fmla="*/ 213693 h 921860"/>
                <a:gd name="connsiteX24" fmla="*/ 261586 w 2264931"/>
                <a:gd name="connsiteY24" fmla="*/ 252226 h 921860"/>
                <a:gd name="connsiteX25" fmla="*/ 548125 w 2264931"/>
                <a:gd name="connsiteY25" fmla="*/ 262041 h 921860"/>
                <a:gd name="connsiteX26" fmla="*/ 576747 w 2264931"/>
                <a:gd name="connsiteY26" fmla="*/ 278940 h 921860"/>
                <a:gd name="connsiteX27" fmla="*/ 648344 w 2264931"/>
                <a:gd name="connsiteY27" fmla="*/ 415104 h 921860"/>
                <a:gd name="connsiteX28" fmla="*/ 745681 w 2264931"/>
                <a:gd name="connsiteY28" fmla="*/ 472977 h 921860"/>
                <a:gd name="connsiteX29" fmla="*/ 939136 w 2264931"/>
                <a:gd name="connsiteY29" fmla="*/ 472977 h 921860"/>
                <a:gd name="connsiteX30" fmla="*/ 968827 w 2264931"/>
                <a:gd name="connsiteY30" fmla="*/ 492028 h 921860"/>
                <a:gd name="connsiteX31" fmla="*/ 1322623 w 2264931"/>
                <a:gd name="connsiteY31" fmla="*/ 808162 h 921860"/>
                <a:gd name="connsiteX32" fmla="*/ 1417368 w 2264931"/>
                <a:gd name="connsiteY32" fmla="*/ 873707 h 921860"/>
                <a:gd name="connsiteX33" fmla="*/ 1642615 w 2264931"/>
                <a:gd name="connsiteY33" fmla="*/ 886894 h 921860"/>
                <a:gd name="connsiteX34" fmla="*/ 1662148 w 2264931"/>
                <a:gd name="connsiteY34" fmla="*/ 894804 h 921860"/>
                <a:gd name="connsiteX35" fmla="*/ 1738049 w 2264931"/>
                <a:gd name="connsiteY35" fmla="*/ 921811 h 921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64931" h="921860">
                  <a:moveTo>
                    <a:pt x="1738049" y="921811"/>
                  </a:moveTo>
                  <a:lnTo>
                    <a:pt x="2226935" y="908087"/>
                  </a:lnTo>
                  <a:cubicBezTo>
                    <a:pt x="2248509" y="907454"/>
                    <a:pt x="2265524" y="889482"/>
                    <a:pt x="2264916" y="867944"/>
                  </a:cubicBezTo>
                  <a:cubicBezTo>
                    <a:pt x="2264309" y="846355"/>
                    <a:pt x="2246432" y="829309"/>
                    <a:pt x="2224758" y="829948"/>
                  </a:cubicBezTo>
                  <a:lnTo>
                    <a:pt x="1735800" y="843671"/>
                  </a:lnTo>
                  <a:cubicBezTo>
                    <a:pt x="1727500" y="843960"/>
                    <a:pt x="1719489" y="841129"/>
                    <a:pt x="1713285" y="835756"/>
                  </a:cubicBezTo>
                  <a:cubicBezTo>
                    <a:pt x="1694872" y="819840"/>
                    <a:pt x="1671425" y="810314"/>
                    <a:pt x="1647204" y="808896"/>
                  </a:cubicBezTo>
                  <a:lnTo>
                    <a:pt x="1421911" y="795709"/>
                  </a:lnTo>
                  <a:cubicBezTo>
                    <a:pt x="1409751" y="794975"/>
                    <a:pt x="1399152" y="787698"/>
                    <a:pt x="1394124" y="776663"/>
                  </a:cubicBezTo>
                  <a:lnTo>
                    <a:pt x="1040328" y="460428"/>
                  </a:lnTo>
                  <a:cubicBezTo>
                    <a:pt x="1022502" y="420578"/>
                    <a:pt x="982794" y="394837"/>
                    <a:pt x="939136" y="394837"/>
                  </a:cubicBezTo>
                  <a:lnTo>
                    <a:pt x="745681" y="394837"/>
                  </a:lnTo>
                  <a:cubicBezTo>
                    <a:pt x="733766" y="394837"/>
                    <a:pt x="722873" y="388345"/>
                    <a:pt x="717110" y="377938"/>
                  </a:cubicBezTo>
                  <a:lnTo>
                    <a:pt x="645417" y="241678"/>
                  </a:lnTo>
                  <a:cubicBezTo>
                    <a:pt x="625975" y="206026"/>
                    <a:pt x="588663" y="183896"/>
                    <a:pt x="548125" y="183896"/>
                  </a:cubicBezTo>
                  <a:lnTo>
                    <a:pt x="261586" y="174082"/>
                  </a:lnTo>
                  <a:cubicBezTo>
                    <a:pt x="256846" y="174082"/>
                    <a:pt x="252207" y="173059"/>
                    <a:pt x="248009" y="171104"/>
                  </a:cubicBezTo>
                  <a:cubicBezTo>
                    <a:pt x="246421" y="166769"/>
                    <a:pt x="219239" y="130274"/>
                    <a:pt x="178821" y="77495"/>
                  </a:cubicBezTo>
                  <a:lnTo>
                    <a:pt x="118999" y="0"/>
                  </a:lnTo>
                  <a:lnTo>
                    <a:pt x="0" y="0"/>
                  </a:lnTo>
                  <a:lnTo>
                    <a:pt x="12032" y="15450"/>
                  </a:lnTo>
                  <a:cubicBezTo>
                    <a:pt x="87829" y="112485"/>
                    <a:pt x="150528" y="191703"/>
                    <a:pt x="157123" y="196794"/>
                  </a:cubicBezTo>
                  <a:cubicBezTo>
                    <a:pt x="162005" y="200557"/>
                    <a:pt x="167281" y="204512"/>
                    <a:pt x="172847" y="208128"/>
                  </a:cubicBezTo>
                  <a:lnTo>
                    <a:pt x="177632" y="213693"/>
                  </a:lnTo>
                  <a:cubicBezTo>
                    <a:pt x="198730" y="238209"/>
                    <a:pt x="229307" y="252226"/>
                    <a:pt x="261586" y="252226"/>
                  </a:cubicBezTo>
                  <a:lnTo>
                    <a:pt x="548125" y="262041"/>
                  </a:lnTo>
                  <a:cubicBezTo>
                    <a:pt x="559995" y="262041"/>
                    <a:pt x="570933" y="268538"/>
                    <a:pt x="576747" y="278940"/>
                  </a:cubicBezTo>
                  <a:lnTo>
                    <a:pt x="648344" y="415104"/>
                  </a:lnTo>
                  <a:cubicBezTo>
                    <a:pt x="667785" y="450761"/>
                    <a:pt x="705047" y="472977"/>
                    <a:pt x="745681" y="472977"/>
                  </a:cubicBezTo>
                  <a:lnTo>
                    <a:pt x="939136" y="472977"/>
                  </a:lnTo>
                  <a:cubicBezTo>
                    <a:pt x="951928" y="472977"/>
                    <a:pt x="963551" y="480452"/>
                    <a:pt x="968827" y="492028"/>
                  </a:cubicBezTo>
                  <a:lnTo>
                    <a:pt x="1322623" y="808162"/>
                  </a:lnTo>
                  <a:cubicBezTo>
                    <a:pt x="1339517" y="846158"/>
                    <a:pt x="1375801" y="871261"/>
                    <a:pt x="1417368" y="873707"/>
                  </a:cubicBezTo>
                  <a:lnTo>
                    <a:pt x="1642615" y="886894"/>
                  </a:lnTo>
                  <a:cubicBezTo>
                    <a:pt x="1649796" y="887284"/>
                    <a:pt x="1656729" y="890115"/>
                    <a:pt x="1662148" y="894804"/>
                  </a:cubicBezTo>
                  <a:cubicBezTo>
                    <a:pt x="1683154" y="913020"/>
                    <a:pt x="1710110" y="922642"/>
                    <a:pt x="1738049" y="921811"/>
                  </a:cubicBezTo>
                  <a:close/>
                </a:path>
              </a:pathLst>
            </a:custGeom>
            <a:solidFill>
              <a:srgbClr val="FFFFFF">
                <a:lumMod val="6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5" name="Freeform: Shape 404">
              <a:extLst>
                <a:ext uri="{FF2B5EF4-FFF2-40B4-BE49-F238E27FC236}">
                  <a16:creationId xmlns:a16="http://schemas.microsoft.com/office/drawing/2014/main" id="{AF685C71-18D8-FE22-7A3A-148470757868}"/>
                </a:ext>
              </a:extLst>
            </p:cNvPr>
            <p:cNvSpPr/>
            <p:nvPr/>
          </p:nvSpPr>
          <p:spPr>
            <a:xfrm flipV="1">
              <a:off x="6043587" y="4605097"/>
              <a:ext cx="1343972" cy="457418"/>
            </a:xfrm>
            <a:custGeom>
              <a:avLst/>
              <a:gdLst>
                <a:gd name="connsiteX0" fmla="*/ 1180805 w 1343972"/>
                <a:gd name="connsiteY0" fmla="*/ 457418 h 457418"/>
                <a:gd name="connsiteX1" fmla="*/ 1151332 w 1343972"/>
                <a:gd name="connsiteY1" fmla="*/ 269928 h 457418"/>
                <a:gd name="connsiteX2" fmla="*/ 1150370 w 1343972"/>
                <a:gd name="connsiteY2" fmla="*/ 258357 h 457418"/>
                <a:gd name="connsiteX3" fmla="*/ 1192554 w 1343972"/>
                <a:gd name="connsiteY3" fmla="*/ 193100 h 457418"/>
                <a:gd name="connsiteX4" fmla="*/ 1301838 w 1343972"/>
                <a:gd name="connsiteY4" fmla="*/ 143578 h 457418"/>
                <a:gd name="connsiteX5" fmla="*/ 1343972 w 1343972"/>
                <a:gd name="connsiteY5" fmla="*/ 78200 h 457418"/>
                <a:gd name="connsiteX6" fmla="*/ 1343567 w 1343972"/>
                <a:gd name="connsiteY6" fmla="*/ 70660 h 457418"/>
                <a:gd name="connsiteX7" fmla="*/ 1336046 w 1343972"/>
                <a:gd name="connsiteY7" fmla="*/ 0 h 457418"/>
                <a:gd name="connsiteX8" fmla="*/ 0 w 1343972"/>
                <a:gd name="connsiteY8" fmla="*/ 0 h 457418"/>
                <a:gd name="connsiteX9" fmla="*/ 17226 w 1343972"/>
                <a:gd name="connsiteY9" fmla="*/ 12174 h 457418"/>
                <a:gd name="connsiteX10" fmla="*/ 1180805 w 1343972"/>
                <a:gd name="connsiteY10" fmla="*/ 457418 h 45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3972" h="457418">
                  <a:moveTo>
                    <a:pt x="1180805" y="457418"/>
                  </a:moveTo>
                  <a:lnTo>
                    <a:pt x="1151332" y="269928"/>
                  </a:lnTo>
                  <a:cubicBezTo>
                    <a:pt x="1150674" y="266054"/>
                    <a:pt x="1150370" y="262185"/>
                    <a:pt x="1150370" y="258357"/>
                  </a:cubicBezTo>
                  <a:cubicBezTo>
                    <a:pt x="1150421" y="230575"/>
                    <a:pt x="1166626" y="204819"/>
                    <a:pt x="1192554" y="193100"/>
                  </a:cubicBezTo>
                  <a:lnTo>
                    <a:pt x="1301838" y="143578"/>
                  </a:lnTo>
                  <a:cubicBezTo>
                    <a:pt x="1327716" y="131880"/>
                    <a:pt x="1343972" y="106144"/>
                    <a:pt x="1343972" y="78200"/>
                  </a:cubicBezTo>
                  <a:cubicBezTo>
                    <a:pt x="1343972" y="75699"/>
                    <a:pt x="1343820" y="73187"/>
                    <a:pt x="1343567" y="70660"/>
                  </a:cubicBezTo>
                  <a:lnTo>
                    <a:pt x="1336046" y="0"/>
                  </a:lnTo>
                  <a:lnTo>
                    <a:pt x="0" y="0"/>
                  </a:lnTo>
                  <a:lnTo>
                    <a:pt x="17226" y="12174"/>
                  </a:lnTo>
                  <a:cubicBezTo>
                    <a:pt x="366552" y="242481"/>
                    <a:pt x="767068" y="393832"/>
                    <a:pt x="1180805" y="457418"/>
                  </a:cubicBezTo>
                  <a:close/>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6" name="Freeform: Shape 405">
              <a:extLst>
                <a:ext uri="{FF2B5EF4-FFF2-40B4-BE49-F238E27FC236}">
                  <a16:creationId xmlns:a16="http://schemas.microsoft.com/office/drawing/2014/main" id="{59E0D9F7-34E4-76C4-A8B2-55FECA6CF2D2}"/>
                </a:ext>
              </a:extLst>
            </p:cNvPr>
            <p:cNvSpPr/>
            <p:nvPr/>
          </p:nvSpPr>
          <p:spPr>
            <a:xfrm flipV="1">
              <a:off x="6032041" y="3282869"/>
              <a:ext cx="116207" cy="90242"/>
            </a:xfrm>
            <a:custGeom>
              <a:avLst/>
              <a:gdLst>
                <a:gd name="connsiteX0" fmla="*/ 108333 w 116207"/>
                <a:gd name="connsiteY0" fmla="*/ 78109 h 90242"/>
                <a:gd name="connsiteX1" fmla="*/ 103891 w 116207"/>
                <a:gd name="connsiteY1" fmla="*/ 61493 h 90242"/>
                <a:gd name="connsiteX2" fmla="*/ 99299 w 116207"/>
                <a:gd name="connsiteY2" fmla="*/ 28759 h 90242"/>
                <a:gd name="connsiteX3" fmla="*/ 97217 w 116207"/>
                <a:gd name="connsiteY3" fmla="*/ 23148 h 90242"/>
                <a:gd name="connsiteX4" fmla="*/ 83230 w 116207"/>
                <a:gd name="connsiteY4" fmla="*/ 10670 h 90242"/>
                <a:gd name="connsiteX5" fmla="*/ 74216 w 116207"/>
                <a:gd name="connsiteY5" fmla="*/ 7611 h 90242"/>
                <a:gd name="connsiteX6" fmla="*/ 45771 w 116207"/>
                <a:gd name="connsiteY6" fmla="*/ 4375 h 90242"/>
                <a:gd name="connsiteX7" fmla="*/ 19872 w 116207"/>
                <a:gd name="connsiteY7" fmla="*/ -6518 h 90242"/>
                <a:gd name="connsiteX8" fmla="*/ -7135 w 116207"/>
                <a:gd name="connsiteY8" fmla="*/ 31048 h 90242"/>
                <a:gd name="connsiteX9" fmla="*/ 27438 w 116207"/>
                <a:gd name="connsiteY9" fmla="*/ 59305 h 90242"/>
                <a:gd name="connsiteX10" fmla="*/ 36888 w 116207"/>
                <a:gd name="connsiteY10" fmla="*/ 68857 h 90242"/>
                <a:gd name="connsiteX11" fmla="*/ 46986 w 116207"/>
                <a:gd name="connsiteY11" fmla="*/ 74088 h 90242"/>
                <a:gd name="connsiteX12" fmla="*/ 59211 w 116207"/>
                <a:gd name="connsiteY12" fmla="*/ 79375 h 90242"/>
                <a:gd name="connsiteX13" fmla="*/ 90720 w 116207"/>
                <a:gd name="connsiteY13" fmla="*/ 82910 h 90242"/>
                <a:gd name="connsiteX14" fmla="*/ 103076 w 116207"/>
                <a:gd name="connsiteY14" fmla="*/ 82783 h 90242"/>
                <a:gd name="connsiteX15" fmla="*/ 108333 w 116207"/>
                <a:gd name="connsiteY15" fmla="*/ 78109 h 9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6207" h="90242">
                  <a:moveTo>
                    <a:pt x="108333" y="78109"/>
                  </a:moveTo>
                  <a:cubicBezTo>
                    <a:pt x="110855" y="72584"/>
                    <a:pt x="106322" y="66922"/>
                    <a:pt x="103891" y="61493"/>
                  </a:cubicBezTo>
                  <a:cubicBezTo>
                    <a:pt x="99405" y="51411"/>
                    <a:pt x="102013" y="39262"/>
                    <a:pt x="99299" y="28759"/>
                  </a:cubicBezTo>
                  <a:cubicBezTo>
                    <a:pt x="98822" y="26819"/>
                    <a:pt x="98133" y="24946"/>
                    <a:pt x="97217" y="23148"/>
                  </a:cubicBezTo>
                  <a:cubicBezTo>
                    <a:pt x="94265" y="17481"/>
                    <a:pt x="89119" y="13389"/>
                    <a:pt x="83230" y="10670"/>
                  </a:cubicBezTo>
                  <a:cubicBezTo>
                    <a:pt x="80349" y="9333"/>
                    <a:pt x="77279" y="8310"/>
                    <a:pt x="74216" y="7611"/>
                  </a:cubicBezTo>
                  <a:cubicBezTo>
                    <a:pt x="64898" y="5464"/>
                    <a:pt x="55235" y="5595"/>
                    <a:pt x="45771" y="4375"/>
                  </a:cubicBezTo>
                  <a:cubicBezTo>
                    <a:pt x="36291" y="3170"/>
                    <a:pt x="26532" y="318"/>
                    <a:pt x="19872" y="-6518"/>
                  </a:cubicBezTo>
                  <a:cubicBezTo>
                    <a:pt x="17791" y="5069"/>
                    <a:pt x="1991" y="23603"/>
                    <a:pt x="-7135" y="31048"/>
                  </a:cubicBezTo>
                  <a:cubicBezTo>
                    <a:pt x="4558" y="39540"/>
                    <a:pt x="20612" y="46559"/>
                    <a:pt x="27438" y="59305"/>
                  </a:cubicBezTo>
                  <a:cubicBezTo>
                    <a:pt x="29591" y="63321"/>
                    <a:pt x="32902" y="66648"/>
                    <a:pt x="36888" y="68857"/>
                  </a:cubicBezTo>
                  <a:cubicBezTo>
                    <a:pt x="40220" y="70705"/>
                    <a:pt x="43588" y="72462"/>
                    <a:pt x="46986" y="74088"/>
                  </a:cubicBezTo>
                  <a:cubicBezTo>
                    <a:pt x="50991" y="75992"/>
                    <a:pt x="55048" y="77785"/>
                    <a:pt x="59211" y="79375"/>
                  </a:cubicBezTo>
                  <a:cubicBezTo>
                    <a:pt x="69040" y="83218"/>
                    <a:pt x="80318" y="80955"/>
                    <a:pt x="90720" y="82910"/>
                  </a:cubicBezTo>
                  <a:cubicBezTo>
                    <a:pt x="94816" y="83679"/>
                    <a:pt x="99050" y="84327"/>
                    <a:pt x="103076" y="82783"/>
                  </a:cubicBezTo>
                  <a:cubicBezTo>
                    <a:pt x="105350" y="81917"/>
                    <a:pt x="107310" y="80337"/>
                    <a:pt x="108333" y="78109"/>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7" name="Freeform: Shape 406">
              <a:extLst>
                <a:ext uri="{FF2B5EF4-FFF2-40B4-BE49-F238E27FC236}">
                  <a16:creationId xmlns:a16="http://schemas.microsoft.com/office/drawing/2014/main" id="{CAC34D72-24DB-E917-02AA-34F264839047}"/>
                </a:ext>
              </a:extLst>
            </p:cNvPr>
            <p:cNvSpPr/>
            <p:nvPr/>
          </p:nvSpPr>
          <p:spPr>
            <a:xfrm flipV="1">
              <a:off x="6079523" y="3292450"/>
              <a:ext cx="22221" cy="33139"/>
            </a:xfrm>
            <a:custGeom>
              <a:avLst/>
              <a:gdLst>
                <a:gd name="connsiteX0" fmla="*/ 15086 w 22221"/>
                <a:gd name="connsiteY0" fmla="*/ 26143 h 33139"/>
                <a:gd name="connsiteX1" fmla="*/ -7135 w 22221"/>
                <a:gd name="connsiteY1" fmla="*/ -6561 h 33139"/>
                <a:gd name="connsiteX2" fmla="*/ 592 w 22221"/>
                <a:gd name="connsiteY2" fmla="*/ 21292 h 33139"/>
                <a:gd name="connsiteX3" fmla="*/ 12817 w 22221"/>
                <a:gd name="connsiteY3" fmla="*/ 26579 h 33139"/>
                <a:gd name="connsiteX4" fmla="*/ 15086 w 22221"/>
                <a:gd name="connsiteY4" fmla="*/ 26143 h 331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21" h="33139">
                  <a:moveTo>
                    <a:pt x="15086" y="26143"/>
                  </a:moveTo>
                  <a:cubicBezTo>
                    <a:pt x="10078" y="1071"/>
                    <a:pt x="-7135" y="-6561"/>
                    <a:pt x="-7135" y="-6561"/>
                  </a:cubicBezTo>
                  <a:lnTo>
                    <a:pt x="592" y="21292"/>
                  </a:lnTo>
                  <a:cubicBezTo>
                    <a:pt x="4598" y="23196"/>
                    <a:pt x="8665" y="24989"/>
                    <a:pt x="12817" y="26579"/>
                  </a:cubicBezTo>
                  <a:lnTo>
                    <a:pt x="15086" y="26143"/>
                  </a:lnTo>
                </a:path>
              </a:pathLst>
            </a:custGeom>
            <a:solidFill>
              <a:srgbClr val="FFFFFF">
                <a:lumMod val="6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8" name="Freeform: Shape 407">
              <a:extLst>
                <a:ext uri="{FF2B5EF4-FFF2-40B4-BE49-F238E27FC236}">
                  <a16:creationId xmlns:a16="http://schemas.microsoft.com/office/drawing/2014/main" id="{38F7967B-6513-BBF1-7D38-B706B9366D62}"/>
                </a:ext>
              </a:extLst>
            </p:cNvPr>
            <p:cNvSpPr/>
            <p:nvPr/>
          </p:nvSpPr>
          <p:spPr>
            <a:xfrm flipV="1">
              <a:off x="6091783" y="3334900"/>
              <a:ext cx="46691" cy="21023"/>
            </a:xfrm>
            <a:custGeom>
              <a:avLst/>
              <a:gdLst>
                <a:gd name="connsiteX0" fmla="*/ 39514 w 46691"/>
                <a:gd name="connsiteY0" fmla="*/ 11610 h 21023"/>
                <a:gd name="connsiteX1" fmla="*/ 37433 w 46691"/>
                <a:gd name="connsiteY1" fmla="*/ 5999 h 21023"/>
                <a:gd name="connsiteX2" fmla="*/ 23445 w 46691"/>
                <a:gd name="connsiteY2" fmla="*/ -6479 h 21023"/>
                <a:gd name="connsiteX3" fmla="*/ -7177 w 46691"/>
                <a:gd name="connsiteY3" fmla="*/ 1659 h 21023"/>
                <a:gd name="connsiteX4" fmla="*/ 39514 w 46691"/>
                <a:gd name="connsiteY4" fmla="*/ 11610 h 21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91" h="21023">
                  <a:moveTo>
                    <a:pt x="39514" y="11610"/>
                  </a:moveTo>
                  <a:cubicBezTo>
                    <a:pt x="39038" y="9670"/>
                    <a:pt x="38349" y="7797"/>
                    <a:pt x="37433" y="5999"/>
                  </a:cubicBezTo>
                  <a:cubicBezTo>
                    <a:pt x="34480" y="332"/>
                    <a:pt x="29335" y="-3760"/>
                    <a:pt x="23445" y="-6479"/>
                  </a:cubicBezTo>
                  <a:lnTo>
                    <a:pt x="-7177" y="1659"/>
                  </a:lnTo>
                  <a:cubicBezTo>
                    <a:pt x="-7177" y="1659"/>
                    <a:pt x="7651" y="21946"/>
                    <a:pt x="39514" y="11610"/>
                  </a:cubicBezTo>
                </a:path>
              </a:pathLst>
            </a:custGeom>
            <a:solidFill>
              <a:srgbClr val="FFFFFF">
                <a:lumMod val="6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9" name="Freeform: Shape 408">
              <a:extLst>
                <a:ext uri="{FF2B5EF4-FFF2-40B4-BE49-F238E27FC236}">
                  <a16:creationId xmlns:a16="http://schemas.microsoft.com/office/drawing/2014/main" id="{D282E240-A30E-AACF-A842-CB429B389830}"/>
                </a:ext>
              </a:extLst>
            </p:cNvPr>
            <p:cNvSpPr/>
            <p:nvPr/>
          </p:nvSpPr>
          <p:spPr>
            <a:xfrm flipV="1">
              <a:off x="5443751" y="3300284"/>
              <a:ext cx="101201" cy="47007"/>
            </a:xfrm>
            <a:custGeom>
              <a:avLst/>
              <a:gdLst>
                <a:gd name="connsiteX0" fmla="*/ -6115 w 101201"/>
                <a:gd name="connsiteY0" fmla="*/ 39720 h 47007"/>
                <a:gd name="connsiteX1" fmla="*/ 95087 w 101201"/>
                <a:gd name="connsiteY1" fmla="*/ 40480 h 47007"/>
                <a:gd name="connsiteX2" fmla="*/ 90048 w 101201"/>
                <a:gd name="connsiteY2" fmla="*/ -6505 h 47007"/>
                <a:gd name="connsiteX3" fmla="*/ -5269 w 101201"/>
                <a:gd name="connsiteY3" fmla="*/ 17565 h 47007"/>
                <a:gd name="connsiteX4" fmla="*/ -6115 w 101201"/>
                <a:gd name="connsiteY4" fmla="*/ 39720 h 47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01" h="47007">
                  <a:moveTo>
                    <a:pt x="-6115" y="39720"/>
                  </a:moveTo>
                  <a:lnTo>
                    <a:pt x="95087" y="40480"/>
                  </a:lnTo>
                  <a:cubicBezTo>
                    <a:pt x="95087" y="40480"/>
                    <a:pt x="90068" y="-7720"/>
                    <a:pt x="90048" y="-6505"/>
                  </a:cubicBezTo>
                  <a:cubicBezTo>
                    <a:pt x="90033" y="-5290"/>
                    <a:pt x="-5269" y="17565"/>
                    <a:pt x="-5269" y="17565"/>
                  </a:cubicBezTo>
                  <a:lnTo>
                    <a:pt x="-6115" y="39720"/>
                  </a:ln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0" name="Freeform: Shape 409">
              <a:extLst>
                <a:ext uri="{FF2B5EF4-FFF2-40B4-BE49-F238E27FC236}">
                  <a16:creationId xmlns:a16="http://schemas.microsoft.com/office/drawing/2014/main" id="{21EF6459-132E-B5F2-8E45-3B0DC28CF8E5}"/>
                </a:ext>
              </a:extLst>
            </p:cNvPr>
            <p:cNvSpPr/>
            <p:nvPr/>
          </p:nvSpPr>
          <p:spPr>
            <a:xfrm flipV="1">
              <a:off x="5098757" y="3780134"/>
              <a:ext cx="121687" cy="76054"/>
            </a:xfrm>
            <a:custGeom>
              <a:avLst/>
              <a:gdLst>
                <a:gd name="connsiteX0" fmla="*/ 940 w 121687"/>
                <a:gd name="connsiteY0" fmla="*/ 52599 h 76054"/>
                <a:gd name="connsiteX1" fmla="*/ -5542 w 121687"/>
                <a:gd name="connsiteY1" fmla="*/ 14263 h 76054"/>
                <a:gd name="connsiteX2" fmla="*/ 11463 w 121687"/>
                <a:gd name="connsiteY2" fmla="*/ 11387 h 76054"/>
                <a:gd name="connsiteX3" fmla="*/ 17946 w 121687"/>
                <a:gd name="connsiteY3" fmla="*/ 49722 h 76054"/>
                <a:gd name="connsiteX4" fmla="*/ 23015 w 121687"/>
                <a:gd name="connsiteY4" fmla="*/ 53328 h 76054"/>
                <a:gd name="connsiteX5" fmla="*/ 95234 w 121687"/>
                <a:gd name="connsiteY5" fmla="*/ 40855 h 76054"/>
                <a:gd name="connsiteX6" fmla="*/ 98835 w 121687"/>
                <a:gd name="connsiteY6" fmla="*/ 35791 h 76054"/>
                <a:gd name="connsiteX7" fmla="*/ 92353 w 121687"/>
                <a:gd name="connsiteY7" fmla="*/ -2550 h 76054"/>
                <a:gd name="connsiteX8" fmla="*/ 109358 w 121687"/>
                <a:gd name="connsiteY8" fmla="*/ -5421 h 76054"/>
                <a:gd name="connsiteX9" fmla="*/ 115840 w 121687"/>
                <a:gd name="connsiteY9" fmla="*/ 32914 h 76054"/>
                <a:gd name="connsiteX10" fmla="*/ 98111 w 121687"/>
                <a:gd name="connsiteY10" fmla="*/ 57860 h 76054"/>
                <a:gd name="connsiteX11" fmla="*/ 25886 w 121687"/>
                <a:gd name="connsiteY11" fmla="*/ 70328 h 76054"/>
                <a:gd name="connsiteX12" fmla="*/ 940 w 121687"/>
                <a:gd name="connsiteY12" fmla="*/ 52599 h 7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687" h="76054">
                  <a:moveTo>
                    <a:pt x="940" y="52599"/>
                  </a:moveTo>
                  <a:lnTo>
                    <a:pt x="-5542" y="14263"/>
                  </a:lnTo>
                  <a:lnTo>
                    <a:pt x="11463" y="11387"/>
                  </a:lnTo>
                  <a:lnTo>
                    <a:pt x="17946" y="49722"/>
                  </a:lnTo>
                  <a:cubicBezTo>
                    <a:pt x="18346" y="52107"/>
                    <a:pt x="20635" y="53728"/>
                    <a:pt x="23015" y="53328"/>
                  </a:cubicBezTo>
                  <a:lnTo>
                    <a:pt x="95234" y="40855"/>
                  </a:lnTo>
                  <a:cubicBezTo>
                    <a:pt x="97614" y="40455"/>
                    <a:pt x="99240" y="38171"/>
                    <a:pt x="98835" y="35791"/>
                  </a:cubicBezTo>
                  <a:lnTo>
                    <a:pt x="92353" y="-2550"/>
                  </a:lnTo>
                  <a:lnTo>
                    <a:pt x="109358" y="-5421"/>
                  </a:lnTo>
                  <a:lnTo>
                    <a:pt x="115840" y="32914"/>
                  </a:lnTo>
                  <a:cubicBezTo>
                    <a:pt x="117830" y="44689"/>
                    <a:pt x="109885" y="55870"/>
                    <a:pt x="98111" y="57860"/>
                  </a:cubicBezTo>
                  <a:lnTo>
                    <a:pt x="25886" y="70328"/>
                  </a:lnTo>
                  <a:cubicBezTo>
                    <a:pt x="14112" y="72318"/>
                    <a:pt x="2930" y="64373"/>
                    <a:pt x="940" y="52599"/>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1" name="Freeform: Shape 410">
              <a:extLst>
                <a:ext uri="{FF2B5EF4-FFF2-40B4-BE49-F238E27FC236}">
                  <a16:creationId xmlns:a16="http://schemas.microsoft.com/office/drawing/2014/main" id="{DD4B7F8C-6E22-2451-4C0F-C51446895EA1}"/>
                </a:ext>
              </a:extLst>
            </p:cNvPr>
            <p:cNvSpPr/>
            <p:nvPr/>
          </p:nvSpPr>
          <p:spPr>
            <a:xfrm flipV="1">
              <a:off x="5095364" y="3820953"/>
              <a:ext cx="25867" cy="13146"/>
            </a:xfrm>
            <a:custGeom>
              <a:avLst/>
              <a:gdLst>
                <a:gd name="connsiteX0" fmla="*/ 17420 w 25867"/>
                <a:gd name="connsiteY0" fmla="*/ 4348 h 13146"/>
                <a:gd name="connsiteX1" fmla="*/ -51 w 25867"/>
                <a:gd name="connsiteY1" fmla="*/ 7681 h 13146"/>
                <a:gd name="connsiteX2" fmla="*/ -4355 w 25867"/>
                <a:gd name="connsiteY2" fmla="*/ 4753 h 13146"/>
                <a:gd name="connsiteX3" fmla="*/ -5454 w 25867"/>
                <a:gd name="connsiteY3" fmla="*/ -1020 h 13146"/>
                <a:gd name="connsiteX4" fmla="*/ 19309 w 25867"/>
                <a:gd name="connsiteY4" fmla="*/ -5400 h 13146"/>
                <a:gd name="connsiteX5" fmla="*/ 20347 w 25867"/>
                <a:gd name="connsiteY5" fmla="*/ 44 h 13146"/>
                <a:gd name="connsiteX6" fmla="*/ 17420 w 25867"/>
                <a:gd name="connsiteY6" fmla="*/ 4348 h 1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67" h="13146">
                  <a:moveTo>
                    <a:pt x="17420" y="4348"/>
                  </a:moveTo>
                  <a:lnTo>
                    <a:pt x="-51" y="7681"/>
                  </a:lnTo>
                  <a:cubicBezTo>
                    <a:pt x="-2046" y="8060"/>
                    <a:pt x="-3971" y="6754"/>
                    <a:pt x="-4355" y="4753"/>
                  </a:cubicBezTo>
                  <a:lnTo>
                    <a:pt x="-5454" y="-1020"/>
                  </a:lnTo>
                  <a:lnTo>
                    <a:pt x="19309" y="-5400"/>
                  </a:lnTo>
                  <a:lnTo>
                    <a:pt x="20347" y="44"/>
                  </a:lnTo>
                  <a:cubicBezTo>
                    <a:pt x="20727" y="2039"/>
                    <a:pt x="19416" y="3968"/>
                    <a:pt x="17420" y="4348"/>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2" name="Freeform: Shape 411">
              <a:extLst>
                <a:ext uri="{FF2B5EF4-FFF2-40B4-BE49-F238E27FC236}">
                  <a16:creationId xmlns:a16="http://schemas.microsoft.com/office/drawing/2014/main" id="{B770F4D0-D976-E6AA-C73D-F9056FD077D7}"/>
                </a:ext>
              </a:extLst>
            </p:cNvPr>
            <p:cNvSpPr/>
            <p:nvPr/>
          </p:nvSpPr>
          <p:spPr>
            <a:xfrm flipV="1">
              <a:off x="5193760" y="3837675"/>
              <a:ext cx="25867" cy="13146"/>
            </a:xfrm>
            <a:custGeom>
              <a:avLst/>
              <a:gdLst>
                <a:gd name="connsiteX0" fmla="*/ 17252 w 25867"/>
                <a:gd name="connsiteY0" fmla="*/ 4386 h 13146"/>
                <a:gd name="connsiteX1" fmla="*/ -219 w 25867"/>
                <a:gd name="connsiteY1" fmla="*/ 7718 h 13146"/>
                <a:gd name="connsiteX2" fmla="*/ -4519 w 25867"/>
                <a:gd name="connsiteY2" fmla="*/ 4796 h 13146"/>
                <a:gd name="connsiteX3" fmla="*/ -5623 w 25867"/>
                <a:gd name="connsiteY3" fmla="*/ -977 h 13146"/>
                <a:gd name="connsiteX4" fmla="*/ 19136 w 25867"/>
                <a:gd name="connsiteY4" fmla="*/ -5363 h 13146"/>
                <a:gd name="connsiteX5" fmla="*/ 20179 w 25867"/>
                <a:gd name="connsiteY5" fmla="*/ 86 h 13146"/>
                <a:gd name="connsiteX6" fmla="*/ 17252 w 25867"/>
                <a:gd name="connsiteY6" fmla="*/ 4386 h 1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67" h="13146">
                  <a:moveTo>
                    <a:pt x="17252" y="4386"/>
                  </a:moveTo>
                  <a:lnTo>
                    <a:pt x="-219" y="7718"/>
                  </a:lnTo>
                  <a:cubicBezTo>
                    <a:pt x="-2215" y="8098"/>
                    <a:pt x="-4139" y="6791"/>
                    <a:pt x="-4519" y="4796"/>
                  </a:cubicBezTo>
                  <a:lnTo>
                    <a:pt x="-5623" y="-977"/>
                  </a:lnTo>
                  <a:lnTo>
                    <a:pt x="19136" y="-5363"/>
                  </a:lnTo>
                  <a:lnTo>
                    <a:pt x="20179" y="86"/>
                  </a:lnTo>
                  <a:cubicBezTo>
                    <a:pt x="20559" y="2082"/>
                    <a:pt x="19247" y="4001"/>
                    <a:pt x="17252" y="4386"/>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3" name="Freeform: Shape 412">
              <a:extLst>
                <a:ext uri="{FF2B5EF4-FFF2-40B4-BE49-F238E27FC236}">
                  <a16:creationId xmlns:a16="http://schemas.microsoft.com/office/drawing/2014/main" id="{FD910FB8-BD86-5971-F9C0-F1E1A6960112}"/>
                </a:ext>
              </a:extLst>
            </p:cNvPr>
            <p:cNvSpPr/>
            <p:nvPr/>
          </p:nvSpPr>
          <p:spPr>
            <a:xfrm flipV="1">
              <a:off x="4953134" y="3825465"/>
              <a:ext cx="352877" cy="281448"/>
            </a:xfrm>
            <a:custGeom>
              <a:avLst/>
              <a:gdLst>
                <a:gd name="connsiteX0" fmla="*/ 339132 w 352877"/>
                <a:gd name="connsiteY0" fmla="*/ 129302 h 281448"/>
                <a:gd name="connsiteX1" fmla="*/ 347387 w 352877"/>
                <a:gd name="connsiteY1" fmla="*/ 226011 h 281448"/>
                <a:gd name="connsiteX2" fmla="*/ 49682 w 352877"/>
                <a:gd name="connsiteY2" fmla="*/ 276359 h 281448"/>
                <a:gd name="connsiteX3" fmla="*/ 25678 w 352877"/>
                <a:gd name="connsiteY3" fmla="*/ 182313 h 281448"/>
                <a:gd name="connsiteX4" fmla="*/ -5148 w 352877"/>
                <a:gd name="connsiteY4" fmla="*/ 61392 h 281448"/>
                <a:gd name="connsiteX5" fmla="*/ 3674 w 352877"/>
                <a:gd name="connsiteY5" fmla="*/ 47830 h 281448"/>
                <a:gd name="connsiteX6" fmla="*/ 315691 w 352877"/>
                <a:gd name="connsiteY6" fmla="*/ -4933 h 281448"/>
                <a:gd name="connsiteX7" fmla="*/ 328478 w 352877"/>
                <a:gd name="connsiteY7" fmla="*/ 4967 h 281448"/>
                <a:gd name="connsiteX8" fmla="*/ 339132 w 352877"/>
                <a:gd name="connsiteY8" fmla="*/ 129302 h 281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877" h="281448">
                  <a:moveTo>
                    <a:pt x="339132" y="129302"/>
                  </a:moveTo>
                  <a:lnTo>
                    <a:pt x="347387" y="226011"/>
                  </a:lnTo>
                  <a:lnTo>
                    <a:pt x="49682" y="276359"/>
                  </a:lnTo>
                  <a:lnTo>
                    <a:pt x="25678" y="182313"/>
                  </a:lnTo>
                  <a:lnTo>
                    <a:pt x="-5148" y="61392"/>
                  </a:lnTo>
                  <a:cubicBezTo>
                    <a:pt x="-6733" y="55158"/>
                    <a:pt x="-2661" y="48904"/>
                    <a:pt x="3674" y="47830"/>
                  </a:cubicBezTo>
                  <a:lnTo>
                    <a:pt x="315691" y="-4933"/>
                  </a:lnTo>
                  <a:cubicBezTo>
                    <a:pt x="322026" y="-6007"/>
                    <a:pt x="327931" y="-1434"/>
                    <a:pt x="328478" y="4967"/>
                  </a:cubicBezTo>
                  <a:lnTo>
                    <a:pt x="339132" y="129302"/>
                  </a:lnTo>
                </a:path>
              </a:pathLst>
            </a:custGeom>
            <a:solidFill>
              <a:srgbClr val="4DA5C3">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4" name="Freeform: Shape 413">
              <a:extLst>
                <a:ext uri="{FF2B5EF4-FFF2-40B4-BE49-F238E27FC236}">
                  <a16:creationId xmlns:a16="http://schemas.microsoft.com/office/drawing/2014/main" id="{59B5CA09-8761-5AE0-ACB2-D0EC66F81E58}"/>
                </a:ext>
              </a:extLst>
            </p:cNvPr>
            <p:cNvSpPr/>
            <p:nvPr/>
          </p:nvSpPr>
          <p:spPr>
            <a:xfrm flipV="1">
              <a:off x="4976775" y="3813776"/>
              <a:ext cx="340513" cy="187232"/>
            </a:xfrm>
            <a:custGeom>
              <a:avLst/>
              <a:gdLst>
                <a:gd name="connsiteX0" fmla="*/ 327854 w 340513"/>
                <a:gd name="connsiteY0" fmla="*/ 36760 h 187232"/>
                <a:gd name="connsiteX1" fmla="*/ 334954 w 340513"/>
                <a:gd name="connsiteY1" fmla="*/ 119893 h 187232"/>
                <a:gd name="connsiteX2" fmla="*/ 326030 w 340513"/>
                <a:gd name="connsiteY2" fmla="*/ 131414 h 187232"/>
                <a:gd name="connsiteX3" fmla="*/ 27743 w 340513"/>
                <a:gd name="connsiteY3" fmla="*/ 181858 h 187232"/>
                <a:gd name="connsiteX4" fmla="*/ 15528 w 340513"/>
                <a:gd name="connsiteY4" fmla="*/ 173917 h 187232"/>
                <a:gd name="connsiteX5" fmla="*/ -5103 w 340513"/>
                <a:gd name="connsiteY5" fmla="*/ 93068 h 187232"/>
                <a:gd name="connsiteX6" fmla="*/ 1313 w 340513"/>
                <a:gd name="connsiteY6" fmla="*/ 78078 h 187232"/>
                <a:gd name="connsiteX7" fmla="*/ 149515 w 340513"/>
                <a:gd name="connsiteY7" fmla="*/ -5221 h 187232"/>
                <a:gd name="connsiteX8" fmla="*/ 316870 w 340513"/>
                <a:gd name="connsiteY8" fmla="*/ 24713 h 187232"/>
                <a:gd name="connsiteX9" fmla="*/ 327854 w 340513"/>
                <a:gd name="connsiteY9" fmla="*/ 36760 h 18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0513" h="187232">
                  <a:moveTo>
                    <a:pt x="327854" y="36760"/>
                  </a:moveTo>
                  <a:lnTo>
                    <a:pt x="334954" y="119893"/>
                  </a:lnTo>
                  <a:cubicBezTo>
                    <a:pt x="335430" y="125473"/>
                    <a:pt x="331550" y="130477"/>
                    <a:pt x="326030" y="131414"/>
                  </a:cubicBezTo>
                  <a:lnTo>
                    <a:pt x="27743" y="181858"/>
                  </a:lnTo>
                  <a:cubicBezTo>
                    <a:pt x="22223" y="182795"/>
                    <a:pt x="16911" y="179336"/>
                    <a:pt x="15528" y="173917"/>
                  </a:cubicBezTo>
                  <a:lnTo>
                    <a:pt x="-5103" y="93068"/>
                  </a:lnTo>
                  <a:cubicBezTo>
                    <a:pt x="-6602" y="87194"/>
                    <a:pt x="-3974" y="81051"/>
                    <a:pt x="1313" y="78078"/>
                  </a:cubicBezTo>
                  <a:lnTo>
                    <a:pt x="149515" y="-5221"/>
                  </a:lnTo>
                  <a:lnTo>
                    <a:pt x="316870" y="24713"/>
                  </a:lnTo>
                  <a:cubicBezTo>
                    <a:pt x="322835" y="25781"/>
                    <a:pt x="327342" y="30719"/>
                    <a:pt x="327854" y="36760"/>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5" name="Freeform: Shape 414">
              <a:extLst>
                <a:ext uri="{FF2B5EF4-FFF2-40B4-BE49-F238E27FC236}">
                  <a16:creationId xmlns:a16="http://schemas.microsoft.com/office/drawing/2014/main" id="{6DCC972B-0DEB-F74D-9A2C-2261706E51A6}"/>
                </a:ext>
              </a:extLst>
            </p:cNvPr>
            <p:cNvSpPr/>
            <p:nvPr/>
          </p:nvSpPr>
          <p:spPr>
            <a:xfrm flipV="1">
              <a:off x="5110946" y="3973581"/>
              <a:ext cx="47248" cy="40123"/>
            </a:xfrm>
            <a:custGeom>
              <a:avLst/>
              <a:gdLst>
                <a:gd name="connsiteX0" fmla="*/ 41749 w 47248"/>
                <a:gd name="connsiteY0" fmla="*/ 27640 h 40123"/>
                <a:gd name="connsiteX1" fmla="*/ 39136 w 47248"/>
                <a:gd name="connsiteY1" fmla="*/ 11972 h 40123"/>
                <a:gd name="connsiteX2" fmla="*/ 25721 w 47248"/>
                <a:gd name="connsiteY2" fmla="*/ -5028 h 40123"/>
                <a:gd name="connsiteX3" fmla="*/ 1661 w 47248"/>
                <a:gd name="connsiteY3" fmla="*/ -1008 h 40123"/>
                <a:gd name="connsiteX4" fmla="*/ -5499 w 47248"/>
                <a:gd name="connsiteY4" fmla="*/ 19421 h 40123"/>
                <a:gd name="connsiteX5" fmla="*/ -2886 w 47248"/>
                <a:gd name="connsiteY5" fmla="*/ 35095 h 40123"/>
                <a:gd name="connsiteX6" fmla="*/ 41749 w 47248"/>
                <a:gd name="connsiteY6" fmla="*/ 27640 h 40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48" h="40123">
                  <a:moveTo>
                    <a:pt x="41749" y="27640"/>
                  </a:moveTo>
                  <a:lnTo>
                    <a:pt x="39136" y="11972"/>
                  </a:lnTo>
                  <a:cubicBezTo>
                    <a:pt x="39136" y="11972"/>
                    <a:pt x="27104" y="10453"/>
                    <a:pt x="25721" y="-5028"/>
                  </a:cubicBezTo>
                  <a:lnTo>
                    <a:pt x="1661" y="-1008"/>
                  </a:lnTo>
                  <a:cubicBezTo>
                    <a:pt x="5389" y="14079"/>
                    <a:pt x="-5499" y="19421"/>
                    <a:pt x="-5499" y="19421"/>
                  </a:cubicBezTo>
                  <a:lnTo>
                    <a:pt x="-2886" y="35095"/>
                  </a:lnTo>
                  <a:lnTo>
                    <a:pt x="41749" y="27640"/>
                  </a:ln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6" name="Freeform: Shape 415">
              <a:extLst>
                <a:ext uri="{FF2B5EF4-FFF2-40B4-BE49-F238E27FC236}">
                  <a16:creationId xmlns:a16="http://schemas.microsoft.com/office/drawing/2014/main" id="{15E39918-37CE-8AB2-9026-50B339782273}"/>
                </a:ext>
              </a:extLst>
            </p:cNvPr>
            <p:cNvSpPr/>
            <p:nvPr/>
          </p:nvSpPr>
          <p:spPr>
            <a:xfrm flipV="1">
              <a:off x="5106164" y="3999150"/>
              <a:ext cx="47766" cy="34574"/>
            </a:xfrm>
            <a:custGeom>
              <a:avLst/>
              <a:gdLst>
                <a:gd name="connsiteX0" fmla="*/ -2365 w 47766"/>
                <a:gd name="connsiteY0" fmla="*/ 29597 h 34574"/>
                <a:gd name="connsiteX1" fmla="*/ -5338 w 47766"/>
                <a:gd name="connsiteY1" fmla="*/ 11802 h 34574"/>
                <a:gd name="connsiteX2" fmla="*/ 3828 w 47766"/>
                <a:gd name="connsiteY2" fmla="*/ -1041 h 34574"/>
                <a:gd name="connsiteX3" fmla="*/ 26460 w 47766"/>
                <a:gd name="connsiteY3" fmla="*/ -4824 h 34574"/>
                <a:gd name="connsiteX4" fmla="*/ 39302 w 47766"/>
                <a:gd name="connsiteY4" fmla="*/ 4342 h 34574"/>
                <a:gd name="connsiteX5" fmla="*/ 42275 w 47766"/>
                <a:gd name="connsiteY5" fmla="*/ 22143 h 34574"/>
                <a:gd name="connsiteX6" fmla="*/ -2365 w 47766"/>
                <a:gd name="connsiteY6" fmla="*/ 29597 h 34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66" h="34574">
                  <a:moveTo>
                    <a:pt x="-2365" y="29597"/>
                  </a:moveTo>
                  <a:lnTo>
                    <a:pt x="-5338" y="11802"/>
                  </a:lnTo>
                  <a:cubicBezTo>
                    <a:pt x="-6351" y="5720"/>
                    <a:pt x="-2249" y="-28"/>
                    <a:pt x="3828" y="-1041"/>
                  </a:cubicBezTo>
                  <a:lnTo>
                    <a:pt x="26460" y="-4824"/>
                  </a:lnTo>
                  <a:cubicBezTo>
                    <a:pt x="32537" y="-5837"/>
                    <a:pt x="38290" y="-1735"/>
                    <a:pt x="39302" y="4342"/>
                  </a:cubicBezTo>
                  <a:lnTo>
                    <a:pt x="42275" y="22143"/>
                  </a:lnTo>
                  <a:lnTo>
                    <a:pt x="-2365" y="29597"/>
                  </a:ln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7" name="Freeform: Shape 416">
              <a:extLst>
                <a:ext uri="{FF2B5EF4-FFF2-40B4-BE49-F238E27FC236}">
                  <a16:creationId xmlns:a16="http://schemas.microsoft.com/office/drawing/2014/main" id="{C8C4A20D-CC5E-B1E3-88E3-D44D0FA0D418}"/>
                </a:ext>
              </a:extLst>
            </p:cNvPr>
            <p:cNvSpPr/>
            <p:nvPr/>
          </p:nvSpPr>
          <p:spPr>
            <a:xfrm flipV="1">
              <a:off x="5131322" y="3731785"/>
              <a:ext cx="71237" cy="92774"/>
            </a:xfrm>
            <a:custGeom>
              <a:avLst/>
              <a:gdLst>
                <a:gd name="connsiteX0" fmla="*/ 64622 w 71237"/>
                <a:gd name="connsiteY0" fmla="*/ 26652 h 92774"/>
                <a:gd name="connsiteX1" fmla="*/ 53658 w 71237"/>
                <a:gd name="connsiteY1" fmla="*/ 27128 h 92774"/>
                <a:gd name="connsiteX2" fmla="*/ 54645 w 71237"/>
                <a:gd name="connsiteY2" fmla="*/ 10543 h 92774"/>
                <a:gd name="connsiteX3" fmla="*/ 37265 w 71237"/>
                <a:gd name="connsiteY3" fmla="*/ 1114 h 92774"/>
                <a:gd name="connsiteX4" fmla="*/ 30150 w 71237"/>
                <a:gd name="connsiteY4" fmla="*/ 3939 h 92774"/>
                <a:gd name="connsiteX5" fmla="*/ 16456 w 71237"/>
                <a:gd name="connsiteY5" fmla="*/ 7029 h 92774"/>
                <a:gd name="connsiteX6" fmla="*/ 7701 w 71237"/>
                <a:gd name="connsiteY6" fmla="*/ 9095 h 92774"/>
                <a:gd name="connsiteX7" fmla="*/ 9503 w 71237"/>
                <a:gd name="connsiteY7" fmla="*/ 85401 h 92774"/>
                <a:gd name="connsiteX8" fmla="*/ 47140 w 71237"/>
                <a:gd name="connsiteY8" fmla="*/ 80388 h 92774"/>
                <a:gd name="connsiteX9" fmla="*/ 64622 w 71237"/>
                <a:gd name="connsiteY9" fmla="*/ 26652 h 9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37" h="92774">
                  <a:moveTo>
                    <a:pt x="64622" y="26652"/>
                  </a:moveTo>
                  <a:cubicBezTo>
                    <a:pt x="64196" y="26348"/>
                    <a:pt x="65275" y="26449"/>
                    <a:pt x="53658" y="27128"/>
                  </a:cubicBezTo>
                  <a:cubicBezTo>
                    <a:pt x="50675" y="20327"/>
                    <a:pt x="53845" y="16073"/>
                    <a:pt x="54645" y="10543"/>
                  </a:cubicBezTo>
                  <a:cubicBezTo>
                    <a:pt x="52564" y="-7870"/>
                    <a:pt x="45140" y="-9627"/>
                    <a:pt x="37265" y="1114"/>
                  </a:cubicBezTo>
                  <a:cubicBezTo>
                    <a:pt x="35614" y="3352"/>
                    <a:pt x="32864" y="4486"/>
                    <a:pt x="30150" y="3939"/>
                  </a:cubicBezTo>
                  <a:cubicBezTo>
                    <a:pt x="22103" y="2329"/>
                    <a:pt x="25440" y="10376"/>
                    <a:pt x="16456" y="7029"/>
                  </a:cubicBezTo>
                  <a:cubicBezTo>
                    <a:pt x="13413" y="5899"/>
                    <a:pt x="9914" y="6730"/>
                    <a:pt x="7701" y="9095"/>
                  </a:cubicBezTo>
                  <a:cubicBezTo>
                    <a:pt x="2095" y="14923"/>
                    <a:pt x="-20091" y="-6711"/>
                    <a:pt x="9503" y="85401"/>
                  </a:cubicBezTo>
                  <a:cubicBezTo>
                    <a:pt x="22073" y="89883"/>
                    <a:pt x="34774" y="85507"/>
                    <a:pt x="47140" y="80388"/>
                  </a:cubicBezTo>
                  <a:cubicBezTo>
                    <a:pt x="52701" y="62121"/>
                    <a:pt x="70126" y="36937"/>
                    <a:pt x="64622" y="26652"/>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8" name="Freeform: Shape 417">
              <a:extLst>
                <a:ext uri="{FF2B5EF4-FFF2-40B4-BE49-F238E27FC236}">
                  <a16:creationId xmlns:a16="http://schemas.microsoft.com/office/drawing/2014/main" id="{B8A1C1A2-E597-F644-9465-AA3329FD561B}"/>
                </a:ext>
              </a:extLst>
            </p:cNvPr>
            <p:cNvSpPr/>
            <p:nvPr/>
          </p:nvSpPr>
          <p:spPr>
            <a:xfrm flipV="1">
              <a:off x="5139118" y="3317673"/>
              <a:ext cx="917323" cy="451168"/>
            </a:xfrm>
            <a:custGeom>
              <a:avLst/>
              <a:gdLst>
                <a:gd name="connsiteX0" fmla="*/ 910220 w 917323"/>
                <a:gd name="connsiteY0" fmla="*/ 385227 h 451168"/>
                <a:gd name="connsiteX1" fmla="*/ 675163 w 917323"/>
                <a:gd name="connsiteY1" fmla="*/ 299349 h 451168"/>
                <a:gd name="connsiteX2" fmla="*/ 623215 w 917323"/>
                <a:gd name="connsiteY2" fmla="*/ 295683 h 451168"/>
                <a:gd name="connsiteX3" fmla="*/ 490287 w 917323"/>
                <a:gd name="connsiteY3" fmla="*/ 322867 h 451168"/>
                <a:gd name="connsiteX4" fmla="*/ 505773 w 917323"/>
                <a:gd name="connsiteY4" fmla="*/ 233921 h 451168"/>
                <a:gd name="connsiteX5" fmla="*/ 514549 w 917323"/>
                <a:gd name="connsiteY5" fmla="*/ 95412 h 451168"/>
                <a:gd name="connsiteX6" fmla="*/ 514655 w 917323"/>
                <a:gd name="connsiteY6" fmla="*/ 95630 h 451168"/>
                <a:gd name="connsiteX7" fmla="*/ 517066 w 917323"/>
                <a:gd name="connsiteY7" fmla="*/ 66749 h 451168"/>
                <a:gd name="connsiteX8" fmla="*/ 521239 w 917323"/>
                <a:gd name="connsiteY8" fmla="*/ 45338 h 451168"/>
                <a:gd name="connsiteX9" fmla="*/ 510715 w 917323"/>
                <a:gd name="connsiteY9" fmla="*/ 7250 h 451168"/>
                <a:gd name="connsiteX10" fmla="*/ 511379 w 917323"/>
                <a:gd name="connsiteY10" fmla="*/ -3055 h 451168"/>
                <a:gd name="connsiteX11" fmla="*/ 407681 w 917323"/>
                <a:gd name="connsiteY11" fmla="*/ -4711 h 451168"/>
                <a:gd name="connsiteX12" fmla="*/ 301607 w 917323"/>
                <a:gd name="connsiteY12" fmla="*/ 10633 h 451168"/>
                <a:gd name="connsiteX13" fmla="*/ 302949 w 917323"/>
                <a:gd name="connsiteY13" fmla="*/ 24089 h 451168"/>
                <a:gd name="connsiteX14" fmla="*/ 300407 w 917323"/>
                <a:gd name="connsiteY14" fmla="*/ 27664 h 451168"/>
                <a:gd name="connsiteX15" fmla="*/ 290031 w 917323"/>
                <a:gd name="connsiteY15" fmla="*/ 55228 h 451168"/>
                <a:gd name="connsiteX16" fmla="*/ 295490 w 917323"/>
                <a:gd name="connsiteY16" fmla="*/ 80543 h 451168"/>
                <a:gd name="connsiteX17" fmla="*/ 295535 w 917323"/>
                <a:gd name="connsiteY17" fmla="*/ 80918 h 451168"/>
                <a:gd name="connsiteX18" fmla="*/ 247320 w 917323"/>
                <a:gd name="connsiteY18" fmla="*/ 292199 h 451168"/>
                <a:gd name="connsiteX19" fmla="*/ 97984 w 917323"/>
                <a:gd name="connsiteY19" fmla="*/ 236063 h 451168"/>
                <a:gd name="connsiteX20" fmla="*/ 50588 w 917323"/>
                <a:gd name="connsiteY20" fmla="*/ 19997 h 451168"/>
                <a:gd name="connsiteX21" fmla="*/ -6292 w 917323"/>
                <a:gd name="connsiteY21" fmla="*/ 28570 h 451168"/>
                <a:gd name="connsiteX22" fmla="*/ 28595 w 917323"/>
                <a:gd name="connsiteY22" fmla="*/ 260386 h 451168"/>
                <a:gd name="connsiteX23" fmla="*/ 77803 w 917323"/>
                <a:gd name="connsiteY23" fmla="*/ 322118 h 451168"/>
                <a:gd name="connsiteX24" fmla="*/ 228390 w 917323"/>
                <a:gd name="connsiteY24" fmla="*/ 402880 h 451168"/>
                <a:gd name="connsiteX25" fmla="*/ 229069 w 917323"/>
                <a:gd name="connsiteY25" fmla="*/ 403270 h 451168"/>
                <a:gd name="connsiteX26" fmla="*/ 412497 w 917323"/>
                <a:gd name="connsiteY26" fmla="*/ 444528 h 451168"/>
                <a:gd name="connsiteX27" fmla="*/ 474168 w 917323"/>
                <a:gd name="connsiteY27" fmla="*/ 439276 h 451168"/>
                <a:gd name="connsiteX28" fmla="*/ 654628 w 917323"/>
                <a:gd name="connsiteY28" fmla="*/ 384645 h 451168"/>
                <a:gd name="connsiteX29" fmla="*/ 892181 w 917323"/>
                <a:gd name="connsiteY29" fmla="*/ 439033 h 451168"/>
                <a:gd name="connsiteX30" fmla="*/ 910220 w 917323"/>
                <a:gd name="connsiteY30" fmla="*/ 385227 h 4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7323" h="451168">
                  <a:moveTo>
                    <a:pt x="910220" y="385227"/>
                  </a:moveTo>
                  <a:lnTo>
                    <a:pt x="675163" y="299349"/>
                  </a:lnTo>
                  <a:cubicBezTo>
                    <a:pt x="658391" y="293824"/>
                    <a:pt x="640560" y="292609"/>
                    <a:pt x="623215" y="295683"/>
                  </a:cubicBezTo>
                  <a:lnTo>
                    <a:pt x="490287" y="322867"/>
                  </a:lnTo>
                  <a:cubicBezTo>
                    <a:pt x="499772" y="294371"/>
                    <a:pt x="505013" y="264437"/>
                    <a:pt x="505773" y="233921"/>
                  </a:cubicBezTo>
                  <a:lnTo>
                    <a:pt x="514549" y="95412"/>
                  </a:lnTo>
                  <a:lnTo>
                    <a:pt x="514655" y="95630"/>
                  </a:lnTo>
                  <a:cubicBezTo>
                    <a:pt x="514893" y="86418"/>
                    <a:pt x="516038" y="75261"/>
                    <a:pt x="517066" y="66749"/>
                  </a:cubicBezTo>
                  <a:cubicBezTo>
                    <a:pt x="517942" y="59517"/>
                    <a:pt x="519487" y="52412"/>
                    <a:pt x="521239" y="45338"/>
                  </a:cubicBezTo>
                  <a:cubicBezTo>
                    <a:pt x="529463" y="12066"/>
                    <a:pt x="510715" y="7250"/>
                    <a:pt x="510715" y="7250"/>
                  </a:cubicBezTo>
                  <a:lnTo>
                    <a:pt x="511379" y="-3055"/>
                  </a:lnTo>
                  <a:cubicBezTo>
                    <a:pt x="478568" y="-6276"/>
                    <a:pt x="443666" y="-6980"/>
                    <a:pt x="407681" y="-4711"/>
                  </a:cubicBezTo>
                  <a:cubicBezTo>
                    <a:pt x="370409" y="-2372"/>
                    <a:pt x="334671" y="2951"/>
                    <a:pt x="301607" y="10633"/>
                  </a:cubicBezTo>
                  <a:cubicBezTo>
                    <a:pt x="302089" y="15135"/>
                    <a:pt x="302514" y="19637"/>
                    <a:pt x="302949" y="24089"/>
                  </a:cubicBezTo>
                  <a:lnTo>
                    <a:pt x="300407" y="27664"/>
                  </a:lnTo>
                  <a:cubicBezTo>
                    <a:pt x="294766" y="35766"/>
                    <a:pt x="287580" y="45763"/>
                    <a:pt x="290031" y="55228"/>
                  </a:cubicBezTo>
                  <a:cubicBezTo>
                    <a:pt x="291753" y="61791"/>
                    <a:pt x="293748" y="70395"/>
                    <a:pt x="295490" y="80543"/>
                  </a:cubicBezTo>
                  <a:lnTo>
                    <a:pt x="295535" y="80918"/>
                  </a:lnTo>
                  <a:cubicBezTo>
                    <a:pt x="296305" y="87031"/>
                    <a:pt x="310510" y="168269"/>
                    <a:pt x="247320" y="292199"/>
                  </a:cubicBezTo>
                  <a:lnTo>
                    <a:pt x="97984" y="236063"/>
                  </a:lnTo>
                  <a:lnTo>
                    <a:pt x="50588" y="19997"/>
                  </a:lnTo>
                  <a:cubicBezTo>
                    <a:pt x="18213" y="14274"/>
                    <a:pt x="-6292" y="28570"/>
                    <a:pt x="-6292" y="28570"/>
                  </a:cubicBezTo>
                  <a:lnTo>
                    <a:pt x="28595" y="260386"/>
                  </a:lnTo>
                  <a:cubicBezTo>
                    <a:pt x="33198" y="288087"/>
                    <a:pt x="51849" y="311407"/>
                    <a:pt x="77803" y="322118"/>
                  </a:cubicBezTo>
                  <a:lnTo>
                    <a:pt x="228390" y="402880"/>
                  </a:lnTo>
                  <a:lnTo>
                    <a:pt x="229069" y="403270"/>
                  </a:lnTo>
                  <a:cubicBezTo>
                    <a:pt x="277051" y="428019"/>
                    <a:pt x="370915" y="441110"/>
                    <a:pt x="412497" y="444528"/>
                  </a:cubicBezTo>
                  <a:cubicBezTo>
                    <a:pt x="433204" y="446189"/>
                    <a:pt x="453992" y="444422"/>
                    <a:pt x="474168" y="439276"/>
                  </a:cubicBezTo>
                  <a:lnTo>
                    <a:pt x="654628" y="384645"/>
                  </a:lnTo>
                  <a:lnTo>
                    <a:pt x="892181" y="439033"/>
                  </a:lnTo>
                  <a:cubicBezTo>
                    <a:pt x="892181" y="439033"/>
                    <a:pt x="915633" y="414710"/>
                    <a:pt x="910220" y="385227"/>
                  </a:cubicBezTo>
                </a:path>
              </a:pathLst>
            </a:custGeom>
            <a:solidFill>
              <a:srgbClr val="4DA5C3">
                <a:lumMod val="20000"/>
                <a:lumOff val="8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9" name="Freeform: Shape 418">
              <a:extLst>
                <a:ext uri="{FF2B5EF4-FFF2-40B4-BE49-F238E27FC236}">
                  <a16:creationId xmlns:a16="http://schemas.microsoft.com/office/drawing/2014/main" id="{F5B06556-543A-20FA-9ED1-B0ECC0081B06}"/>
                </a:ext>
              </a:extLst>
            </p:cNvPr>
            <p:cNvSpPr/>
            <p:nvPr/>
          </p:nvSpPr>
          <p:spPr>
            <a:xfrm flipV="1">
              <a:off x="5608115" y="3395182"/>
              <a:ext cx="32373" cy="52058"/>
            </a:xfrm>
            <a:custGeom>
              <a:avLst/>
              <a:gdLst>
                <a:gd name="connsiteX0" fmla="*/ 872 w 32373"/>
                <a:gd name="connsiteY0" fmla="*/ 44156 h 52058"/>
                <a:gd name="connsiteX1" fmla="*/ -4739 w 32373"/>
                <a:gd name="connsiteY1" fmla="*/ 44946 h 52058"/>
                <a:gd name="connsiteX2" fmla="*/ -5529 w 32373"/>
                <a:gd name="connsiteY2" fmla="*/ 39330 h 52058"/>
                <a:gd name="connsiteX3" fmla="*/ 18080 w 32373"/>
                <a:gd name="connsiteY3" fmla="*/ -3017 h 52058"/>
                <a:gd name="connsiteX4" fmla="*/ 22111 w 32373"/>
                <a:gd name="connsiteY4" fmla="*/ -6308 h 52058"/>
                <a:gd name="connsiteX5" fmla="*/ 22719 w 32373"/>
                <a:gd name="connsiteY5" fmla="*/ -6248 h 52058"/>
                <a:gd name="connsiteX6" fmla="*/ 25975 w 32373"/>
                <a:gd name="connsiteY6" fmla="*/ -1609 h 52058"/>
                <a:gd name="connsiteX7" fmla="*/ 872 w 32373"/>
                <a:gd name="connsiteY7" fmla="*/ 44156 h 5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73" h="52058">
                  <a:moveTo>
                    <a:pt x="872" y="44156"/>
                  </a:moveTo>
                  <a:cubicBezTo>
                    <a:pt x="-465" y="45928"/>
                    <a:pt x="-2977" y="46267"/>
                    <a:pt x="-4739" y="44946"/>
                  </a:cubicBezTo>
                  <a:cubicBezTo>
                    <a:pt x="-6512" y="43609"/>
                    <a:pt x="-6861" y="41097"/>
                    <a:pt x="-5529" y="39330"/>
                  </a:cubicBezTo>
                  <a:cubicBezTo>
                    <a:pt x="15041" y="12069"/>
                    <a:pt x="18044" y="-2814"/>
                    <a:pt x="18080" y="-3017"/>
                  </a:cubicBezTo>
                  <a:cubicBezTo>
                    <a:pt x="18439" y="-4987"/>
                    <a:pt x="20171" y="-6354"/>
                    <a:pt x="22111" y="-6308"/>
                  </a:cubicBezTo>
                  <a:lnTo>
                    <a:pt x="22719" y="-6248"/>
                  </a:lnTo>
                  <a:cubicBezTo>
                    <a:pt x="24901" y="-5868"/>
                    <a:pt x="26360" y="-3786"/>
                    <a:pt x="25975" y="-1609"/>
                  </a:cubicBezTo>
                  <a:cubicBezTo>
                    <a:pt x="25863" y="-940"/>
                    <a:pt x="22860" y="15017"/>
                    <a:pt x="872" y="44156"/>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0" name="Freeform: Shape 419">
              <a:extLst>
                <a:ext uri="{FF2B5EF4-FFF2-40B4-BE49-F238E27FC236}">
                  <a16:creationId xmlns:a16="http://schemas.microsoft.com/office/drawing/2014/main" id="{BD987F62-D6B4-508B-C2BB-93B7049B5B5E}"/>
                </a:ext>
              </a:extLst>
            </p:cNvPr>
            <p:cNvSpPr/>
            <p:nvPr/>
          </p:nvSpPr>
          <p:spPr>
            <a:xfrm flipV="1">
              <a:off x="5388684" y="3456227"/>
              <a:ext cx="35579" cy="18380"/>
            </a:xfrm>
            <a:custGeom>
              <a:avLst/>
              <a:gdLst>
                <a:gd name="connsiteX0" fmla="*/ 24192 w 35579"/>
                <a:gd name="connsiteY0" fmla="*/ 11915 h 18380"/>
                <a:gd name="connsiteX1" fmla="*/ -3362 w 35579"/>
                <a:gd name="connsiteY1" fmla="*/ 1554 h 18380"/>
                <a:gd name="connsiteX2" fmla="*/ -5707 w 35579"/>
                <a:gd name="connsiteY2" fmla="*/ -3612 h 18380"/>
                <a:gd name="connsiteX3" fmla="*/ -1858 w 35579"/>
                <a:gd name="connsiteY3" fmla="*/ -6210 h 18380"/>
                <a:gd name="connsiteX4" fmla="*/ -546 w 35579"/>
                <a:gd name="connsiteY4" fmla="*/ -5951 h 18380"/>
                <a:gd name="connsiteX5" fmla="*/ 27013 w 35579"/>
                <a:gd name="connsiteY5" fmla="*/ 4410 h 18380"/>
                <a:gd name="connsiteX6" fmla="*/ 29357 w 35579"/>
                <a:gd name="connsiteY6" fmla="*/ 9575 h 18380"/>
                <a:gd name="connsiteX7" fmla="*/ 24192 w 35579"/>
                <a:gd name="connsiteY7" fmla="*/ 11915 h 18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9" h="18380">
                  <a:moveTo>
                    <a:pt x="24192" y="11915"/>
                  </a:moveTo>
                  <a:lnTo>
                    <a:pt x="-3362" y="1554"/>
                  </a:lnTo>
                  <a:cubicBezTo>
                    <a:pt x="-5438" y="774"/>
                    <a:pt x="-6487" y="-1535"/>
                    <a:pt x="-5707" y="-3612"/>
                  </a:cubicBezTo>
                  <a:cubicBezTo>
                    <a:pt x="-5089" y="-5248"/>
                    <a:pt x="-3519" y="-6245"/>
                    <a:pt x="-1858" y="-6210"/>
                  </a:cubicBezTo>
                  <a:lnTo>
                    <a:pt x="-546" y="-5951"/>
                  </a:lnTo>
                  <a:lnTo>
                    <a:pt x="27013" y="4410"/>
                  </a:lnTo>
                  <a:cubicBezTo>
                    <a:pt x="29089" y="5190"/>
                    <a:pt x="30137" y="7499"/>
                    <a:pt x="29357" y="9575"/>
                  </a:cubicBezTo>
                  <a:cubicBezTo>
                    <a:pt x="28572" y="11641"/>
                    <a:pt x="26268" y="12690"/>
                    <a:pt x="24192" y="11915"/>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1" name="Freeform: Shape 420">
              <a:extLst>
                <a:ext uri="{FF2B5EF4-FFF2-40B4-BE49-F238E27FC236}">
                  <a16:creationId xmlns:a16="http://schemas.microsoft.com/office/drawing/2014/main" id="{198D78E4-CC0C-BDE9-5522-1D9AA5C64C8D}"/>
                </a:ext>
              </a:extLst>
            </p:cNvPr>
            <p:cNvSpPr/>
            <p:nvPr/>
          </p:nvSpPr>
          <p:spPr>
            <a:xfrm flipV="1">
              <a:off x="5440836" y="3250509"/>
              <a:ext cx="90085" cy="72834"/>
            </a:xfrm>
            <a:custGeom>
              <a:avLst/>
              <a:gdLst>
                <a:gd name="connsiteX0" fmla="*/ -1332 w 90085"/>
                <a:gd name="connsiteY0" fmla="*/ -3103 h 72834"/>
                <a:gd name="connsiteX1" fmla="*/ -5930 w 90085"/>
                <a:gd name="connsiteY1" fmla="*/ -2460 h 72834"/>
                <a:gd name="connsiteX2" fmla="*/ -5793 w 90085"/>
                <a:gd name="connsiteY2" fmla="*/ 22668 h 72834"/>
                <a:gd name="connsiteX3" fmla="*/ -5803 w 90085"/>
                <a:gd name="connsiteY3" fmla="*/ 22749 h 72834"/>
                <a:gd name="connsiteX4" fmla="*/ 60734 w 90085"/>
                <a:gd name="connsiteY4" fmla="*/ 43851 h 72834"/>
                <a:gd name="connsiteX5" fmla="*/ 61165 w 90085"/>
                <a:gd name="connsiteY5" fmla="*/ 42216 h 72834"/>
                <a:gd name="connsiteX6" fmla="*/ 83948 w 90085"/>
                <a:gd name="connsiteY6" fmla="*/ -5721 h 72834"/>
                <a:gd name="connsiteX7" fmla="*/ -1332 w 90085"/>
                <a:gd name="connsiteY7" fmla="*/ -3103 h 72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085" h="72834">
                  <a:moveTo>
                    <a:pt x="-1332" y="-3103"/>
                  </a:moveTo>
                  <a:lnTo>
                    <a:pt x="-5930" y="-2460"/>
                  </a:lnTo>
                  <a:lnTo>
                    <a:pt x="-5793" y="22668"/>
                  </a:lnTo>
                  <a:lnTo>
                    <a:pt x="-5803" y="22749"/>
                  </a:lnTo>
                  <a:cubicBezTo>
                    <a:pt x="-11278" y="106191"/>
                    <a:pt x="60734" y="43851"/>
                    <a:pt x="60734" y="43851"/>
                  </a:cubicBezTo>
                  <a:cubicBezTo>
                    <a:pt x="60876" y="43305"/>
                    <a:pt x="61023" y="42763"/>
                    <a:pt x="61165" y="42216"/>
                  </a:cubicBezTo>
                  <a:cubicBezTo>
                    <a:pt x="66659" y="23068"/>
                    <a:pt x="75476" y="6772"/>
                    <a:pt x="83948" y="-5721"/>
                  </a:cubicBezTo>
                  <a:cubicBezTo>
                    <a:pt x="86030" y="-8739"/>
                    <a:pt x="-1332" y="-3103"/>
                    <a:pt x="-1332" y="-3103"/>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2" name="Freeform: Shape 421">
              <a:extLst>
                <a:ext uri="{FF2B5EF4-FFF2-40B4-BE49-F238E27FC236}">
                  <a16:creationId xmlns:a16="http://schemas.microsoft.com/office/drawing/2014/main" id="{C204BF09-E1EC-5F4B-2AE3-401AE10E8F16}"/>
                </a:ext>
              </a:extLst>
            </p:cNvPr>
            <p:cNvSpPr/>
            <p:nvPr/>
          </p:nvSpPr>
          <p:spPr>
            <a:xfrm flipV="1">
              <a:off x="5471335" y="3274498"/>
              <a:ext cx="59554" cy="47972"/>
            </a:xfrm>
            <a:custGeom>
              <a:avLst/>
              <a:gdLst>
                <a:gd name="connsiteX0" fmla="*/ -6127 w 59554"/>
                <a:gd name="connsiteY0" fmla="*/ 32470 h 47972"/>
                <a:gd name="connsiteX1" fmla="*/ 53428 w 59554"/>
                <a:gd name="connsiteY1" fmla="*/ -6584 h 47972"/>
                <a:gd name="connsiteX2" fmla="*/ 30649 w 59554"/>
                <a:gd name="connsiteY2" fmla="*/ 41388 h 47972"/>
                <a:gd name="connsiteX3" fmla="*/ -6127 w 59554"/>
                <a:gd name="connsiteY3" fmla="*/ 32470 h 47972"/>
              </a:gdLst>
              <a:ahLst/>
              <a:cxnLst>
                <a:cxn ang="0">
                  <a:pos x="connsiteX0" y="connsiteY0"/>
                </a:cxn>
                <a:cxn ang="0">
                  <a:pos x="connsiteX1" y="connsiteY1"/>
                </a:cxn>
                <a:cxn ang="0">
                  <a:pos x="connsiteX2" y="connsiteY2"/>
                </a:cxn>
                <a:cxn ang="0">
                  <a:pos x="connsiteX3" y="connsiteY3"/>
                </a:cxn>
              </a:cxnLst>
              <a:rect l="l" t="t" r="r" b="b"/>
              <a:pathLst>
                <a:path w="59554" h="47972">
                  <a:moveTo>
                    <a:pt x="-6127" y="32470"/>
                  </a:moveTo>
                  <a:lnTo>
                    <a:pt x="53428" y="-6584"/>
                  </a:lnTo>
                  <a:cubicBezTo>
                    <a:pt x="44966" y="5929"/>
                    <a:pt x="36124" y="22205"/>
                    <a:pt x="30649" y="41388"/>
                  </a:cubicBezTo>
                  <a:lnTo>
                    <a:pt x="-6127" y="32470"/>
                  </a:ln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3" name="Freeform: Shape 422">
              <a:extLst>
                <a:ext uri="{FF2B5EF4-FFF2-40B4-BE49-F238E27FC236}">
                  <a16:creationId xmlns:a16="http://schemas.microsoft.com/office/drawing/2014/main" id="{4911CDFE-F2D4-5DDB-336B-F17F44F986DC}"/>
                </a:ext>
              </a:extLst>
            </p:cNvPr>
            <p:cNvSpPr/>
            <p:nvPr/>
          </p:nvSpPr>
          <p:spPr>
            <a:xfrm flipV="1">
              <a:off x="5395105" y="3144430"/>
              <a:ext cx="159030" cy="146358"/>
            </a:xfrm>
            <a:custGeom>
              <a:avLst/>
              <a:gdLst>
                <a:gd name="connsiteX0" fmla="*/ 141290 w 159030"/>
                <a:gd name="connsiteY0" fmla="*/ 6655 h 146358"/>
                <a:gd name="connsiteX1" fmla="*/ 139472 w 159030"/>
                <a:gd name="connsiteY1" fmla="*/ 5040 h 146358"/>
                <a:gd name="connsiteX2" fmla="*/ 114607 w 159030"/>
                <a:gd name="connsiteY2" fmla="*/ -5636 h 146358"/>
                <a:gd name="connsiteX3" fmla="*/ 68959 w 159030"/>
                <a:gd name="connsiteY3" fmla="*/ 168 h 146358"/>
                <a:gd name="connsiteX4" fmla="*/ 64801 w 159030"/>
                <a:gd name="connsiteY4" fmla="*/ 4082 h 146358"/>
                <a:gd name="connsiteX5" fmla="*/ 43436 w 159030"/>
                <a:gd name="connsiteY5" fmla="*/ 19108 h 146358"/>
                <a:gd name="connsiteX6" fmla="*/ -6081 w 159030"/>
                <a:gd name="connsiteY6" fmla="*/ 82116 h 146358"/>
                <a:gd name="connsiteX7" fmla="*/ 56917 w 159030"/>
                <a:gd name="connsiteY7" fmla="*/ 120249 h 146358"/>
                <a:gd name="connsiteX8" fmla="*/ 89965 w 159030"/>
                <a:gd name="connsiteY8" fmla="*/ 139594 h 146358"/>
                <a:gd name="connsiteX9" fmla="*/ 101334 w 159030"/>
                <a:gd name="connsiteY9" fmla="*/ 130265 h 146358"/>
                <a:gd name="connsiteX10" fmla="*/ 110693 w 159030"/>
                <a:gd name="connsiteY10" fmla="*/ 117737 h 146358"/>
                <a:gd name="connsiteX11" fmla="*/ 122659 w 159030"/>
                <a:gd name="connsiteY11" fmla="*/ 87230 h 146358"/>
                <a:gd name="connsiteX12" fmla="*/ 122644 w 159030"/>
                <a:gd name="connsiteY12" fmla="*/ 87175 h 146358"/>
                <a:gd name="connsiteX13" fmla="*/ 122694 w 159030"/>
                <a:gd name="connsiteY13" fmla="*/ 87165 h 146358"/>
                <a:gd name="connsiteX14" fmla="*/ 147696 w 159030"/>
                <a:gd name="connsiteY14" fmla="*/ 65698 h 146358"/>
                <a:gd name="connsiteX15" fmla="*/ 148061 w 159030"/>
                <a:gd name="connsiteY15" fmla="*/ 60071 h 146358"/>
                <a:gd name="connsiteX16" fmla="*/ 141346 w 159030"/>
                <a:gd name="connsiteY16" fmla="*/ 53959 h 146358"/>
                <a:gd name="connsiteX17" fmla="*/ 141290 w 159030"/>
                <a:gd name="connsiteY17" fmla="*/ 6655 h 146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9030" h="146358">
                  <a:moveTo>
                    <a:pt x="141290" y="6655"/>
                  </a:moveTo>
                  <a:cubicBezTo>
                    <a:pt x="140758" y="6098"/>
                    <a:pt x="140115" y="5571"/>
                    <a:pt x="139472" y="5040"/>
                  </a:cubicBezTo>
                  <a:cubicBezTo>
                    <a:pt x="132448" y="-804"/>
                    <a:pt x="123586" y="-4030"/>
                    <a:pt x="114607" y="-5636"/>
                  </a:cubicBezTo>
                  <a:cubicBezTo>
                    <a:pt x="99283" y="-8335"/>
                    <a:pt x="83199" y="-6117"/>
                    <a:pt x="68959" y="168"/>
                  </a:cubicBezTo>
                  <a:cubicBezTo>
                    <a:pt x="67531" y="1373"/>
                    <a:pt x="66123" y="2680"/>
                    <a:pt x="64801" y="4082"/>
                  </a:cubicBezTo>
                  <a:cubicBezTo>
                    <a:pt x="57342" y="8564"/>
                    <a:pt x="50186" y="13598"/>
                    <a:pt x="43436" y="19108"/>
                  </a:cubicBezTo>
                  <a:cubicBezTo>
                    <a:pt x="22480" y="36083"/>
                    <a:pt x="5348" y="57732"/>
                    <a:pt x="-6081" y="82116"/>
                  </a:cubicBezTo>
                  <a:cubicBezTo>
                    <a:pt x="12124" y="98220"/>
                    <a:pt x="33794" y="111321"/>
                    <a:pt x="56917" y="120249"/>
                  </a:cubicBezTo>
                  <a:cubicBezTo>
                    <a:pt x="69987" y="125262"/>
                    <a:pt x="89965" y="139594"/>
                    <a:pt x="89965" y="139594"/>
                  </a:cubicBezTo>
                  <a:cubicBezTo>
                    <a:pt x="91621" y="138849"/>
                    <a:pt x="99810" y="131547"/>
                    <a:pt x="101334" y="130265"/>
                  </a:cubicBezTo>
                  <a:cubicBezTo>
                    <a:pt x="104823" y="127141"/>
                    <a:pt x="107983" y="122669"/>
                    <a:pt x="110693" y="117737"/>
                  </a:cubicBezTo>
                  <a:cubicBezTo>
                    <a:pt x="118111" y="104529"/>
                    <a:pt x="122375" y="88208"/>
                    <a:pt x="122659" y="87230"/>
                  </a:cubicBezTo>
                  <a:lnTo>
                    <a:pt x="122644" y="87175"/>
                  </a:lnTo>
                  <a:lnTo>
                    <a:pt x="122694" y="87165"/>
                  </a:lnTo>
                  <a:lnTo>
                    <a:pt x="147696" y="65698"/>
                  </a:lnTo>
                  <a:cubicBezTo>
                    <a:pt x="149225" y="64189"/>
                    <a:pt x="149327" y="61768"/>
                    <a:pt x="148061" y="60071"/>
                  </a:cubicBezTo>
                  <a:lnTo>
                    <a:pt x="141346" y="53959"/>
                  </a:lnTo>
                  <a:cubicBezTo>
                    <a:pt x="141346" y="53959"/>
                    <a:pt x="167492" y="30482"/>
                    <a:pt x="141290" y="6655"/>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4" name="Freeform: Shape 423">
              <a:extLst>
                <a:ext uri="{FF2B5EF4-FFF2-40B4-BE49-F238E27FC236}">
                  <a16:creationId xmlns:a16="http://schemas.microsoft.com/office/drawing/2014/main" id="{3CBC893B-E099-5D68-F318-028FD1D8905C}"/>
                </a:ext>
              </a:extLst>
            </p:cNvPr>
            <p:cNvSpPr/>
            <p:nvPr/>
          </p:nvSpPr>
          <p:spPr>
            <a:xfrm flipV="1">
              <a:off x="5503223" y="3188822"/>
              <a:ext cx="10594" cy="14913"/>
            </a:xfrm>
            <a:custGeom>
              <a:avLst/>
              <a:gdLst>
                <a:gd name="connsiteX0" fmla="*/ -5227 w 10594"/>
                <a:gd name="connsiteY0" fmla="*/ -1157 h 14913"/>
                <a:gd name="connsiteX1" fmla="*/ 2131 w 10594"/>
                <a:gd name="connsiteY1" fmla="*/ -6591 h 14913"/>
                <a:gd name="connsiteX2" fmla="*/ 3539 w 10594"/>
                <a:gd name="connsiteY2" fmla="*/ 2444 h 14913"/>
                <a:gd name="connsiteX3" fmla="*/ -3819 w 10594"/>
                <a:gd name="connsiteY3" fmla="*/ 7877 h 14913"/>
                <a:gd name="connsiteX4" fmla="*/ -5227 w 10594"/>
                <a:gd name="connsiteY4" fmla="*/ -1157 h 1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4" h="14913">
                  <a:moveTo>
                    <a:pt x="-5227" y="-1157"/>
                  </a:moveTo>
                  <a:cubicBezTo>
                    <a:pt x="-3586" y="-5153"/>
                    <a:pt x="-289" y="-7584"/>
                    <a:pt x="2131" y="-6591"/>
                  </a:cubicBezTo>
                  <a:cubicBezTo>
                    <a:pt x="4552" y="-5593"/>
                    <a:pt x="5185" y="-1547"/>
                    <a:pt x="3539" y="2444"/>
                  </a:cubicBezTo>
                  <a:cubicBezTo>
                    <a:pt x="1899" y="6439"/>
                    <a:pt x="-1393" y="8875"/>
                    <a:pt x="-3819" y="7877"/>
                  </a:cubicBezTo>
                  <a:cubicBezTo>
                    <a:pt x="-6234" y="6885"/>
                    <a:pt x="-6867" y="2838"/>
                    <a:pt x="-5227" y="-1157"/>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5" name="Freeform: Shape 424">
              <a:extLst>
                <a:ext uri="{FF2B5EF4-FFF2-40B4-BE49-F238E27FC236}">
                  <a16:creationId xmlns:a16="http://schemas.microsoft.com/office/drawing/2014/main" id="{219D4D04-D17C-66F9-8241-44374590B4A6}"/>
                </a:ext>
              </a:extLst>
            </p:cNvPr>
            <p:cNvSpPr/>
            <p:nvPr/>
          </p:nvSpPr>
          <p:spPr>
            <a:xfrm flipV="1">
              <a:off x="5488472" y="3167499"/>
              <a:ext cx="14234" cy="24828"/>
            </a:xfrm>
            <a:custGeom>
              <a:avLst/>
              <a:gdLst>
                <a:gd name="connsiteX0" fmla="*/ -5934 w 14234"/>
                <a:gd name="connsiteY0" fmla="*/ -3881 h 24828"/>
                <a:gd name="connsiteX1" fmla="*/ 3278 w 14234"/>
                <a:gd name="connsiteY1" fmla="*/ 17333 h 24828"/>
                <a:gd name="connsiteX2" fmla="*/ 6777 w 14234"/>
                <a:gd name="connsiteY2" fmla="*/ 11869 h 24828"/>
                <a:gd name="connsiteX3" fmla="*/ 553 w 14234"/>
                <a:gd name="connsiteY3" fmla="*/ -3618 h 24828"/>
                <a:gd name="connsiteX4" fmla="*/ -5934 w 14234"/>
                <a:gd name="connsiteY4" fmla="*/ -3881 h 2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34" h="24828">
                  <a:moveTo>
                    <a:pt x="-5934" y="-3881"/>
                  </a:moveTo>
                  <a:cubicBezTo>
                    <a:pt x="-7003" y="4404"/>
                    <a:pt x="-3326" y="12355"/>
                    <a:pt x="3278" y="17333"/>
                  </a:cubicBezTo>
                  <a:cubicBezTo>
                    <a:pt x="6615" y="19850"/>
                    <a:pt x="10094" y="14375"/>
                    <a:pt x="6777" y="11869"/>
                  </a:cubicBezTo>
                  <a:cubicBezTo>
                    <a:pt x="1926" y="8212"/>
                    <a:pt x="-217" y="2328"/>
                    <a:pt x="553" y="-3618"/>
                  </a:cubicBezTo>
                  <a:cubicBezTo>
                    <a:pt x="1085" y="-7755"/>
                    <a:pt x="-5402" y="-8003"/>
                    <a:pt x="-5934" y="-3881"/>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6" name="Freeform: Shape 425">
              <a:extLst>
                <a:ext uri="{FF2B5EF4-FFF2-40B4-BE49-F238E27FC236}">
                  <a16:creationId xmlns:a16="http://schemas.microsoft.com/office/drawing/2014/main" id="{BA3778D3-471E-CF80-9D72-F82DC4E717E1}"/>
                </a:ext>
              </a:extLst>
            </p:cNvPr>
            <p:cNvSpPr/>
            <p:nvPr/>
          </p:nvSpPr>
          <p:spPr>
            <a:xfrm flipV="1">
              <a:off x="5446519" y="3224755"/>
              <a:ext cx="22186" cy="17705"/>
            </a:xfrm>
            <a:custGeom>
              <a:avLst/>
              <a:gdLst>
                <a:gd name="connsiteX0" fmla="*/ 15837 w 22186"/>
                <a:gd name="connsiteY0" fmla="*/ -6290 h 17705"/>
                <a:gd name="connsiteX1" fmla="*/ 14647 w 22186"/>
                <a:gd name="connsiteY1" fmla="*/ -6705 h 17705"/>
                <a:gd name="connsiteX2" fmla="*/ 7785 w 22186"/>
                <a:gd name="connsiteY2" fmla="*/ -2705 h 17705"/>
                <a:gd name="connsiteX3" fmla="*/ 10697 w 22186"/>
                <a:gd name="connsiteY3" fmla="*/ 1848 h 17705"/>
                <a:gd name="connsiteX4" fmla="*/ -4328 w 22186"/>
                <a:gd name="connsiteY4" fmla="*/ 7945 h 17705"/>
                <a:gd name="connsiteX5" fmla="*/ -5954 w 22186"/>
                <a:gd name="connsiteY5" fmla="*/ 8619 h 17705"/>
                <a:gd name="connsiteX6" fmla="*/ -5280 w 22186"/>
                <a:gd name="connsiteY6" fmla="*/ 10250 h 17705"/>
                <a:gd name="connsiteX7" fmla="*/ 12718 w 22186"/>
                <a:gd name="connsiteY7" fmla="*/ 3241 h 17705"/>
                <a:gd name="connsiteX8" fmla="*/ 13138 w 22186"/>
                <a:gd name="connsiteY8" fmla="*/ 1372 h 17705"/>
                <a:gd name="connsiteX9" fmla="*/ 12069 w 22186"/>
                <a:gd name="connsiteY9" fmla="*/ -243 h 17705"/>
                <a:gd name="connsiteX10" fmla="*/ 10241 w 22186"/>
                <a:gd name="connsiteY10" fmla="*/ -2223 h 17705"/>
                <a:gd name="connsiteX11" fmla="*/ 15128 w 22186"/>
                <a:gd name="connsiteY11" fmla="*/ -4259 h 17705"/>
                <a:gd name="connsiteX12" fmla="*/ 16111 w 22186"/>
                <a:gd name="connsiteY12" fmla="*/ -5723 h 17705"/>
                <a:gd name="connsiteX13" fmla="*/ 15837 w 22186"/>
                <a:gd name="connsiteY13" fmla="*/ -6290 h 1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186" h="17705">
                  <a:moveTo>
                    <a:pt x="15837" y="-6290"/>
                  </a:moveTo>
                  <a:cubicBezTo>
                    <a:pt x="15559" y="-6624"/>
                    <a:pt x="15108" y="-6796"/>
                    <a:pt x="14647" y="-6705"/>
                  </a:cubicBezTo>
                  <a:cubicBezTo>
                    <a:pt x="10338" y="-5864"/>
                    <a:pt x="8160" y="-4593"/>
                    <a:pt x="7785" y="-2705"/>
                  </a:cubicBezTo>
                  <a:cubicBezTo>
                    <a:pt x="7578" y="-1641"/>
                    <a:pt x="7917" y="10"/>
                    <a:pt x="10697" y="1848"/>
                  </a:cubicBezTo>
                  <a:cubicBezTo>
                    <a:pt x="3906" y="11202"/>
                    <a:pt x="-4247" y="7976"/>
                    <a:pt x="-4328" y="7945"/>
                  </a:cubicBezTo>
                  <a:cubicBezTo>
                    <a:pt x="-4966" y="7677"/>
                    <a:pt x="-5695" y="7981"/>
                    <a:pt x="-5954" y="8619"/>
                  </a:cubicBezTo>
                  <a:cubicBezTo>
                    <a:pt x="-6222" y="9257"/>
                    <a:pt x="-5923" y="9986"/>
                    <a:pt x="-5280" y="10250"/>
                  </a:cubicBezTo>
                  <a:cubicBezTo>
                    <a:pt x="-5179" y="10295"/>
                    <a:pt x="4797" y="14245"/>
                    <a:pt x="12718" y="3241"/>
                  </a:cubicBezTo>
                  <a:cubicBezTo>
                    <a:pt x="13103" y="2709"/>
                    <a:pt x="13255" y="2025"/>
                    <a:pt x="13138" y="1372"/>
                  </a:cubicBezTo>
                  <a:cubicBezTo>
                    <a:pt x="13017" y="709"/>
                    <a:pt x="12627" y="131"/>
                    <a:pt x="12069" y="-243"/>
                  </a:cubicBezTo>
                  <a:cubicBezTo>
                    <a:pt x="10631" y="-1190"/>
                    <a:pt x="10186" y="-1955"/>
                    <a:pt x="10241" y="-2223"/>
                  </a:cubicBezTo>
                  <a:cubicBezTo>
                    <a:pt x="10252" y="-2269"/>
                    <a:pt x="10510" y="-3353"/>
                    <a:pt x="15128" y="-4259"/>
                  </a:cubicBezTo>
                  <a:cubicBezTo>
                    <a:pt x="15802" y="-4391"/>
                    <a:pt x="16242" y="-5044"/>
                    <a:pt x="16111" y="-5723"/>
                  </a:cubicBezTo>
                  <a:lnTo>
                    <a:pt x="15837" y="-6290"/>
                  </a:lnTo>
                </a:path>
              </a:pathLst>
            </a:custGeom>
            <a:solidFill>
              <a:srgbClr val="E8E4E2">
                <a:lumMod val="5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7" name="Freeform: Shape 426">
              <a:extLst>
                <a:ext uri="{FF2B5EF4-FFF2-40B4-BE49-F238E27FC236}">
                  <a16:creationId xmlns:a16="http://schemas.microsoft.com/office/drawing/2014/main" id="{A815255C-587A-C9D7-8A9A-AD58951EF85B}"/>
                </a:ext>
              </a:extLst>
            </p:cNvPr>
            <p:cNvSpPr/>
            <p:nvPr/>
          </p:nvSpPr>
          <p:spPr>
            <a:xfrm flipV="1">
              <a:off x="5454629" y="3254560"/>
              <a:ext cx="21588" cy="8618"/>
            </a:xfrm>
            <a:custGeom>
              <a:avLst/>
              <a:gdLst>
                <a:gd name="connsiteX0" fmla="*/ 15523 w 21588"/>
                <a:gd name="connsiteY0" fmla="*/ 1945 h 8618"/>
                <a:gd name="connsiteX1" fmla="*/ -6065 w 21588"/>
                <a:gd name="connsiteY1" fmla="*/ -4912 h 8618"/>
                <a:gd name="connsiteX2" fmla="*/ -733 w 21588"/>
                <a:gd name="connsiteY2" fmla="*/ 56 h 8618"/>
                <a:gd name="connsiteX3" fmla="*/ 15523 w 21588"/>
                <a:gd name="connsiteY3" fmla="*/ 1945 h 8618"/>
              </a:gdLst>
              <a:ahLst/>
              <a:cxnLst>
                <a:cxn ang="0">
                  <a:pos x="connsiteX0" y="connsiteY0"/>
                </a:cxn>
                <a:cxn ang="0">
                  <a:pos x="connsiteX1" y="connsiteY1"/>
                </a:cxn>
                <a:cxn ang="0">
                  <a:pos x="connsiteX2" y="connsiteY2"/>
                </a:cxn>
                <a:cxn ang="0">
                  <a:pos x="connsiteX3" y="connsiteY3"/>
                </a:cxn>
              </a:cxnLst>
              <a:rect l="l" t="t" r="r" b="b"/>
              <a:pathLst>
                <a:path w="21588" h="8618">
                  <a:moveTo>
                    <a:pt x="15523" y="1945"/>
                  </a:moveTo>
                  <a:cubicBezTo>
                    <a:pt x="14328" y="-2526"/>
                    <a:pt x="7856" y="-10128"/>
                    <a:pt x="-6065" y="-4912"/>
                  </a:cubicBezTo>
                  <a:cubicBezTo>
                    <a:pt x="-6065" y="-4912"/>
                    <a:pt x="-5372" y="522"/>
                    <a:pt x="-733" y="56"/>
                  </a:cubicBezTo>
                  <a:cubicBezTo>
                    <a:pt x="-733" y="56"/>
                    <a:pt x="13356" y="-2405"/>
                    <a:pt x="15523" y="1945"/>
                  </a:cubicBezTo>
                </a:path>
              </a:pathLst>
            </a:custGeom>
            <a:solidFill>
              <a:srgbClr val="E8E4E2">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8" name="Freeform: Shape 427">
              <a:extLst>
                <a:ext uri="{FF2B5EF4-FFF2-40B4-BE49-F238E27FC236}">
                  <a16:creationId xmlns:a16="http://schemas.microsoft.com/office/drawing/2014/main" id="{A3E170E2-E2B4-1E89-4C66-8379941C920E}"/>
                </a:ext>
              </a:extLst>
            </p:cNvPr>
            <p:cNvSpPr/>
            <p:nvPr/>
          </p:nvSpPr>
          <p:spPr>
            <a:xfrm flipV="1">
              <a:off x="5513051" y="3244779"/>
              <a:ext cx="24947" cy="19270"/>
            </a:xfrm>
            <a:custGeom>
              <a:avLst/>
              <a:gdLst>
                <a:gd name="connsiteX0" fmla="*/ -3436 w 24947"/>
                <a:gd name="connsiteY0" fmla="*/ 10873 h 19270"/>
                <a:gd name="connsiteX1" fmla="*/ 16031 w 24947"/>
                <a:gd name="connsiteY1" fmla="*/ 12159 h 19270"/>
                <a:gd name="connsiteX2" fmla="*/ 18472 w 24947"/>
                <a:gd name="connsiteY2" fmla="*/ 9885 h 19270"/>
                <a:gd name="connsiteX3" fmla="*/ -5983 w 24947"/>
                <a:gd name="connsiteY3" fmla="*/ 8295 h 19270"/>
                <a:gd name="connsiteX4" fmla="*/ -3436 w 24947"/>
                <a:gd name="connsiteY4" fmla="*/ 10873 h 19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7" h="19270">
                  <a:moveTo>
                    <a:pt x="-3436" y="10873"/>
                  </a:moveTo>
                  <a:cubicBezTo>
                    <a:pt x="924" y="8523"/>
                    <a:pt x="8576" y="6118"/>
                    <a:pt x="16031" y="12159"/>
                  </a:cubicBezTo>
                  <a:cubicBezTo>
                    <a:pt x="17509" y="13359"/>
                    <a:pt x="18031" y="11855"/>
                    <a:pt x="18472" y="9885"/>
                  </a:cubicBezTo>
                  <a:cubicBezTo>
                    <a:pt x="20791" y="-516"/>
                    <a:pt x="9716" y="-20682"/>
                    <a:pt x="-5983" y="8295"/>
                  </a:cubicBezTo>
                  <a:cubicBezTo>
                    <a:pt x="-6788" y="9779"/>
                    <a:pt x="-4788" y="11602"/>
                    <a:pt x="-3436" y="10873"/>
                  </a:cubicBezTo>
                </a:path>
              </a:pathLst>
            </a:custGeom>
            <a:solidFill>
              <a:srgbClr val="FFFFFF"/>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9" name="Freeform: Shape 428">
              <a:extLst>
                <a:ext uri="{FF2B5EF4-FFF2-40B4-BE49-F238E27FC236}">
                  <a16:creationId xmlns:a16="http://schemas.microsoft.com/office/drawing/2014/main" id="{24DB1792-9ECB-D952-81E9-6B20593943AB}"/>
                </a:ext>
              </a:extLst>
            </p:cNvPr>
            <p:cNvSpPr/>
            <p:nvPr/>
          </p:nvSpPr>
          <p:spPr>
            <a:xfrm flipV="1">
              <a:off x="5378443" y="3103466"/>
              <a:ext cx="124880" cy="186714"/>
            </a:xfrm>
            <a:custGeom>
              <a:avLst/>
              <a:gdLst>
                <a:gd name="connsiteX0" fmla="*/ 108269 w 124880"/>
                <a:gd name="connsiteY0" fmla="*/ 178703 h 186714"/>
                <a:gd name="connsiteX1" fmla="*/ 100527 w 124880"/>
                <a:gd name="connsiteY1" fmla="*/ 178530 h 186714"/>
                <a:gd name="connsiteX2" fmla="*/ 78016 w 124880"/>
                <a:gd name="connsiteY2" fmla="*/ 169096 h 186714"/>
                <a:gd name="connsiteX3" fmla="*/ 49277 w 124880"/>
                <a:gd name="connsiteY3" fmla="*/ 164513 h 186714"/>
                <a:gd name="connsiteX4" fmla="*/ 24843 w 124880"/>
                <a:gd name="connsiteY4" fmla="*/ 149812 h 186714"/>
                <a:gd name="connsiteX5" fmla="*/ 22442 w 124880"/>
                <a:gd name="connsiteY5" fmla="*/ 145689 h 186714"/>
                <a:gd name="connsiteX6" fmla="*/ 20002 w 124880"/>
                <a:gd name="connsiteY6" fmla="*/ 150101 h 186714"/>
                <a:gd name="connsiteX7" fmla="*/ 14791 w 124880"/>
                <a:gd name="connsiteY7" fmla="*/ 149640 h 186714"/>
                <a:gd name="connsiteX8" fmla="*/ 16477 w 124880"/>
                <a:gd name="connsiteY8" fmla="*/ 114029 h 186714"/>
                <a:gd name="connsiteX9" fmla="*/ -3298 w 124880"/>
                <a:gd name="connsiteY9" fmla="*/ 92481 h 186714"/>
                <a:gd name="connsiteX10" fmla="*/ -67 w 124880"/>
                <a:gd name="connsiteY10" fmla="*/ 88612 h 186714"/>
                <a:gd name="connsiteX11" fmla="*/ 2738 w 124880"/>
                <a:gd name="connsiteY11" fmla="*/ 89331 h 186714"/>
                <a:gd name="connsiteX12" fmla="*/ 1477 w 124880"/>
                <a:gd name="connsiteY12" fmla="*/ 87766 h 186714"/>
                <a:gd name="connsiteX13" fmla="*/ -5750 w 124880"/>
                <a:gd name="connsiteY13" fmla="*/ 63585 h 186714"/>
                <a:gd name="connsiteX14" fmla="*/ 11342 w 124880"/>
                <a:gd name="connsiteY14" fmla="*/ 37489 h 186714"/>
                <a:gd name="connsiteX15" fmla="*/ 56443 w 124880"/>
                <a:gd name="connsiteY15" fmla="*/ -6812 h 186714"/>
                <a:gd name="connsiteX16" fmla="*/ 75819 w 124880"/>
                <a:gd name="connsiteY16" fmla="*/ 26814 h 186714"/>
                <a:gd name="connsiteX17" fmla="*/ 61284 w 124880"/>
                <a:gd name="connsiteY17" fmla="*/ 35459 h 186714"/>
                <a:gd name="connsiteX18" fmla="*/ 54934 w 124880"/>
                <a:gd name="connsiteY18" fmla="*/ 50489 h 186714"/>
                <a:gd name="connsiteX19" fmla="*/ 63867 w 124880"/>
                <a:gd name="connsiteY19" fmla="*/ 63534 h 186714"/>
                <a:gd name="connsiteX20" fmla="*/ 80949 w 124880"/>
                <a:gd name="connsiteY20" fmla="*/ 62000 h 186714"/>
                <a:gd name="connsiteX21" fmla="*/ 73925 w 124880"/>
                <a:gd name="connsiteY21" fmla="*/ 113051 h 186714"/>
                <a:gd name="connsiteX22" fmla="*/ 103296 w 124880"/>
                <a:gd name="connsiteY22" fmla="*/ 127180 h 186714"/>
                <a:gd name="connsiteX23" fmla="*/ 118798 w 124880"/>
                <a:gd name="connsiteY23" fmla="*/ 154744 h 186714"/>
                <a:gd name="connsiteX24" fmla="*/ 108269 w 124880"/>
                <a:gd name="connsiteY24" fmla="*/ 178703 h 1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4880" h="186714">
                  <a:moveTo>
                    <a:pt x="108269" y="178703"/>
                  </a:moveTo>
                  <a:cubicBezTo>
                    <a:pt x="106001" y="180399"/>
                    <a:pt x="102780" y="180257"/>
                    <a:pt x="100527" y="178530"/>
                  </a:cubicBezTo>
                  <a:cubicBezTo>
                    <a:pt x="94024" y="173542"/>
                    <a:pt x="86160" y="170585"/>
                    <a:pt x="78016" y="169096"/>
                  </a:cubicBezTo>
                  <a:cubicBezTo>
                    <a:pt x="68470" y="167354"/>
                    <a:pt x="58697" y="166848"/>
                    <a:pt x="49277" y="164513"/>
                  </a:cubicBezTo>
                  <a:cubicBezTo>
                    <a:pt x="39853" y="162173"/>
                    <a:pt x="30500" y="157697"/>
                    <a:pt x="24843" y="149812"/>
                  </a:cubicBezTo>
                  <a:cubicBezTo>
                    <a:pt x="23911" y="148510"/>
                    <a:pt x="23146" y="147113"/>
                    <a:pt x="22442" y="145689"/>
                  </a:cubicBezTo>
                  <a:lnTo>
                    <a:pt x="20002" y="150101"/>
                  </a:lnTo>
                  <a:cubicBezTo>
                    <a:pt x="18812" y="152258"/>
                    <a:pt x="15566" y="151979"/>
                    <a:pt x="14791" y="149640"/>
                  </a:cubicBezTo>
                  <a:cubicBezTo>
                    <a:pt x="9635" y="134052"/>
                    <a:pt x="13130" y="121356"/>
                    <a:pt x="16477" y="114029"/>
                  </a:cubicBezTo>
                  <a:cubicBezTo>
                    <a:pt x="16477" y="114029"/>
                    <a:pt x="3882" y="108261"/>
                    <a:pt x="-3298" y="92481"/>
                  </a:cubicBezTo>
                  <a:cubicBezTo>
                    <a:pt x="-4266" y="90359"/>
                    <a:pt x="-2321" y="88034"/>
                    <a:pt x="-67" y="88612"/>
                  </a:cubicBezTo>
                  <a:lnTo>
                    <a:pt x="2738" y="89331"/>
                  </a:lnTo>
                  <a:cubicBezTo>
                    <a:pt x="2328" y="88809"/>
                    <a:pt x="1862" y="88283"/>
                    <a:pt x="1477" y="87766"/>
                  </a:cubicBezTo>
                  <a:cubicBezTo>
                    <a:pt x="-3683" y="80838"/>
                    <a:pt x="-7031" y="72123"/>
                    <a:pt x="-5750" y="63585"/>
                  </a:cubicBezTo>
                  <a:cubicBezTo>
                    <a:pt x="-4180" y="53107"/>
                    <a:pt x="3786" y="44913"/>
                    <a:pt x="11342" y="37489"/>
                  </a:cubicBezTo>
                  <a:cubicBezTo>
                    <a:pt x="26377" y="22722"/>
                    <a:pt x="41408" y="7955"/>
                    <a:pt x="56443" y="-6812"/>
                  </a:cubicBezTo>
                  <a:cubicBezTo>
                    <a:pt x="59132" y="6254"/>
                    <a:pt x="65716" y="18099"/>
                    <a:pt x="75819" y="26814"/>
                  </a:cubicBezTo>
                  <a:cubicBezTo>
                    <a:pt x="70562" y="28723"/>
                    <a:pt x="65199" y="31463"/>
                    <a:pt x="61284" y="35459"/>
                  </a:cubicBezTo>
                  <a:cubicBezTo>
                    <a:pt x="57365" y="39449"/>
                    <a:pt x="54716" y="44898"/>
                    <a:pt x="54934" y="50489"/>
                  </a:cubicBezTo>
                  <a:cubicBezTo>
                    <a:pt x="55157" y="56075"/>
                    <a:pt x="58606" y="61635"/>
                    <a:pt x="63867" y="63534"/>
                  </a:cubicBezTo>
                  <a:cubicBezTo>
                    <a:pt x="69256" y="65484"/>
                    <a:pt x="75581" y="63990"/>
                    <a:pt x="80949" y="62000"/>
                  </a:cubicBezTo>
                  <a:cubicBezTo>
                    <a:pt x="80949" y="62000"/>
                    <a:pt x="95052" y="90673"/>
                    <a:pt x="73925" y="113051"/>
                  </a:cubicBezTo>
                  <a:cubicBezTo>
                    <a:pt x="84387" y="115897"/>
                    <a:pt x="94870" y="120354"/>
                    <a:pt x="103296" y="127180"/>
                  </a:cubicBezTo>
                  <a:cubicBezTo>
                    <a:pt x="111728" y="134012"/>
                    <a:pt x="118079" y="143922"/>
                    <a:pt x="118798" y="154744"/>
                  </a:cubicBezTo>
                  <a:cubicBezTo>
                    <a:pt x="119395" y="163819"/>
                    <a:pt x="115440" y="173340"/>
                    <a:pt x="108269" y="178703"/>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0" name="Freeform: Shape 429">
              <a:extLst>
                <a:ext uri="{FF2B5EF4-FFF2-40B4-BE49-F238E27FC236}">
                  <a16:creationId xmlns:a16="http://schemas.microsoft.com/office/drawing/2014/main" id="{18C935CE-03BF-8FBE-902A-A383685C54B2}"/>
                </a:ext>
              </a:extLst>
            </p:cNvPr>
            <p:cNvSpPr/>
            <p:nvPr/>
          </p:nvSpPr>
          <p:spPr>
            <a:xfrm flipV="1">
              <a:off x="5460665" y="3175217"/>
              <a:ext cx="65655" cy="46036"/>
            </a:xfrm>
            <a:custGeom>
              <a:avLst/>
              <a:gdLst>
                <a:gd name="connsiteX0" fmla="*/ 56834 w 65655"/>
                <a:gd name="connsiteY0" fmla="*/ 8966 h 46036"/>
                <a:gd name="connsiteX1" fmla="*/ 48103 w 65655"/>
                <a:gd name="connsiteY1" fmla="*/ -2717 h 46036"/>
                <a:gd name="connsiteX2" fmla="*/ 33534 w 65655"/>
                <a:gd name="connsiteY2" fmla="*/ -3405 h 46036"/>
                <a:gd name="connsiteX3" fmla="*/ 21521 w 65655"/>
                <a:gd name="connsiteY3" fmla="*/ 7432 h 46036"/>
                <a:gd name="connsiteX4" fmla="*/ 19278 w 65655"/>
                <a:gd name="connsiteY4" fmla="*/ 23450 h 46036"/>
                <a:gd name="connsiteX5" fmla="*/ 28003 w 65655"/>
                <a:gd name="connsiteY5" fmla="*/ 35133 h 46036"/>
                <a:gd name="connsiteX6" fmla="*/ 35473 w 65655"/>
                <a:gd name="connsiteY6" fmla="*/ 37077 h 46036"/>
                <a:gd name="connsiteX7" fmla="*/ 42568 w 65655"/>
                <a:gd name="connsiteY7" fmla="*/ 35826 h 46036"/>
                <a:gd name="connsiteX8" fmla="*/ 54585 w 65655"/>
                <a:gd name="connsiteY8" fmla="*/ 24984 h 46036"/>
                <a:gd name="connsiteX9" fmla="*/ 56834 w 65655"/>
                <a:gd name="connsiteY9" fmla="*/ 8966 h 46036"/>
                <a:gd name="connsiteX10" fmla="*/ 56469 w 65655"/>
                <a:gd name="connsiteY10" fmla="*/ 25987 h 46036"/>
                <a:gd name="connsiteX11" fmla="*/ 43328 w 65655"/>
                <a:gd name="connsiteY11" fmla="*/ 37822 h 46036"/>
                <a:gd name="connsiteX12" fmla="*/ 27001 w 65655"/>
                <a:gd name="connsiteY12" fmla="*/ 37022 h 46036"/>
                <a:gd name="connsiteX13" fmla="*/ 17192 w 65655"/>
                <a:gd name="connsiteY13" fmla="*/ 23946 h 46036"/>
                <a:gd name="connsiteX14" fmla="*/ 17293 w 65655"/>
                <a:gd name="connsiteY14" fmla="*/ 12962 h 46036"/>
                <a:gd name="connsiteX15" fmla="*/ -6113 w 65655"/>
                <a:gd name="connsiteY15" fmla="*/ -5507 h 46036"/>
                <a:gd name="connsiteX16" fmla="*/ -4017 w 65655"/>
                <a:gd name="connsiteY16" fmla="*/ -5917 h 46036"/>
                <a:gd name="connsiteX17" fmla="*/ 17774 w 65655"/>
                <a:gd name="connsiteY17" fmla="*/ 10881 h 46036"/>
                <a:gd name="connsiteX18" fmla="*/ 19632 w 65655"/>
                <a:gd name="connsiteY18" fmla="*/ 6429 h 46036"/>
                <a:gd name="connsiteX19" fmla="*/ 32779 w 65655"/>
                <a:gd name="connsiteY19" fmla="*/ -5401 h 46036"/>
                <a:gd name="connsiteX20" fmla="*/ 40684 w 65655"/>
                <a:gd name="connsiteY20" fmla="*/ -6803 h 46036"/>
                <a:gd name="connsiteX21" fmla="*/ 49106 w 65655"/>
                <a:gd name="connsiteY21" fmla="*/ -4605 h 46036"/>
                <a:gd name="connsiteX22" fmla="*/ 58910 w 65655"/>
                <a:gd name="connsiteY22" fmla="*/ 8475 h 46036"/>
                <a:gd name="connsiteX23" fmla="*/ 56469 w 65655"/>
                <a:gd name="connsiteY23" fmla="*/ 25987 h 4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655" h="46036">
                  <a:moveTo>
                    <a:pt x="56834" y="8966"/>
                  </a:moveTo>
                  <a:cubicBezTo>
                    <a:pt x="55593" y="3765"/>
                    <a:pt x="52494" y="-387"/>
                    <a:pt x="48103" y="-2717"/>
                  </a:cubicBezTo>
                  <a:cubicBezTo>
                    <a:pt x="43718" y="-5051"/>
                    <a:pt x="38532" y="-5294"/>
                    <a:pt x="33534" y="-3405"/>
                  </a:cubicBezTo>
                  <a:cubicBezTo>
                    <a:pt x="28485" y="-1496"/>
                    <a:pt x="24215" y="2353"/>
                    <a:pt x="21521" y="7432"/>
                  </a:cubicBezTo>
                  <a:cubicBezTo>
                    <a:pt x="18827" y="12511"/>
                    <a:pt x="18032" y="18198"/>
                    <a:pt x="19278" y="23450"/>
                  </a:cubicBezTo>
                  <a:cubicBezTo>
                    <a:pt x="20514" y="28656"/>
                    <a:pt x="23613" y="32803"/>
                    <a:pt x="28003" y="35133"/>
                  </a:cubicBezTo>
                  <a:cubicBezTo>
                    <a:pt x="30323" y="36368"/>
                    <a:pt x="32855" y="37017"/>
                    <a:pt x="35473" y="37077"/>
                  </a:cubicBezTo>
                  <a:cubicBezTo>
                    <a:pt x="37808" y="37133"/>
                    <a:pt x="40208" y="36713"/>
                    <a:pt x="42568" y="35826"/>
                  </a:cubicBezTo>
                  <a:cubicBezTo>
                    <a:pt x="47622" y="33912"/>
                    <a:pt x="51886" y="30064"/>
                    <a:pt x="54585" y="24984"/>
                  </a:cubicBezTo>
                  <a:cubicBezTo>
                    <a:pt x="57279" y="19910"/>
                    <a:pt x="58079" y="14218"/>
                    <a:pt x="56834" y="8966"/>
                  </a:cubicBezTo>
                  <a:close/>
                  <a:moveTo>
                    <a:pt x="56469" y="25987"/>
                  </a:moveTo>
                  <a:cubicBezTo>
                    <a:pt x="53532" y="31527"/>
                    <a:pt x="48863" y="35730"/>
                    <a:pt x="43328" y="37822"/>
                  </a:cubicBezTo>
                  <a:cubicBezTo>
                    <a:pt x="37737" y="39944"/>
                    <a:pt x="31943" y="39655"/>
                    <a:pt x="27001" y="37022"/>
                  </a:cubicBezTo>
                  <a:cubicBezTo>
                    <a:pt x="22053" y="34403"/>
                    <a:pt x="18574" y="29755"/>
                    <a:pt x="17192" y="23946"/>
                  </a:cubicBezTo>
                  <a:cubicBezTo>
                    <a:pt x="16341" y="20371"/>
                    <a:pt x="16457" y="16623"/>
                    <a:pt x="17293" y="12962"/>
                  </a:cubicBezTo>
                  <a:cubicBezTo>
                    <a:pt x="12857" y="12228"/>
                    <a:pt x="-3369" y="8586"/>
                    <a:pt x="-6113" y="-5507"/>
                  </a:cubicBezTo>
                  <a:lnTo>
                    <a:pt x="-4017" y="-5917"/>
                  </a:lnTo>
                  <a:cubicBezTo>
                    <a:pt x="-1495" y="7012"/>
                    <a:pt x="13930" y="10268"/>
                    <a:pt x="17774" y="10881"/>
                  </a:cubicBezTo>
                  <a:cubicBezTo>
                    <a:pt x="18255" y="9366"/>
                    <a:pt x="18868" y="7873"/>
                    <a:pt x="19632" y="6429"/>
                  </a:cubicBezTo>
                  <a:cubicBezTo>
                    <a:pt x="22575" y="889"/>
                    <a:pt x="27239" y="-3309"/>
                    <a:pt x="32779" y="-5401"/>
                  </a:cubicBezTo>
                  <a:cubicBezTo>
                    <a:pt x="35402" y="-6398"/>
                    <a:pt x="38076" y="-6864"/>
                    <a:pt x="40684" y="-6803"/>
                  </a:cubicBezTo>
                  <a:cubicBezTo>
                    <a:pt x="43626" y="-6733"/>
                    <a:pt x="46487" y="-5998"/>
                    <a:pt x="49106" y="-4605"/>
                  </a:cubicBezTo>
                  <a:cubicBezTo>
                    <a:pt x="54048" y="-1987"/>
                    <a:pt x="57527" y="2662"/>
                    <a:pt x="58910" y="8475"/>
                  </a:cubicBezTo>
                  <a:cubicBezTo>
                    <a:pt x="60277" y="14228"/>
                    <a:pt x="59411" y="20452"/>
                    <a:pt x="56469" y="25987"/>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1" name="Freeform: Shape 430">
              <a:extLst>
                <a:ext uri="{FF2B5EF4-FFF2-40B4-BE49-F238E27FC236}">
                  <a16:creationId xmlns:a16="http://schemas.microsoft.com/office/drawing/2014/main" id="{1C39C105-FF27-C5E5-4CB7-25125E2D9696}"/>
                </a:ext>
              </a:extLst>
            </p:cNvPr>
            <p:cNvSpPr/>
            <p:nvPr/>
          </p:nvSpPr>
          <p:spPr>
            <a:xfrm flipV="1">
              <a:off x="5530918" y="3323098"/>
              <a:ext cx="97679" cy="370861"/>
            </a:xfrm>
            <a:custGeom>
              <a:avLst/>
              <a:gdLst>
                <a:gd name="connsiteX0" fmla="*/ 821 w 97679"/>
                <a:gd name="connsiteY0" fmla="*/ 364748 h 370861"/>
                <a:gd name="connsiteX1" fmla="*/ 12296 w 97679"/>
                <a:gd name="connsiteY1" fmla="*/ 323809 h 370861"/>
                <a:gd name="connsiteX2" fmla="*/ 91307 w 97679"/>
                <a:gd name="connsiteY2" fmla="*/ 29882 h 370861"/>
                <a:gd name="connsiteX3" fmla="*/ 66741 w 97679"/>
                <a:gd name="connsiteY3" fmla="*/ -6114 h 370861"/>
                <a:gd name="connsiteX4" fmla="*/ 26390 w 97679"/>
                <a:gd name="connsiteY4" fmla="*/ 27041 h 370861"/>
                <a:gd name="connsiteX5" fmla="*/ 3540 w 97679"/>
                <a:gd name="connsiteY5" fmla="*/ 320477 h 370861"/>
                <a:gd name="connsiteX6" fmla="*/ 821 w 97679"/>
                <a:gd name="connsiteY6" fmla="*/ 364748 h 370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79" h="370861">
                  <a:moveTo>
                    <a:pt x="821" y="364748"/>
                  </a:moveTo>
                  <a:cubicBezTo>
                    <a:pt x="821" y="364748"/>
                    <a:pt x="20323" y="352386"/>
                    <a:pt x="12296" y="323809"/>
                  </a:cubicBezTo>
                  <a:cubicBezTo>
                    <a:pt x="12296" y="323809"/>
                    <a:pt x="94862" y="222476"/>
                    <a:pt x="91307" y="29882"/>
                  </a:cubicBezTo>
                  <a:lnTo>
                    <a:pt x="66741" y="-6114"/>
                  </a:lnTo>
                  <a:lnTo>
                    <a:pt x="26390" y="27041"/>
                  </a:lnTo>
                  <a:cubicBezTo>
                    <a:pt x="26390" y="27041"/>
                    <a:pt x="71096" y="225651"/>
                    <a:pt x="3540" y="320477"/>
                  </a:cubicBezTo>
                  <a:cubicBezTo>
                    <a:pt x="3540" y="320477"/>
                    <a:pt x="-16570" y="343706"/>
                    <a:pt x="821" y="364748"/>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2" name="Freeform: Shape 431">
              <a:extLst>
                <a:ext uri="{FF2B5EF4-FFF2-40B4-BE49-F238E27FC236}">
                  <a16:creationId xmlns:a16="http://schemas.microsoft.com/office/drawing/2014/main" id="{C75F792F-78B3-36ED-5154-BFDD29BD5442}"/>
                </a:ext>
              </a:extLst>
            </p:cNvPr>
            <p:cNvSpPr/>
            <p:nvPr/>
          </p:nvSpPr>
          <p:spPr>
            <a:xfrm flipV="1">
              <a:off x="5436605" y="3314818"/>
              <a:ext cx="101201" cy="47007"/>
            </a:xfrm>
            <a:custGeom>
              <a:avLst/>
              <a:gdLst>
                <a:gd name="connsiteX0" fmla="*/ -6103 w 101201"/>
                <a:gd name="connsiteY0" fmla="*/ 39753 h 47007"/>
                <a:gd name="connsiteX1" fmla="*/ 95099 w 101201"/>
                <a:gd name="connsiteY1" fmla="*/ 40513 h 47007"/>
                <a:gd name="connsiteX2" fmla="*/ 90060 w 101201"/>
                <a:gd name="connsiteY2" fmla="*/ -6472 h 47007"/>
                <a:gd name="connsiteX3" fmla="*/ -5257 w 101201"/>
                <a:gd name="connsiteY3" fmla="*/ 17592 h 47007"/>
                <a:gd name="connsiteX4" fmla="*/ -6103 w 101201"/>
                <a:gd name="connsiteY4" fmla="*/ 39753 h 47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01" h="47007">
                  <a:moveTo>
                    <a:pt x="-6103" y="39753"/>
                  </a:moveTo>
                  <a:lnTo>
                    <a:pt x="95099" y="40513"/>
                  </a:lnTo>
                  <a:cubicBezTo>
                    <a:pt x="95099" y="40513"/>
                    <a:pt x="90080" y="-7688"/>
                    <a:pt x="90060" y="-6472"/>
                  </a:cubicBezTo>
                  <a:cubicBezTo>
                    <a:pt x="90045" y="-5257"/>
                    <a:pt x="-5257" y="17592"/>
                    <a:pt x="-5257" y="17592"/>
                  </a:cubicBezTo>
                  <a:lnTo>
                    <a:pt x="-6103" y="39753"/>
                  </a:ln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3" name="Freeform: Shape 432">
              <a:extLst>
                <a:ext uri="{FF2B5EF4-FFF2-40B4-BE49-F238E27FC236}">
                  <a16:creationId xmlns:a16="http://schemas.microsoft.com/office/drawing/2014/main" id="{FC85D7A5-02CD-58C2-2099-92A8BF81BB9E}"/>
                </a:ext>
              </a:extLst>
            </p:cNvPr>
            <p:cNvSpPr/>
            <p:nvPr/>
          </p:nvSpPr>
          <p:spPr>
            <a:xfrm flipV="1">
              <a:off x="5188577" y="4701418"/>
              <a:ext cx="133866" cy="170084"/>
            </a:xfrm>
            <a:custGeom>
              <a:avLst/>
              <a:gdLst>
                <a:gd name="connsiteX0" fmla="*/ 115314 w 133866"/>
                <a:gd name="connsiteY0" fmla="*/ 113 h 170084"/>
                <a:gd name="connsiteX1" fmla="*/ 23152 w 133866"/>
                <a:gd name="connsiteY1" fmla="*/ -3254 h 170084"/>
                <a:gd name="connsiteX2" fmla="*/ -5415 w 133866"/>
                <a:gd name="connsiteY2" fmla="*/ 29450 h 170084"/>
                <a:gd name="connsiteX3" fmla="*/ -1 w 133866"/>
                <a:gd name="connsiteY3" fmla="*/ 51925 h 170084"/>
                <a:gd name="connsiteX4" fmla="*/ 29396 w 133866"/>
                <a:gd name="connsiteY4" fmla="*/ 165336 h 170084"/>
                <a:gd name="connsiteX5" fmla="*/ 94121 w 133866"/>
                <a:gd name="connsiteY5" fmla="*/ 166830 h 170084"/>
                <a:gd name="connsiteX6" fmla="*/ 116722 w 133866"/>
                <a:gd name="connsiteY6" fmla="*/ 36185 h 170084"/>
                <a:gd name="connsiteX7" fmla="*/ 127630 w 133866"/>
                <a:gd name="connsiteY7" fmla="*/ 15635 h 170084"/>
                <a:gd name="connsiteX8" fmla="*/ 127686 w 133866"/>
                <a:gd name="connsiteY8" fmla="*/ 15478 h 170084"/>
                <a:gd name="connsiteX9" fmla="*/ 115314 w 133866"/>
                <a:gd name="connsiteY9" fmla="*/ 113 h 170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866" h="170084">
                  <a:moveTo>
                    <a:pt x="115314" y="113"/>
                  </a:moveTo>
                  <a:lnTo>
                    <a:pt x="23152" y="-3254"/>
                  </a:lnTo>
                  <a:cubicBezTo>
                    <a:pt x="5919" y="-2854"/>
                    <a:pt x="-7907" y="12333"/>
                    <a:pt x="-5415" y="29450"/>
                  </a:cubicBezTo>
                  <a:cubicBezTo>
                    <a:pt x="-4311" y="37066"/>
                    <a:pt x="-2245" y="44759"/>
                    <a:pt x="-1" y="51925"/>
                  </a:cubicBezTo>
                  <a:cubicBezTo>
                    <a:pt x="12046" y="90387"/>
                    <a:pt x="18974" y="128140"/>
                    <a:pt x="29396" y="165336"/>
                  </a:cubicBezTo>
                  <a:lnTo>
                    <a:pt x="94121" y="166830"/>
                  </a:lnTo>
                  <a:cubicBezTo>
                    <a:pt x="76138" y="126205"/>
                    <a:pt x="92404" y="77012"/>
                    <a:pt x="116722" y="36185"/>
                  </a:cubicBezTo>
                  <a:cubicBezTo>
                    <a:pt x="120672" y="29485"/>
                    <a:pt x="125316" y="23069"/>
                    <a:pt x="127630" y="15635"/>
                  </a:cubicBezTo>
                  <a:lnTo>
                    <a:pt x="127686" y="15478"/>
                  </a:lnTo>
                  <a:cubicBezTo>
                    <a:pt x="130005" y="7619"/>
                    <a:pt x="123503" y="-125"/>
                    <a:pt x="115314" y="113"/>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4" name="Freeform: Shape 433">
              <a:extLst>
                <a:ext uri="{FF2B5EF4-FFF2-40B4-BE49-F238E27FC236}">
                  <a16:creationId xmlns:a16="http://schemas.microsoft.com/office/drawing/2014/main" id="{5D9D3695-F396-E324-E2D4-EEFC634A1D74}"/>
                </a:ext>
              </a:extLst>
            </p:cNvPr>
            <p:cNvSpPr/>
            <p:nvPr/>
          </p:nvSpPr>
          <p:spPr>
            <a:xfrm flipV="1">
              <a:off x="5726569" y="4502600"/>
              <a:ext cx="209357" cy="128442"/>
            </a:xfrm>
            <a:custGeom>
              <a:avLst/>
              <a:gdLst>
                <a:gd name="connsiteX0" fmla="*/ 201949 w 209357"/>
                <a:gd name="connsiteY0" fmla="*/ 23480 h 128442"/>
                <a:gd name="connsiteX1" fmla="*/ 185830 w 209357"/>
                <a:gd name="connsiteY1" fmla="*/ 36616 h 128442"/>
                <a:gd name="connsiteX2" fmla="*/ 75913 w 209357"/>
                <a:gd name="connsiteY2" fmla="*/ 124697 h 128442"/>
                <a:gd name="connsiteX3" fmla="*/ 22471 w 209357"/>
                <a:gd name="connsiteY3" fmla="*/ 123461 h 128442"/>
                <a:gd name="connsiteX4" fmla="*/ -5650 w 209357"/>
                <a:gd name="connsiteY4" fmla="*/ 22766 h 128442"/>
                <a:gd name="connsiteX5" fmla="*/ 13954 w 209357"/>
                <a:gd name="connsiteY5" fmla="*/ -3740 h 128442"/>
                <a:gd name="connsiteX6" fmla="*/ 184853 w 209357"/>
                <a:gd name="connsiteY6" fmla="*/ 225 h 128442"/>
                <a:gd name="connsiteX7" fmla="*/ 201949 w 209357"/>
                <a:gd name="connsiteY7" fmla="*/ 23480 h 12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357" h="128442">
                  <a:moveTo>
                    <a:pt x="201949" y="23480"/>
                  </a:moveTo>
                  <a:cubicBezTo>
                    <a:pt x="199843" y="30797"/>
                    <a:pt x="193432" y="36074"/>
                    <a:pt x="185830" y="36616"/>
                  </a:cubicBezTo>
                  <a:cubicBezTo>
                    <a:pt x="155886" y="38738"/>
                    <a:pt x="81874" y="51413"/>
                    <a:pt x="75913" y="124697"/>
                  </a:cubicBezTo>
                  <a:lnTo>
                    <a:pt x="22471" y="123461"/>
                  </a:lnTo>
                  <a:lnTo>
                    <a:pt x="-5650" y="22766"/>
                  </a:lnTo>
                  <a:cubicBezTo>
                    <a:pt x="-10040" y="9528"/>
                    <a:pt x="7" y="-4064"/>
                    <a:pt x="13954" y="-3740"/>
                  </a:cubicBezTo>
                  <a:lnTo>
                    <a:pt x="184853" y="225"/>
                  </a:lnTo>
                  <a:cubicBezTo>
                    <a:pt x="196789" y="504"/>
                    <a:pt x="205241" y="11994"/>
                    <a:pt x="201949" y="23480"/>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5" name="Freeform: Shape 434">
              <a:extLst>
                <a:ext uri="{FF2B5EF4-FFF2-40B4-BE49-F238E27FC236}">
                  <a16:creationId xmlns:a16="http://schemas.microsoft.com/office/drawing/2014/main" id="{3ABCC4CE-279F-3A59-E797-59B0C895D71B}"/>
                </a:ext>
              </a:extLst>
            </p:cNvPr>
            <p:cNvSpPr/>
            <p:nvPr/>
          </p:nvSpPr>
          <p:spPr>
            <a:xfrm flipV="1">
              <a:off x="5209064" y="3761757"/>
              <a:ext cx="765181" cy="960075"/>
            </a:xfrm>
            <a:custGeom>
              <a:avLst/>
              <a:gdLst>
                <a:gd name="connsiteX0" fmla="*/ 730433 w 765181"/>
                <a:gd name="connsiteY0" fmla="*/ 728272 h 960075"/>
                <a:gd name="connsiteX1" fmla="*/ 441636 w 765181"/>
                <a:gd name="connsiteY1" fmla="*/ 932276 h 960075"/>
                <a:gd name="connsiteX2" fmla="*/ 230077 w 765181"/>
                <a:gd name="connsiteY2" fmla="*/ 951940 h 960075"/>
                <a:gd name="connsiteX3" fmla="*/ 205612 w 765181"/>
                <a:gd name="connsiteY3" fmla="*/ 893920 h 960075"/>
                <a:gd name="connsiteX4" fmla="*/ 176205 w 765181"/>
                <a:gd name="connsiteY4" fmla="*/ 783258 h 960075"/>
                <a:gd name="connsiteX5" fmla="*/ 125644 w 765181"/>
                <a:gd name="connsiteY5" fmla="*/ 466993 h 960075"/>
                <a:gd name="connsiteX6" fmla="*/ -6281 w 765181"/>
                <a:gd name="connsiteY6" fmla="*/ 7985 h 960075"/>
                <a:gd name="connsiteX7" fmla="*/ 79930 w 765181"/>
                <a:gd name="connsiteY7" fmla="*/ 4638 h 960075"/>
                <a:gd name="connsiteX8" fmla="*/ 236873 w 765181"/>
                <a:gd name="connsiteY8" fmla="*/ 428698 h 960075"/>
                <a:gd name="connsiteX9" fmla="*/ 376177 w 765181"/>
                <a:gd name="connsiteY9" fmla="*/ 744077 h 960075"/>
                <a:gd name="connsiteX10" fmla="*/ 622603 w 765181"/>
                <a:gd name="connsiteY10" fmla="*/ 627901 h 960075"/>
                <a:gd name="connsiteX11" fmla="*/ 529818 w 765181"/>
                <a:gd name="connsiteY11" fmla="*/ 207790 h 960075"/>
                <a:gd name="connsiteX12" fmla="*/ 616536 w 765181"/>
                <a:gd name="connsiteY12" fmla="*/ 197141 h 960075"/>
                <a:gd name="connsiteX13" fmla="*/ 750128 w 765181"/>
                <a:gd name="connsiteY13" fmla="*/ 610531 h 960075"/>
                <a:gd name="connsiteX14" fmla="*/ 730433 w 765181"/>
                <a:gd name="connsiteY14" fmla="*/ 728272 h 96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5181" h="960075">
                  <a:moveTo>
                    <a:pt x="730433" y="728272"/>
                  </a:moveTo>
                  <a:cubicBezTo>
                    <a:pt x="614880" y="856273"/>
                    <a:pt x="441636" y="932276"/>
                    <a:pt x="441636" y="932276"/>
                  </a:cubicBezTo>
                  <a:cubicBezTo>
                    <a:pt x="441636" y="932276"/>
                    <a:pt x="285083" y="966656"/>
                    <a:pt x="230077" y="951940"/>
                  </a:cubicBezTo>
                  <a:lnTo>
                    <a:pt x="205612" y="893920"/>
                  </a:lnTo>
                  <a:cubicBezTo>
                    <a:pt x="191984" y="858157"/>
                    <a:pt x="182125" y="821067"/>
                    <a:pt x="176205" y="783258"/>
                  </a:cubicBezTo>
                  <a:lnTo>
                    <a:pt x="125644" y="466993"/>
                  </a:lnTo>
                  <a:cubicBezTo>
                    <a:pt x="125644" y="466993"/>
                    <a:pt x="35989" y="283408"/>
                    <a:pt x="-6281" y="7985"/>
                  </a:cubicBezTo>
                  <a:cubicBezTo>
                    <a:pt x="-6281" y="7985"/>
                    <a:pt x="41524" y="-17660"/>
                    <a:pt x="79930" y="4638"/>
                  </a:cubicBezTo>
                  <a:cubicBezTo>
                    <a:pt x="79930" y="4638"/>
                    <a:pt x="149365" y="294311"/>
                    <a:pt x="236873" y="428698"/>
                  </a:cubicBezTo>
                  <a:cubicBezTo>
                    <a:pt x="236873" y="428698"/>
                    <a:pt x="315752" y="596058"/>
                    <a:pt x="376177" y="744077"/>
                  </a:cubicBezTo>
                  <a:cubicBezTo>
                    <a:pt x="482301" y="699108"/>
                    <a:pt x="622603" y="627901"/>
                    <a:pt x="622603" y="627901"/>
                  </a:cubicBezTo>
                  <a:lnTo>
                    <a:pt x="529818" y="207790"/>
                  </a:lnTo>
                  <a:cubicBezTo>
                    <a:pt x="558617" y="167586"/>
                    <a:pt x="616536" y="197141"/>
                    <a:pt x="616536" y="197141"/>
                  </a:cubicBezTo>
                  <a:lnTo>
                    <a:pt x="750128" y="610531"/>
                  </a:lnTo>
                  <a:cubicBezTo>
                    <a:pt x="766849" y="650274"/>
                    <a:pt x="759329" y="696261"/>
                    <a:pt x="730433" y="728272"/>
                  </a:cubicBezTo>
                </a:path>
              </a:pathLst>
            </a:custGeom>
            <a:solidFill>
              <a:srgbClr val="74B6D6"/>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6" name="Freeform: Shape 435">
              <a:extLst>
                <a:ext uri="{FF2B5EF4-FFF2-40B4-BE49-F238E27FC236}">
                  <a16:creationId xmlns:a16="http://schemas.microsoft.com/office/drawing/2014/main" id="{BD193F55-F0C7-8786-CFE8-199222D40F1E}"/>
                </a:ext>
              </a:extLst>
            </p:cNvPr>
            <p:cNvSpPr/>
            <p:nvPr/>
          </p:nvSpPr>
          <p:spPr>
            <a:xfrm flipV="1">
              <a:off x="5445453" y="3738767"/>
              <a:ext cx="214811" cy="46306"/>
            </a:xfrm>
            <a:custGeom>
              <a:avLst/>
              <a:gdLst>
                <a:gd name="connsiteX0" fmla="*/ 206889 w 214811"/>
                <a:gd name="connsiteY0" fmla="*/ 94 h 46306"/>
                <a:gd name="connsiteX1" fmla="*/ 205324 w 214811"/>
                <a:gd name="connsiteY1" fmla="*/ -5547 h 46306"/>
                <a:gd name="connsiteX2" fmla="*/ 184784 w 214811"/>
                <a:gd name="connsiteY2" fmla="*/ -3511 h 46306"/>
                <a:gd name="connsiteX3" fmla="*/ 89092 w 214811"/>
                <a:gd name="connsiteY3" fmla="*/ 1097 h 46306"/>
                <a:gd name="connsiteX4" fmla="*/ 73869 w 214811"/>
                <a:gd name="connsiteY4" fmla="*/ 2789 h 46306"/>
                <a:gd name="connsiteX5" fmla="*/ -6215 w 214811"/>
                <a:gd name="connsiteY5" fmla="*/ 14127 h 46306"/>
                <a:gd name="connsiteX6" fmla="*/ -3329 w 214811"/>
                <a:gd name="connsiteY6" fmla="*/ 40759 h 46306"/>
                <a:gd name="connsiteX7" fmla="*/ 75404 w 214811"/>
                <a:gd name="connsiteY7" fmla="*/ 29856 h 46306"/>
                <a:gd name="connsiteX8" fmla="*/ 90682 w 214811"/>
                <a:gd name="connsiteY8" fmla="*/ 28286 h 46306"/>
                <a:gd name="connsiteX9" fmla="*/ 206129 w 214811"/>
                <a:gd name="connsiteY9" fmla="*/ 27871 h 46306"/>
                <a:gd name="connsiteX10" fmla="*/ 206185 w 214811"/>
                <a:gd name="connsiteY10" fmla="*/ 27871 h 46306"/>
                <a:gd name="connsiteX11" fmla="*/ 206479 w 214811"/>
                <a:gd name="connsiteY11" fmla="*/ 27937 h 46306"/>
                <a:gd name="connsiteX12" fmla="*/ 206889 w 214811"/>
                <a:gd name="connsiteY12" fmla="*/ 94 h 46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4811" h="46306">
                  <a:moveTo>
                    <a:pt x="206889" y="94"/>
                  </a:moveTo>
                  <a:cubicBezTo>
                    <a:pt x="206463" y="-1724"/>
                    <a:pt x="205982" y="-3602"/>
                    <a:pt x="205324" y="-5547"/>
                  </a:cubicBezTo>
                  <a:lnTo>
                    <a:pt x="184784" y="-3511"/>
                  </a:lnTo>
                  <a:cubicBezTo>
                    <a:pt x="159833" y="-5203"/>
                    <a:pt x="123452" y="-2600"/>
                    <a:pt x="89092" y="1097"/>
                  </a:cubicBezTo>
                  <a:cubicBezTo>
                    <a:pt x="83942" y="1680"/>
                    <a:pt x="78847" y="2262"/>
                    <a:pt x="73869" y="2789"/>
                  </a:cubicBezTo>
                  <a:cubicBezTo>
                    <a:pt x="30368" y="7969"/>
                    <a:pt x="-6215" y="14127"/>
                    <a:pt x="-6215" y="14127"/>
                  </a:cubicBezTo>
                  <a:cubicBezTo>
                    <a:pt x="-5076" y="22969"/>
                    <a:pt x="-4174" y="31867"/>
                    <a:pt x="-3329" y="40759"/>
                  </a:cubicBezTo>
                  <a:cubicBezTo>
                    <a:pt x="-3329" y="40759"/>
                    <a:pt x="32373" y="34703"/>
                    <a:pt x="75404" y="29856"/>
                  </a:cubicBezTo>
                  <a:cubicBezTo>
                    <a:pt x="80437" y="29335"/>
                    <a:pt x="85527" y="28752"/>
                    <a:pt x="90682" y="28286"/>
                  </a:cubicBezTo>
                  <a:cubicBezTo>
                    <a:pt x="134284" y="23866"/>
                    <a:pt x="181811" y="21409"/>
                    <a:pt x="206129" y="27871"/>
                  </a:cubicBezTo>
                  <a:lnTo>
                    <a:pt x="206185" y="27871"/>
                  </a:lnTo>
                  <a:lnTo>
                    <a:pt x="206479" y="27937"/>
                  </a:lnTo>
                  <a:cubicBezTo>
                    <a:pt x="207096" y="26372"/>
                    <a:pt x="210661" y="16122"/>
                    <a:pt x="206889" y="94"/>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7" name="Freeform: Shape 436">
              <a:extLst>
                <a:ext uri="{FF2B5EF4-FFF2-40B4-BE49-F238E27FC236}">
                  <a16:creationId xmlns:a16="http://schemas.microsoft.com/office/drawing/2014/main" id="{7C541B89-7CE6-A725-76B5-BE22E2563181}"/>
                </a:ext>
              </a:extLst>
            </p:cNvPr>
            <p:cNvSpPr/>
            <p:nvPr/>
          </p:nvSpPr>
          <p:spPr>
            <a:xfrm flipV="1">
              <a:off x="5629640" y="3746202"/>
              <a:ext cx="33706" cy="40518"/>
            </a:xfrm>
            <a:custGeom>
              <a:avLst/>
              <a:gdLst>
                <a:gd name="connsiteX0" fmla="*/ 19710 w 33706"/>
                <a:gd name="connsiteY0" fmla="*/ 34967 h 40518"/>
                <a:gd name="connsiteX1" fmla="*/ -3063 w 33706"/>
                <a:gd name="connsiteY1" fmla="*/ 32941 h 40518"/>
                <a:gd name="connsiteX2" fmla="*/ -6350 w 33706"/>
                <a:gd name="connsiteY2" fmla="*/ 28662 h 40518"/>
                <a:gd name="connsiteX3" fmla="*/ -2572 w 33706"/>
                <a:gd name="connsiteY3" fmla="*/ -2250 h 40518"/>
                <a:gd name="connsiteX4" fmla="*/ 1707 w 33706"/>
                <a:gd name="connsiteY4" fmla="*/ -5536 h 40518"/>
                <a:gd name="connsiteX5" fmla="*/ 24126 w 33706"/>
                <a:gd name="connsiteY5" fmla="*/ -5009 h 40518"/>
                <a:gd name="connsiteX6" fmla="*/ 23134 w 33706"/>
                <a:gd name="connsiteY6" fmla="*/ 2556 h 40518"/>
                <a:gd name="connsiteX7" fmla="*/ 4599 w 33706"/>
                <a:gd name="connsiteY7" fmla="*/ 2085 h 40518"/>
                <a:gd name="connsiteX8" fmla="*/ 1687 w 33706"/>
                <a:gd name="connsiteY8" fmla="*/ 25674 h 40518"/>
                <a:gd name="connsiteX9" fmla="*/ 20703 w 33706"/>
                <a:gd name="connsiteY9" fmla="*/ 27396 h 40518"/>
                <a:gd name="connsiteX10" fmla="*/ 19710 w 33706"/>
                <a:gd name="connsiteY10" fmla="*/ 34967 h 4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06" h="40518">
                  <a:moveTo>
                    <a:pt x="19710" y="34967"/>
                  </a:moveTo>
                  <a:cubicBezTo>
                    <a:pt x="9749" y="34167"/>
                    <a:pt x="6903" y="33736"/>
                    <a:pt x="-3063" y="32941"/>
                  </a:cubicBezTo>
                  <a:cubicBezTo>
                    <a:pt x="-5135" y="32774"/>
                    <a:pt x="-6588" y="30632"/>
                    <a:pt x="-6350" y="28662"/>
                  </a:cubicBezTo>
                  <a:cubicBezTo>
                    <a:pt x="-4967" y="17004"/>
                    <a:pt x="-3955" y="9413"/>
                    <a:pt x="-2572" y="-2250"/>
                  </a:cubicBezTo>
                  <a:cubicBezTo>
                    <a:pt x="-2303" y="-4468"/>
                    <a:pt x="-339" y="-5572"/>
                    <a:pt x="1707" y="-5536"/>
                  </a:cubicBezTo>
                  <a:cubicBezTo>
                    <a:pt x="11532" y="-5394"/>
                    <a:pt x="14297" y="-5156"/>
                    <a:pt x="24126" y="-5009"/>
                  </a:cubicBezTo>
                  <a:cubicBezTo>
                    <a:pt x="29033" y="-4939"/>
                    <a:pt x="27990" y="2627"/>
                    <a:pt x="23134" y="2556"/>
                  </a:cubicBezTo>
                  <a:cubicBezTo>
                    <a:pt x="14605" y="2435"/>
                    <a:pt x="13137" y="2212"/>
                    <a:pt x="4599" y="2085"/>
                  </a:cubicBezTo>
                  <a:cubicBezTo>
                    <a:pt x="3505" y="11307"/>
                    <a:pt x="2786" y="16457"/>
                    <a:pt x="1687" y="25674"/>
                  </a:cubicBezTo>
                  <a:cubicBezTo>
                    <a:pt x="10402" y="26373"/>
                    <a:pt x="11987" y="26697"/>
                    <a:pt x="20703" y="27396"/>
                  </a:cubicBezTo>
                  <a:cubicBezTo>
                    <a:pt x="25610" y="27791"/>
                    <a:pt x="24592" y="35357"/>
                    <a:pt x="19710" y="34967"/>
                  </a:cubicBezTo>
                </a:path>
              </a:pathLst>
            </a:custGeom>
            <a:solidFill>
              <a:srgbClr val="6BB4DA"/>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8" name="Freeform: Shape 437">
              <a:extLst>
                <a:ext uri="{FF2B5EF4-FFF2-40B4-BE49-F238E27FC236}">
                  <a16:creationId xmlns:a16="http://schemas.microsoft.com/office/drawing/2014/main" id="{ECA448D7-2539-CC7E-26FE-05817E24EA20}"/>
                </a:ext>
              </a:extLst>
            </p:cNvPr>
            <p:cNvSpPr/>
            <p:nvPr/>
          </p:nvSpPr>
          <p:spPr>
            <a:xfrm flipV="1">
              <a:off x="5525020" y="3749645"/>
              <a:ext cx="17349" cy="36360"/>
            </a:xfrm>
            <a:custGeom>
              <a:avLst/>
              <a:gdLst>
                <a:gd name="connsiteX0" fmla="*/ 11168 w 17349"/>
                <a:gd name="connsiteY0" fmla="*/ 29222 h 36360"/>
                <a:gd name="connsiteX1" fmla="*/ 9547 w 17349"/>
                <a:gd name="connsiteY1" fmla="*/ 2073 h 36360"/>
                <a:gd name="connsiteX2" fmla="*/ 9111 w 17349"/>
                <a:gd name="connsiteY2" fmla="*/ -5534 h 36360"/>
                <a:gd name="connsiteX3" fmla="*/ -6182 w 17349"/>
                <a:gd name="connsiteY3" fmla="*/ -4663 h 36360"/>
                <a:gd name="connsiteX4" fmla="*/ -5681 w 17349"/>
                <a:gd name="connsiteY4" fmla="*/ 3759 h 36360"/>
                <a:gd name="connsiteX5" fmla="*/ -4106 w 17349"/>
                <a:gd name="connsiteY5" fmla="*/ 30827 h 36360"/>
                <a:gd name="connsiteX6" fmla="*/ 11168 w 17349"/>
                <a:gd name="connsiteY6" fmla="*/ 29222 h 3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49" h="36360">
                  <a:moveTo>
                    <a:pt x="11168" y="29222"/>
                  </a:moveTo>
                  <a:lnTo>
                    <a:pt x="9547" y="2073"/>
                  </a:lnTo>
                  <a:lnTo>
                    <a:pt x="9111" y="-5534"/>
                  </a:lnTo>
                  <a:lnTo>
                    <a:pt x="-6182" y="-4663"/>
                  </a:lnTo>
                  <a:lnTo>
                    <a:pt x="-5681" y="3759"/>
                  </a:lnTo>
                  <a:lnTo>
                    <a:pt x="-4106" y="30827"/>
                  </a:lnTo>
                  <a:cubicBezTo>
                    <a:pt x="887" y="30290"/>
                    <a:pt x="6007" y="29718"/>
                    <a:pt x="11168" y="29222"/>
                  </a:cubicBezTo>
                </a:path>
              </a:pathLst>
            </a:custGeom>
            <a:solidFill>
              <a:srgbClr val="6BB4DA"/>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9" name="Freeform: Shape 438">
              <a:extLst>
                <a:ext uri="{FF2B5EF4-FFF2-40B4-BE49-F238E27FC236}">
                  <a16:creationId xmlns:a16="http://schemas.microsoft.com/office/drawing/2014/main" id="{04FDA7F3-19A9-739E-A788-8176DF00E56D}"/>
                </a:ext>
              </a:extLst>
            </p:cNvPr>
            <p:cNvSpPr/>
            <p:nvPr/>
          </p:nvSpPr>
          <p:spPr>
            <a:xfrm flipV="1">
              <a:off x="6505700" y="2806465"/>
              <a:ext cx="285526" cy="478425"/>
            </a:xfrm>
            <a:custGeom>
              <a:avLst/>
              <a:gdLst>
                <a:gd name="connsiteX0" fmla="*/ 277436 w 285526"/>
                <a:gd name="connsiteY0" fmla="*/ 19813 h 478425"/>
                <a:gd name="connsiteX1" fmla="*/ 222546 w 285526"/>
                <a:gd name="connsiteY1" fmla="*/ -611 h 478425"/>
                <a:gd name="connsiteX2" fmla="*/ 106861 w 285526"/>
                <a:gd name="connsiteY2" fmla="*/ -2540 h 478425"/>
                <a:gd name="connsiteX3" fmla="*/ 79185 w 285526"/>
                <a:gd name="connsiteY3" fmla="*/ 3572 h 478425"/>
                <a:gd name="connsiteX4" fmla="*/ 47276 w 285526"/>
                <a:gd name="connsiteY4" fmla="*/ 136784 h 478425"/>
                <a:gd name="connsiteX5" fmla="*/ -8090 w 285526"/>
                <a:gd name="connsiteY5" fmla="*/ 380177 h 478425"/>
                <a:gd name="connsiteX6" fmla="*/ 6029 w 285526"/>
                <a:gd name="connsiteY6" fmla="*/ 393895 h 478425"/>
                <a:gd name="connsiteX7" fmla="*/ 22366 w 285526"/>
                <a:gd name="connsiteY7" fmla="*/ 407543 h 478425"/>
                <a:gd name="connsiteX8" fmla="*/ 87404 w 285526"/>
                <a:gd name="connsiteY8" fmla="*/ 462145 h 478425"/>
                <a:gd name="connsiteX9" fmla="*/ 90372 w 285526"/>
                <a:gd name="connsiteY9" fmla="*/ 462332 h 478425"/>
                <a:gd name="connsiteX10" fmla="*/ 200086 w 285526"/>
                <a:gd name="connsiteY10" fmla="*/ 470759 h 478425"/>
                <a:gd name="connsiteX11" fmla="*/ 209966 w 285526"/>
                <a:gd name="connsiteY11" fmla="*/ 471275 h 478425"/>
                <a:gd name="connsiteX12" fmla="*/ 277436 w 285526"/>
                <a:gd name="connsiteY12" fmla="*/ 19813 h 47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526" h="478425">
                  <a:moveTo>
                    <a:pt x="277436" y="19813"/>
                  </a:moveTo>
                  <a:cubicBezTo>
                    <a:pt x="259499" y="10085"/>
                    <a:pt x="240904" y="3598"/>
                    <a:pt x="222546" y="-611"/>
                  </a:cubicBezTo>
                  <a:cubicBezTo>
                    <a:pt x="177318" y="-10916"/>
                    <a:pt x="133857" y="-7037"/>
                    <a:pt x="106861" y="-2540"/>
                  </a:cubicBezTo>
                  <a:cubicBezTo>
                    <a:pt x="89739" y="382"/>
                    <a:pt x="79185" y="3572"/>
                    <a:pt x="79185" y="3572"/>
                  </a:cubicBezTo>
                  <a:cubicBezTo>
                    <a:pt x="71088" y="51408"/>
                    <a:pt x="59739" y="96322"/>
                    <a:pt x="47276" y="136784"/>
                  </a:cubicBezTo>
                  <a:lnTo>
                    <a:pt x="-8090" y="380177"/>
                  </a:lnTo>
                  <a:lnTo>
                    <a:pt x="6029" y="393895"/>
                  </a:lnTo>
                  <a:lnTo>
                    <a:pt x="22366" y="407543"/>
                  </a:lnTo>
                  <a:lnTo>
                    <a:pt x="87404" y="462145"/>
                  </a:lnTo>
                  <a:lnTo>
                    <a:pt x="90372" y="462332"/>
                  </a:lnTo>
                  <a:lnTo>
                    <a:pt x="200086" y="470759"/>
                  </a:lnTo>
                  <a:cubicBezTo>
                    <a:pt x="203398" y="471012"/>
                    <a:pt x="206654" y="471144"/>
                    <a:pt x="209966" y="471275"/>
                  </a:cubicBezTo>
                  <a:lnTo>
                    <a:pt x="277436" y="19813"/>
                  </a:lnTo>
                </a:path>
              </a:pathLst>
            </a:custGeom>
            <a:solidFill>
              <a:srgbClr val="4DA5C3">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0" name="Freeform: Shape 439">
              <a:extLst>
                <a:ext uri="{FF2B5EF4-FFF2-40B4-BE49-F238E27FC236}">
                  <a16:creationId xmlns:a16="http://schemas.microsoft.com/office/drawing/2014/main" id="{4AC4F11B-C355-6529-A1B6-527F99EE95FA}"/>
                </a:ext>
              </a:extLst>
            </p:cNvPr>
            <p:cNvSpPr/>
            <p:nvPr/>
          </p:nvSpPr>
          <p:spPr>
            <a:xfrm flipV="1">
              <a:off x="6471640" y="4103349"/>
              <a:ext cx="191336" cy="135084"/>
            </a:xfrm>
            <a:custGeom>
              <a:avLst/>
              <a:gdLst>
                <a:gd name="connsiteX0" fmla="*/ -630 w 191336"/>
                <a:gd name="connsiteY0" fmla="*/ -2825 h 135084"/>
                <a:gd name="connsiteX1" fmla="*/ 12461 w 191336"/>
                <a:gd name="connsiteY1" fmla="*/ -4613 h 135084"/>
                <a:gd name="connsiteX2" fmla="*/ 183386 w 191336"/>
                <a:gd name="connsiteY2" fmla="*/ 13826 h 135084"/>
                <a:gd name="connsiteX3" fmla="*/ 159341 w 191336"/>
                <a:gd name="connsiteY3" fmla="*/ 130453 h 135084"/>
                <a:gd name="connsiteX4" fmla="*/ 99832 w 191336"/>
                <a:gd name="connsiteY4" fmla="*/ 117185 h 135084"/>
                <a:gd name="connsiteX5" fmla="*/ 5604 w 191336"/>
                <a:gd name="connsiteY5" fmla="*/ 27838 h 135084"/>
                <a:gd name="connsiteX6" fmla="*/ -7831 w 191336"/>
                <a:gd name="connsiteY6" fmla="*/ 18029 h 135084"/>
                <a:gd name="connsiteX7" fmla="*/ -630 w 191336"/>
                <a:gd name="connsiteY7" fmla="*/ -2825 h 13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336" h="135084">
                  <a:moveTo>
                    <a:pt x="-630" y="-2825"/>
                  </a:moveTo>
                  <a:cubicBezTo>
                    <a:pt x="3381" y="-4699"/>
                    <a:pt x="8025" y="-4674"/>
                    <a:pt x="12461" y="-4613"/>
                  </a:cubicBezTo>
                  <a:cubicBezTo>
                    <a:pt x="60844" y="-3823"/>
                    <a:pt x="135950" y="4330"/>
                    <a:pt x="183386" y="13826"/>
                  </a:cubicBezTo>
                  <a:cubicBezTo>
                    <a:pt x="183386" y="13826"/>
                    <a:pt x="166466" y="85736"/>
                    <a:pt x="159341" y="130453"/>
                  </a:cubicBezTo>
                  <a:lnTo>
                    <a:pt x="99832" y="117185"/>
                  </a:lnTo>
                  <a:cubicBezTo>
                    <a:pt x="92910" y="71911"/>
                    <a:pt x="49404" y="41202"/>
                    <a:pt x="5604" y="27838"/>
                  </a:cubicBezTo>
                  <a:cubicBezTo>
                    <a:pt x="-2" y="26137"/>
                    <a:pt x="-6752" y="23792"/>
                    <a:pt x="-7831" y="18029"/>
                  </a:cubicBezTo>
                  <a:cubicBezTo>
                    <a:pt x="-8702" y="13679"/>
                    <a:pt x="-4691" y="-952"/>
                    <a:pt x="-630" y="-2825"/>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1" name="Freeform: Shape 440">
              <a:extLst>
                <a:ext uri="{FF2B5EF4-FFF2-40B4-BE49-F238E27FC236}">
                  <a16:creationId xmlns:a16="http://schemas.microsoft.com/office/drawing/2014/main" id="{72F3EC65-46BD-3F5B-92ED-1F59D3FE47C3}"/>
                </a:ext>
              </a:extLst>
            </p:cNvPr>
            <p:cNvSpPr/>
            <p:nvPr/>
          </p:nvSpPr>
          <p:spPr>
            <a:xfrm flipV="1">
              <a:off x="7015658" y="4021077"/>
              <a:ext cx="135726" cy="161938"/>
            </a:xfrm>
            <a:custGeom>
              <a:avLst/>
              <a:gdLst>
                <a:gd name="connsiteX0" fmla="*/ -8835 w 135726"/>
                <a:gd name="connsiteY0" fmla="*/ 147161 h 161938"/>
                <a:gd name="connsiteX1" fmla="*/ 10308 w 135726"/>
                <a:gd name="connsiteY1" fmla="*/ 12896 h 161938"/>
                <a:gd name="connsiteX2" fmla="*/ 9295 w 135726"/>
                <a:gd name="connsiteY2" fmla="*/ -1324 h 161938"/>
                <a:gd name="connsiteX3" fmla="*/ 17347 w 135726"/>
                <a:gd name="connsiteY3" fmla="*/ -3897 h 161938"/>
                <a:gd name="connsiteX4" fmla="*/ 112401 w 135726"/>
                <a:gd name="connsiteY4" fmla="*/ 2135 h 161938"/>
                <a:gd name="connsiteX5" fmla="*/ 125365 w 135726"/>
                <a:gd name="connsiteY5" fmla="*/ 8931 h 161938"/>
                <a:gd name="connsiteX6" fmla="*/ 124960 w 135726"/>
                <a:gd name="connsiteY6" fmla="*/ 23925 h 161938"/>
                <a:gd name="connsiteX7" fmla="*/ 48441 w 135726"/>
                <a:gd name="connsiteY7" fmla="*/ 157153 h 161938"/>
                <a:gd name="connsiteX8" fmla="*/ -8835 w 135726"/>
                <a:gd name="connsiteY8" fmla="*/ 147161 h 16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726" h="161938">
                  <a:moveTo>
                    <a:pt x="-8835" y="147161"/>
                  </a:moveTo>
                  <a:cubicBezTo>
                    <a:pt x="8080" y="100531"/>
                    <a:pt x="33249" y="57648"/>
                    <a:pt x="10308" y="12896"/>
                  </a:cubicBezTo>
                  <a:cubicBezTo>
                    <a:pt x="7928" y="8308"/>
                    <a:pt x="5598" y="2282"/>
                    <a:pt x="9295" y="-1324"/>
                  </a:cubicBezTo>
                  <a:cubicBezTo>
                    <a:pt x="11321" y="-3279"/>
                    <a:pt x="14460" y="-3664"/>
                    <a:pt x="17347" y="-3897"/>
                  </a:cubicBezTo>
                  <a:cubicBezTo>
                    <a:pt x="45808" y="-6191"/>
                    <a:pt x="84396" y="-3998"/>
                    <a:pt x="112401" y="2135"/>
                  </a:cubicBezTo>
                  <a:cubicBezTo>
                    <a:pt x="117313" y="3223"/>
                    <a:pt x="122731" y="4783"/>
                    <a:pt x="125365" y="8931"/>
                  </a:cubicBezTo>
                  <a:cubicBezTo>
                    <a:pt x="128150" y="13392"/>
                    <a:pt x="126580" y="19018"/>
                    <a:pt x="124960" y="23925"/>
                  </a:cubicBezTo>
                  <a:cubicBezTo>
                    <a:pt x="109058" y="71777"/>
                    <a:pt x="64393" y="109302"/>
                    <a:pt x="48441" y="157153"/>
                  </a:cubicBezTo>
                  <a:cubicBezTo>
                    <a:pt x="30311" y="154960"/>
                    <a:pt x="7624" y="154925"/>
                    <a:pt x="-8835" y="147161"/>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2" name="Freeform: Shape 441">
              <a:extLst>
                <a:ext uri="{FF2B5EF4-FFF2-40B4-BE49-F238E27FC236}">
                  <a16:creationId xmlns:a16="http://schemas.microsoft.com/office/drawing/2014/main" id="{4C46E23C-7D68-C577-D2FB-ACD1F2477BCB}"/>
                </a:ext>
              </a:extLst>
            </p:cNvPr>
            <p:cNvSpPr/>
            <p:nvPr/>
          </p:nvSpPr>
          <p:spPr>
            <a:xfrm flipV="1">
              <a:off x="6447209" y="3225062"/>
              <a:ext cx="665375" cy="897044"/>
            </a:xfrm>
            <a:custGeom>
              <a:avLst/>
              <a:gdLst>
                <a:gd name="connsiteX0" fmla="*/ 657061 w 665375"/>
                <a:gd name="connsiteY0" fmla="*/ 81910 h 897044"/>
                <a:gd name="connsiteX1" fmla="*/ 632855 w 665375"/>
                <a:gd name="connsiteY1" fmla="*/ 62777 h 897044"/>
                <a:gd name="connsiteX2" fmla="*/ 575832 w 665375"/>
                <a:gd name="connsiteY2" fmla="*/ 44805 h 897044"/>
                <a:gd name="connsiteX3" fmla="*/ 561349 w 665375"/>
                <a:gd name="connsiteY3" fmla="*/ 43478 h 897044"/>
                <a:gd name="connsiteX4" fmla="*/ 321992 w 665375"/>
                <a:gd name="connsiteY4" fmla="*/ 395537 h 897044"/>
                <a:gd name="connsiteX5" fmla="*/ 293932 w 665375"/>
                <a:gd name="connsiteY5" fmla="*/ 463234 h 897044"/>
                <a:gd name="connsiteX6" fmla="*/ 248811 w 665375"/>
                <a:gd name="connsiteY6" fmla="*/ 732068 h 897044"/>
                <a:gd name="connsiteX7" fmla="*/ 248132 w 665375"/>
                <a:gd name="connsiteY7" fmla="*/ 736013 h 897044"/>
                <a:gd name="connsiteX8" fmla="*/ 246648 w 665375"/>
                <a:gd name="connsiteY8" fmla="*/ 732311 h 897044"/>
                <a:gd name="connsiteX9" fmla="*/ 129480 w 665375"/>
                <a:gd name="connsiteY9" fmla="*/ 437878 h 897044"/>
                <a:gd name="connsiteX10" fmla="*/ 202555 w 665375"/>
                <a:gd name="connsiteY10" fmla="*/ 15823 h 897044"/>
                <a:gd name="connsiteX11" fmla="*/ 184633 w 665375"/>
                <a:gd name="connsiteY11" fmla="*/ 5335 h 897044"/>
                <a:gd name="connsiteX12" fmla="*/ 122886 w 665375"/>
                <a:gd name="connsiteY12" fmla="*/ -5350 h 897044"/>
                <a:gd name="connsiteX13" fmla="*/ 106058 w 665375"/>
                <a:gd name="connsiteY13" fmla="*/ -2834 h 897044"/>
                <a:gd name="connsiteX14" fmla="*/ -2634 w 665375"/>
                <a:gd name="connsiteY14" fmla="*/ 411524 h 897044"/>
                <a:gd name="connsiteX15" fmla="*/ 668 w 665375"/>
                <a:gd name="connsiteY15" fmla="*/ 497351 h 897044"/>
                <a:gd name="connsiteX16" fmla="*/ 137506 w 665375"/>
                <a:gd name="connsiteY16" fmla="*/ 842193 h 897044"/>
                <a:gd name="connsiteX17" fmla="*/ 153919 w 665375"/>
                <a:gd name="connsiteY17" fmla="*/ 857532 h 897044"/>
                <a:gd name="connsiteX18" fmla="*/ 199537 w 665375"/>
                <a:gd name="connsiteY18" fmla="*/ 853238 h 897044"/>
                <a:gd name="connsiteX19" fmla="*/ 201162 w 665375"/>
                <a:gd name="connsiteY19" fmla="*/ 856241 h 897044"/>
                <a:gd name="connsiteX20" fmla="*/ 206520 w 665375"/>
                <a:gd name="connsiteY20" fmla="*/ 858408 h 897044"/>
                <a:gd name="connsiteX21" fmla="*/ 232606 w 665375"/>
                <a:gd name="connsiteY21" fmla="*/ 858312 h 897044"/>
                <a:gd name="connsiteX22" fmla="*/ 239092 w 665375"/>
                <a:gd name="connsiteY22" fmla="*/ 854737 h 897044"/>
                <a:gd name="connsiteX23" fmla="*/ 343940 w 665375"/>
                <a:gd name="connsiteY23" fmla="*/ 889770 h 897044"/>
                <a:gd name="connsiteX24" fmla="*/ 379820 w 665375"/>
                <a:gd name="connsiteY24" fmla="*/ 891300 h 897044"/>
                <a:gd name="connsiteX25" fmla="*/ 433429 w 665375"/>
                <a:gd name="connsiteY25" fmla="*/ 455293 h 897044"/>
                <a:gd name="connsiteX26" fmla="*/ 657061 w 665375"/>
                <a:gd name="connsiteY26" fmla="*/ 81910 h 89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5375" h="897044">
                  <a:moveTo>
                    <a:pt x="657061" y="81910"/>
                  </a:moveTo>
                  <a:cubicBezTo>
                    <a:pt x="650022" y="74004"/>
                    <a:pt x="641666" y="67755"/>
                    <a:pt x="632855" y="62777"/>
                  </a:cubicBezTo>
                  <a:cubicBezTo>
                    <a:pt x="612648" y="51423"/>
                    <a:pt x="590113" y="46704"/>
                    <a:pt x="575832" y="44805"/>
                  </a:cubicBezTo>
                  <a:cubicBezTo>
                    <a:pt x="567021" y="43609"/>
                    <a:pt x="561349" y="43478"/>
                    <a:pt x="561349" y="43478"/>
                  </a:cubicBezTo>
                  <a:lnTo>
                    <a:pt x="321992" y="395537"/>
                  </a:lnTo>
                  <a:cubicBezTo>
                    <a:pt x="306805" y="415216"/>
                    <a:pt x="297128" y="438566"/>
                    <a:pt x="293932" y="463234"/>
                  </a:cubicBezTo>
                  <a:lnTo>
                    <a:pt x="248811" y="732068"/>
                  </a:lnTo>
                  <a:lnTo>
                    <a:pt x="248132" y="736013"/>
                  </a:lnTo>
                  <a:lnTo>
                    <a:pt x="246648" y="732311"/>
                  </a:lnTo>
                  <a:lnTo>
                    <a:pt x="129480" y="437878"/>
                  </a:lnTo>
                  <a:lnTo>
                    <a:pt x="202555" y="15823"/>
                  </a:lnTo>
                  <a:cubicBezTo>
                    <a:pt x="196660" y="11554"/>
                    <a:pt x="190629" y="8095"/>
                    <a:pt x="184633" y="5335"/>
                  </a:cubicBezTo>
                  <a:cubicBezTo>
                    <a:pt x="161135" y="-5685"/>
                    <a:pt x="137931" y="-6515"/>
                    <a:pt x="122886" y="-5350"/>
                  </a:cubicBezTo>
                  <a:cubicBezTo>
                    <a:pt x="112504" y="-4601"/>
                    <a:pt x="106058" y="-2834"/>
                    <a:pt x="106058" y="-2834"/>
                  </a:cubicBezTo>
                  <a:lnTo>
                    <a:pt x="-2634" y="411524"/>
                  </a:lnTo>
                  <a:cubicBezTo>
                    <a:pt x="-11212" y="439736"/>
                    <a:pt x="-10048" y="469974"/>
                    <a:pt x="668" y="497351"/>
                  </a:cubicBezTo>
                  <a:lnTo>
                    <a:pt x="137506" y="842193"/>
                  </a:lnTo>
                  <a:cubicBezTo>
                    <a:pt x="139704" y="847951"/>
                    <a:pt x="145462" y="853086"/>
                    <a:pt x="153919" y="857532"/>
                  </a:cubicBezTo>
                  <a:cubicBezTo>
                    <a:pt x="165369" y="855648"/>
                    <a:pt x="181134" y="853684"/>
                    <a:pt x="199537" y="853238"/>
                  </a:cubicBezTo>
                  <a:cubicBezTo>
                    <a:pt x="199805" y="854347"/>
                    <a:pt x="200367" y="855410"/>
                    <a:pt x="201162" y="856241"/>
                  </a:cubicBezTo>
                  <a:cubicBezTo>
                    <a:pt x="202580" y="857730"/>
                    <a:pt x="204484" y="858535"/>
                    <a:pt x="206520" y="858408"/>
                  </a:cubicBezTo>
                  <a:cubicBezTo>
                    <a:pt x="212699" y="858140"/>
                    <a:pt x="224290" y="857826"/>
                    <a:pt x="232606" y="858312"/>
                  </a:cubicBezTo>
                  <a:cubicBezTo>
                    <a:pt x="235396" y="858434"/>
                    <a:pt x="237817" y="856975"/>
                    <a:pt x="239092" y="854737"/>
                  </a:cubicBezTo>
                  <a:cubicBezTo>
                    <a:pt x="272430" y="858130"/>
                    <a:pt x="309520" y="867838"/>
                    <a:pt x="343940" y="889770"/>
                  </a:cubicBezTo>
                  <a:cubicBezTo>
                    <a:pt x="365569" y="890971"/>
                    <a:pt x="379820" y="891300"/>
                    <a:pt x="379820" y="891300"/>
                  </a:cubicBezTo>
                  <a:cubicBezTo>
                    <a:pt x="451331" y="827704"/>
                    <a:pt x="433429" y="455293"/>
                    <a:pt x="433429" y="455293"/>
                  </a:cubicBezTo>
                  <a:lnTo>
                    <a:pt x="657061" y="81910"/>
                  </a:ln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3" name="Freeform: Shape 442">
              <a:extLst>
                <a:ext uri="{FF2B5EF4-FFF2-40B4-BE49-F238E27FC236}">
                  <a16:creationId xmlns:a16="http://schemas.microsoft.com/office/drawing/2014/main" id="{6F512936-6BCB-258B-0DBE-857EC56E148C}"/>
                </a:ext>
              </a:extLst>
            </p:cNvPr>
            <p:cNvSpPr/>
            <p:nvPr/>
          </p:nvSpPr>
          <p:spPr>
            <a:xfrm flipV="1">
              <a:off x="6589430" y="3201746"/>
              <a:ext cx="245914" cy="83113"/>
            </a:xfrm>
            <a:custGeom>
              <a:avLst/>
              <a:gdLst>
                <a:gd name="connsiteX0" fmla="*/ 237715 w 245914"/>
                <a:gd name="connsiteY0" fmla="*/ 53091 h 83113"/>
                <a:gd name="connsiteX1" fmla="*/ 99252 w 245914"/>
                <a:gd name="connsiteY1" fmla="*/ -5891 h 83113"/>
                <a:gd name="connsiteX2" fmla="*/ 59209 w 245914"/>
                <a:gd name="connsiteY2" fmla="*/ -6180 h 83113"/>
                <a:gd name="connsiteX3" fmla="*/ -4599 w 245914"/>
                <a:gd name="connsiteY3" fmla="*/ 3984 h 83113"/>
                <a:gd name="connsiteX4" fmla="*/ -4655 w 245914"/>
                <a:gd name="connsiteY4" fmla="*/ 3979 h 83113"/>
                <a:gd name="connsiteX5" fmla="*/ -8199 w 245914"/>
                <a:gd name="connsiteY5" fmla="*/ 23517 h 83113"/>
                <a:gd name="connsiteX6" fmla="*/ -8199 w 245914"/>
                <a:gd name="connsiteY6" fmla="*/ 23577 h 83113"/>
                <a:gd name="connsiteX7" fmla="*/ 11814 w 245914"/>
                <a:gd name="connsiteY7" fmla="*/ 19323 h 83113"/>
                <a:gd name="connsiteX8" fmla="*/ 57432 w 245914"/>
                <a:gd name="connsiteY8" fmla="*/ 15029 h 83113"/>
                <a:gd name="connsiteX9" fmla="*/ 96988 w 245914"/>
                <a:gd name="connsiteY9" fmla="*/ 16528 h 83113"/>
                <a:gd name="connsiteX10" fmla="*/ 201835 w 245914"/>
                <a:gd name="connsiteY10" fmla="*/ 51562 h 83113"/>
                <a:gd name="connsiteX11" fmla="*/ 233800 w 245914"/>
                <a:gd name="connsiteY11" fmla="*/ 76406 h 83113"/>
                <a:gd name="connsiteX12" fmla="*/ 237715 w 245914"/>
                <a:gd name="connsiteY12" fmla="*/ 53091 h 8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914" h="83113">
                  <a:moveTo>
                    <a:pt x="237715" y="53091"/>
                  </a:moveTo>
                  <a:cubicBezTo>
                    <a:pt x="196179" y="11783"/>
                    <a:pt x="144353" y="-2690"/>
                    <a:pt x="99252" y="-5891"/>
                  </a:cubicBezTo>
                  <a:cubicBezTo>
                    <a:pt x="85072" y="-6975"/>
                    <a:pt x="71510" y="-6884"/>
                    <a:pt x="59209" y="-6180"/>
                  </a:cubicBezTo>
                  <a:cubicBezTo>
                    <a:pt x="22778" y="-4053"/>
                    <a:pt x="-3135" y="3493"/>
                    <a:pt x="-4599" y="3984"/>
                  </a:cubicBezTo>
                  <a:lnTo>
                    <a:pt x="-4655" y="3979"/>
                  </a:lnTo>
                  <a:cubicBezTo>
                    <a:pt x="-5738" y="10537"/>
                    <a:pt x="-6938" y="17085"/>
                    <a:pt x="-8199" y="23517"/>
                  </a:cubicBezTo>
                  <a:lnTo>
                    <a:pt x="-8199" y="23577"/>
                  </a:lnTo>
                  <a:cubicBezTo>
                    <a:pt x="-8199" y="23577"/>
                    <a:pt x="-816" y="21481"/>
                    <a:pt x="11814" y="19323"/>
                  </a:cubicBezTo>
                  <a:cubicBezTo>
                    <a:pt x="23264" y="17440"/>
                    <a:pt x="39029" y="15475"/>
                    <a:pt x="57432" y="15029"/>
                  </a:cubicBezTo>
                  <a:cubicBezTo>
                    <a:pt x="69611" y="14669"/>
                    <a:pt x="82991" y="15039"/>
                    <a:pt x="96988" y="16528"/>
                  </a:cubicBezTo>
                  <a:cubicBezTo>
                    <a:pt x="130325" y="19921"/>
                    <a:pt x="167415" y="29629"/>
                    <a:pt x="201835" y="51562"/>
                  </a:cubicBezTo>
                  <a:cubicBezTo>
                    <a:pt x="212850" y="58515"/>
                    <a:pt x="223545" y="66739"/>
                    <a:pt x="233800" y="76406"/>
                  </a:cubicBezTo>
                  <a:lnTo>
                    <a:pt x="237715" y="53091"/>
                  </a:ln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4" name="Freeform: Shape 443">
              <a:extLst>
                <a:ext uri="{FF2B5EF4-FFF2-40B4-BE49-F238E27FC236}">
                  <a16:creationId xmlns:a16="http://schemas.microsoft.com/office/drawing/2014/main" id="{13D2E733-4AAE-8B44-5B10-DCE56F689627}"/>
                </a:ext>
              </a:extLst>
            </p:cNvPr>
            <p:cNvSpPr/>
            <p:nvPr/>
          </p:nvSpPr>
          <p:spPr>
            <a:xfrm flipV="1">
              <a:off x="6647978" y="3257940"/>
              <a:ext cx="49022" cy="32819"/>
            </a:xfrm>
            <a:custGeom>
              <a:avLst/>
              <a:gdLst>
                <a:gd name="connsiteX0" fmla="*/ 10513 w 49022"/>
                <a:gd name="connsiteY0" fmla="*/ 12181 h 32819"/>
                <a:gd name="connsiteX1" fmla="*/ 5449 w 49022"/>
                <a:gd name="connsiteY1" fmla="*/ 12125 h 32819"/>
                <a:gd name="connsiteX2" fmla="*/ 4704 w 49022"/>
                <a:gd name="connsiteY2" fmla="*/ 19149 h 32819"/>
                <a:gd name="connsiteX3" fmla="*/ 4978 w 49022"/>
                <a:gd name="connsiteY3" fmla="*/ 19914 h 32819"/>
                <a:gd name="connsiteX4" fmla="*/ 5490 w 49022"/>
                <a:gd name="connsiteY4" fmla="*/ 20218 h 32819"/>
                <a:gd name="connsiteX5" fmla="*/ 5672 w 49022"/>
                <a:gd name="connsiteY5" fmla="*/ 20223 h 32819"/>
                <a:gd name="connsiteX6" fmla="*/ 32395 w 49022"/>
                <a:gd name="connsiteY6" fmla="*/ 20086 h 32819"/>
                <a:gd name="connsiteX7" fmla="*/ 33403 w 49022"/>
                <a:gd name="connsiteY7" fmla="*/ 19235 h 32819"/>
                <a:gd name="connsiteX8" fmla="*/ 34867 w 49022"/>
                <a:gd name="connsiteY8" fmla="*/ 1106 h 32819"/>
                <a:gd name="connsiteX9" fmla="*/ 34076 w 49022"/>
                <a:gd name="connsiteY9" fmla="*/ 98 h 32819"/>
                <a:gd name="connsiteX10" fmla="*/ 7303 w 49022"/>
                <a:gd name="connsiteY10" fmla="*/ 58 h 32819"/>
                <a:gd name="connsiteX11" fmla="*/ 6583 w 49022"/>
                <a:gd name="connsiteY11" fmla="*/ 913 h 32819"/>
                <a:gd name="connsiteX12" fmla="*/ 6056 w 49022"/>
                <a:gd name="connsiteY12" fmla="*/ 6145 h 32819"/>
                <a:gd name="connsiteX13" fmla="*/ 10943 w 49022"/>
                <a:gd name="connsiteY13" fmla="*/ 6195 h 32819"/>
                <a:gd name="connsiteX14" fmla="*/ 11060 w 49022"/>
                <a:gd name="connsiteY14" fmla="*/ 6200 h 32819"/>
                <a:gd name="connsiteX15" fmla="*/ 13719 w 49022"/>
                <a:gd name="connsiteY15" fmla="*/ 9345 h 32819"/>
                <a:gd name="connsiteX16" fmla="*/ 10513 w 49022"/>
                <a:gd name="connsiteY16" fmla="*/ 12181 h 32819"/>
                <a:gd name="connsiteX17" fmla="*/ 39328 w 49022"/>
                <a:gd name="connsiteY17" fmla="*/ 19721 h 32819"/>
                <a:gd name="connsiteX18" fmla="*/ 38507 w 49022"/>
                <a:gd name="connsiteY18" fmla="*/ 22497 h 32819"/>
                <a:gd name="connsiteX19" fmla="*/ 32020 w 49022"/>
                <a:gd name="connsiteY19" fmla="*/ 26072 h 32819"/>
                <a:gd name="connsiteX20" fmla="*/ 5935 w 49022"/>
                <a:gd name="connsiteY20" fmla="*/ 26168 h 32819"/>
                <a:gd name="connsiteX21" fmla="*/ 577 w 49022"/>
                <a:gd name="connsiteY21" fmla="*/ 24001 h 32819"/>
                <a:gd name="connsiteX22" fmla="*/ -1048 w 49022"/>
                <a:gd name="connsiteY22" fmla="*/ 20998 h 32819"/>
                <a:gd name="connsiteX23" fmla="*/ -1276 w 49022"/>
                <a:gd name="connsiteY23" fmla="*/ 18491 h 32819"/>
                <a:gd name="connsiteX24" fmla="*/ -623 w 49022"/>
                <a:gd name="connsiteY24" fmla="*/ 12738 h 32819"/>
                <a:gd name="connsiteX25" fmla="*/ -4193 w 49022"/>
                <a:gd name="connsiteY25" fmla="*/ 13589 h 32819"/>
                <a:gd name="connsiteX26" fmla="*/ -7991 w 49022"/>
                <a:gd name="connsiteY26" fmla="*/ 11695 h 32819"/>
                <a:gd name="connsiteX27" fmla="*/ -6098 w 49022"/>
                <a:gd name="connsiteY27" fmla="*/ 7897 h 32819"/>
                <a:gd name="connsiteX28" fmla="*/ -10 w 49022"/>
                <a:gd name="connsiteY28" fmla="*/ 6585 h 32819"/>
                <a:gd name="connsiteX29" fmla="*/ 658 w 49022"/>
                <a:gd name="connsiteY29" fmla="*/ 311 h 32819"/>
                <a:gd name="connsiteX30" fmla="*/ 729 w 49022"/>
                <a:gd name="connsiteY30" fmla="*/ -211 h 32819"/>
                <a:gd name="connsiteX31" fmla="*/ 6447 w 49022"/>
                <a:gd name="connsiteY31" fmla="*/ -5842 h 32819"/>
                <a:gd name="connsiteX32" fmla="*/ 34623 w 49022"/>
                <a:gd name="connsiteY32" fmla="*/ -5883 h 32819"/>
                <a:gd name="connsiteX33" fmla="*/ 34684 w 49022"/>
                <a:gd name="connsiteY33" fmla="*/ -5883 h 32819"/>
                <a:gd name="connsiteX34" fmla="*/ 40771 w 49022"/>
                <a:gd name="connsiteY34" fmla="*/ 78 h 32819"/>
                <a:gd name="connsiteX35" fmla="*/ 40857 w 49022"/>
                <a:gd name="connsiteY35" fmla="*/ 1597 h 32819"/>
                <a:gd name="connsiteX36" fmla="*/ 39328 w 49022"/>
                <a:gd name="connsiteY36" fmla="*/ 19721 h 32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9022" h="32819">
                  <a:moveTo>
                    <a:pt x="10513" y="12181"/>
                  </a:moveTo>
                  <a:cubicBezTo>
                    <a:pt x="10513" y="12181"/>
                    <a:pt x="8300" y="12014"/>
                    <a:pt x="5449" y="12125"/>
                  </a:cubicBezTo>
                  <a:lnTo>
                    <a:pt x="4704" y="19149"/>
                  </a:lnTo>
                  <a:lnTo>
                    <a:pt x="4978" y="19914"/>
                  </a:lnTo>
                  <a:lnTo>
                    <a:pt x="5490" y="20218"/>
                  </a:lnTo>
                  <a:lnTo>
                    <a:pt x="5672" y="20223"/>
                  </a:lnTo>
                  <a:cubicBezTo>
                    <a:pt x="11961" y="19960"/>
                    <a:pt x="23791" y="19595"/>
                    <a:pt x="32395" y="20086"/>
                  </a:cubicBezTo>
                  <a:cubicBezTo>
                    <a:pt x="32912" y="20096"/>
                    <a:pt x="33332" y="19757"/>
                    <a:pt x="33403" y="19235"/>
                  </a:cubicBezTo>
                  <a:lnTo>
                    <a:pt x="34867" y="1106"/>
                  </a:lnTo>
                  <a:cubicBezTo>
                    <a:pt x="34942" y="584"/>
                    <a:pt x="34664" y="-3"/>
                    <a:pt x="34076" y="98"/>
                  </a:cubicBezTo>
                  <a:cubicBezTo>
                    <a:pt x="28040" y="-505"/>
                    <a:pt x="16590" y="-1239"/>
                    <a:pt x="7303" y="58"/>
                  </a:cubicBezTo>
                  <a:lnTo>
                    <a:pt x="6583" y="913"/>
                  </a:lnTo>
                  <a:lnTo>
                    <a:pt x="6056" y="6145"/>
                  </a:lnTo>
                  <a:cubicBezTo>
                    <a:pt x="8730" y="6089"/>
                    <a:pt x="10711" y="6190"/>
                    <a:pt x="10943" y="6195"/>
                  </a:cubicBezTo>
                  <a:lnTo>
                    <a:pt x="11060" y="6200"/>
                  </a:lnTo>
                  <a:cubicBezTo>
                    <a:pt x="12630" y="6352"/>
                    <a:pt x="13815" y="7775"/>
                    <a:pt x="13719" y="9345"/>
                  </a:cubicBezTo>
                  <a:cubicBezTo>
                    <a:pt x="13622" y="11032"/>
                    <a:pt x="12200" y="12282"/>
                    <a:pt x="10513" y="12181"/>
                  </a:cubicBezTo>
                  <a:close/>
                  <a:moveTo>
                    <a:pt x="39328" y="19721"/>
                  </a:moveTo>
                  <a:cubicBezTo>
                    <a:pt x="39247" y="20709"/>
                    <a:pt x="38933" y="21691"/>
                    <a:pt x="38507" y="22497"/>
                  </a:cubicBezTo>
                  <a:cubicBezTo>
                    <a:pt x="37231" y="24735"/>
                    <a:pt x="34811" y="26194"/>
                    <a:pt x="32020" y="26072"/>
                  </a:cubicBezTo>
                  <a:cubicBezTo>
                    <a:pt x="23705" y="25586"/>
                    <a:pt x="12114" y="25900"/>
                    <a:pt x="5935" y="26168"/>
                  </a:cubicBezTo>
                  <a:cubicBezTo>
                    <a:pt x="3899" y="26295"/>
                    <a:pt x="1995" y="25490"/>
                    <a:pt x="577" y="24001"/>
                  </a:cubicBezTo>
                  <a:cubicBezTo>
                    <a:pt x="-218" y="23170"/>
                    <a:pt x="-780" y="22107"/>
                    <a:pt x="-1048" y="20998"/>
                  </a:cubicBezTo>
                  <a:cubicBezTo>
                    <a:pt x="-1261" y="20177"/>
                    <a:pt x="-1357" y="19357"/>
                    <a:pt x="-1276" y="18491"/>
                  </a:cubicBezTo>
                  <a:lnTo>
                    <a:pt x="-623" y="12738"/>
                  </a:lnTo>
                  <a:cubicBezTo>
                    <a:pt x="-1848" y="12946"/>
                    <a:pt x="-3074" y="13209"/>
                    <a:pt x="-4193" y="13589"/>
                  </a:cubicBezTo>
                  <a:cubicBezTo>
                    <a:pt x="-5712" y="14136"/>
                    <a:pt x="-7444" y="13280"/>
                    <a:pt x="-7991" y="11695"/>
                  </a:cubicBezTo>
                  <a:cubicBezTo>
                    <a:pt x="-8472" y="10115"/>
                    <a:pt x="-7683" y="8444"/>
                    <a:pt x="-6098" y="7897"/>
                  </a:cubicBezTo>
                  <a:cubicBezTo>
                    <a:pt x="-4218" y="7244"/>
                    <a:pt x="-2056" y="6884"/>
                    <a:pt x="-10" y="6585"/>
                  </a:cubicBezTo>
                  <a:lnTo>
                    <a:pt x="658" y="311"/>
                  </a:lnTo>
                  <a:lnTo>
                    <a:pt x="729" y="-211"/>
                  </a:lnTo>
                  <a:cubicBezTo>
                    <a:pt x="1261" y="-3168"/>
                    <a:pt x="3585" y="-5442"/>
                    <a:pt x="6447" y="-5842"/>
                  </a:cubicBezTo>
                  <a:cubicBezTo>
                    <a:pt x="16378" y="-7240"/>
                    <a:pt x="28349" y="-6496"/>
                    <a:pt x="34623" y="-5883"/>
                  </a:cubicBezTo>
                  <a:lnTo>
                    <a:pt x="34684" y="-5883"/>
                  </a:lnTo>
                  <a:cubicBezTo>
                    <a:pt x="37880" y="-5579"/>
                    <a:pt x="40381" y="-3016"/>
                    <a:pt x="40771" y="78"/>
                  </a:cubicBezTo>
                  <a:cubicBezTo>
                    <a:pt x="40883" y="549"/>
                    <a:pt x="40928" y="1070"/>
                    <a:pt x="40857" y="1597"/>
                  </a:cubicBezTo>
                  <a:lnTo>
                    <a:pt x="39328" y="19721"/>
                  </a:lnTo>
                </a:path>
              </a:pathLst>
            </a:custGeom>
            <a:solidFill>
              <a:srgbClr val="FFFFFF"/>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5" name="Freeform: Shape 444">
              <a:extLst>
                <a:ext uri="{FF2B5EF4-FFF2-40B4-BE49-F238E27FC236}">
                  <a16:creationId xmlns:a16="http://schemas.microsoft.com/office/drawing/2014/main" id="{35B5E6FB-AE09-A2C1-420A-72F563B9F25B}"/>
                </a:ext>
              </a:extLst>
            </p:cNvPr>
            <p:cNvSpPr/>
            <p:nvPr/>
          </p:nvSpPr>
          <p:spPr>
            <a:xfrm flipV="1">
              <a:off x="6122721" y="2870208"/>
              <a:ext cx="518084" cy="481797"/>
            </a:xfrm>
            <a:custGeom>
              <a:avLst/>
              <a:gdLst>
                <a:gd name="connsiteX0" fmla="*/ 510451 w 518084"/>
                <a:gd name="connsiteY0" fmla="*/ -3352 h 481797"/>
                <a:gd name="connsiteX1" fmla="*/ 439973 w 518084"/>
                <a:gd name="connsiteY1" fmla="*/ 12747 h 481797"/>
                <a:gd name="connsiteX2" fmla="*/ 387650 w 518084"/>
                <a:gd name="connsiteY2" fmla="*/ 293827 h 481797"/>
                <a:gd name="connsiteX3" fmla="*/ 275080 w 518084"/>
                <a:gd name="connsiteY3" fmla="*/ 155753 h 481797"/>
                <a:gd name="connsiteX4" fmla="*/ 229255 w 518084"/>
                <a:gd name="connsiteY4" fmla="*/ 125657 h 481797"/>
                <a:gd name="connsiteX5" fmla="*/ 18759 w 518084"/>
                <a:gd name="connsiteY5" fmla="*/ 21999 h 481797"/>
                <a:gd name="connsiteX6" fmla="*/ -6618 w 518084"/>
                <a:gd name="connsiteY6" fmla="*/ 74555 h 481797"/>
                <a:gd name="connsiteX7" fmla="*/ 208153 w 518084"/>
                <a:gd name="connsiteY7" fmla="*/ 212613 h 481797"/>
                <a:gd name="connsiteX8" fmla="*/ 327119 w 518084"/>
                <a:gd name="connsiteY8" fmla="*/ 395616 h 481797"/>
                <a:gd name="connsiteX9" fmla="*/ 361120 w 518084"/>
                <a:gd name="connsiteY9" fmla="*/ 433658 h 481797"/>
                <a:gd name="connsiteX10" fmla="*/ 389469 w 518084"/>
                <a:gd name="connsiteY10" fmla="*/ 461125 h 481797"/>
                <a:gd name="connsiteX11" fmla="*/ 405775 w 518084"/>
                <a:gd name="connsiteY11" fmla="*/ 474794 h 481797"/>
                <a:gd name="connsiteX12" fmla="*/ 490316 w 518084"/>
                <a:gd name="connsiteY12" fmla="*/ 64741 h 481797"/>
                <a:gd name="connsiteX13" fmla="*/ 510451 w 518084"/>
                <a:gd name="connsiteY13" fmla="*/ -3352 h 48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084" h="481797">
                  <a:moveTo>
                    <a:pt x="510451" y="-3352"/>
                  </a:moveTo>
                  <a:cubicBezTo>
                    <a:pt x="510451" y="-3352"/>
                    <a:pt x="482396" y="-18448"/>
                    <a:pt x="439973" y="12747"/>
                  </a:cubicBezTo>
                  <a:cubicBezTo>
                    <a:pt x="439973" y="12747"/>
                    <a:pt x="430609" y="193461"/>
                    <a:pt x="387650" y="293827"/>
                  </a:cubicBezTo>
                  <a:lnTo>
                    <a:pt x="275080" y="155753"/>
                  </a:lnTo>
                  <a:cubicBezTo>
                    <a:pt x="261802" y="142987"/>
                    <a:pt x="246290" y="132767"/>
                    <a:pt x="229255" y="125657"/>
                  </a:cubicBezTo>
                  <a:lnTo>
                    <a:pt x="18759" y="21999"/>
                  </a:lnTo>
                  <a:cubicBezTo>
                    <a:pt x="-15414" y="37298"/>
                    <a:pt x="-6618" y="74555"/>
                    <a:pt x="-6618" y="74555"/>
                  </a:cubicBezTo>
                  <a:lnTo>
                    <a:pt x="208153" y="212613"/>
                  </a:lnTo>
                  <a:lnTo>
                    <a:pt x="327119" y="395616"/>
                  </a:lnTo>
                  <a:cubicBezTo>
                    <a:pt x="337531" y="409097"/>
                    <a:pt x="348884" y="421828"/>
                    <a:pt x="361120" y="433658"/>
                  </a:cubicBezTo>
                  <a:lnTo>
                    <a:pt x="389469" y="461125"/>
                  </a:lnTo>
                  <a:lnTo>
                    <a:pt x="405775" y="474794"/>
                  </a:lnTo>
                  <a:cubicBezTo>
                    <a:pt x="407158" y="463227"/>
                    <a:pt x="429136" y="282032"/>
                    <a:pt x="490316" y="64741"/>
                  </a:cubicBezTo>
                  <a:cubicBezTo>
                    <a:pt x="496590" y="42367"/>
                    <a:pt x="503300" y="19624"/>
                    <a:pt x="510451" y="-3352"/>
                  </a:cubicBezTo>
                </a:path>
              </a:pathLst>
            </a:custGeom>
            <a:solidFill>
              <a:srgbClr val="4DA5C3">
                <a:lumMod val="60000"/>
                <a:lumOff val="4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6" name="Freeform: Shape 445">
              <a:extLst>
                <a:ext uri="{FF2B5EF4-FFF2-40B4-BE49-F238E27FC236}">
                  <a16:creationId xmlns:a16="http://schemas.microsoft.com/office/drawing/2014/main" id="{54F200DB-82FC-AD55-43A3-EF8A733D51EC}"/>
                </a:ext>
              </a:extLst>
            </p:cNvPr>
            <p:cNvSpPr/>
            <p:nvPr/>
          </p:nvSpPr>
          <p:spPr>
            <a:xfrm flipV="1">
              <a:off x="6496918" y="2978975"/>
              <a:ext cx="25114" cy="76363"/>
            </a:xfrm>
            <a:custGeom>
              <a:avLst/>
              <a:gdLst>
                <a:gd name="connsiteX0" fmla="*/ 13341 w 25114"/>
                <a:gd name="connsiteY0" fmla="*/ -7213 h 76363"/>
                <a:gd name="connsiteX1" fmla="*/ 9554 w 25114"/>
                <a:gd name="connsiteY1" fmla="*/ -4746 h 76363"/>
                <a:gd name="connsiteX2" fmla="*/ -7826 w 25114"/>
                <a:gd name="connsiteY2" fmla="*/ 64678 h 76363"/>
                <a:gd name="connsiteX3" fmla="*/ -4302 w 25114"/>
                <a:gd name="connsiteY3" fmla="*/ 69124 h 76363"/>
                <a:gd name="connsiteX4" fmla="*/ 140 w 25114"/>
                <a:gd name="connsiteY4" fmla="*/ 65594 h 76363"/>
                <a:gd name="connsiteX5" fmla="*/ 16947 w 25114"/>
                <a:gd name="connsiteY5" fmla="*/ -1663 h 76363"/>
                <a:gd name="connsiteX6" fmla="*/ 14800 w 25114"/>
                <a:gd name="connsiteY6" fmla="*/ -6904 h 76363"/>
                <a:gd name="connsiteX7" fmla="*/ 13341 w 25114"/>
                <a:gd name="connsiteY7" fmla="*/ -7213 h 76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14" h="76363">
                  <a:moveTo>
                    <a:pt x="13341" y="-7213"/>
                  </a:moveTo>
                  <a:cubicBezTo>
                    <a:pt x="11742" y="-7248"/>
                    <a:pt x="10207" y="-6321"/>
                    <a:pt x="9554" y="-4746"/>
                  </a:cubicBezTo>
                  <a:cubicBezTo>
                    <a:pt x="9027" y="-3480"/>
                    <a:pt x="-3491" y="26808"/>
                    <a:pt x="-7826" y="64678"/>
                  </a:cubicBezTo>
                  <a:cubicBezTo>
                    <a:pt x="-8075" y="66881"/>
                    <a:pt x="-6500" y="68866"/>
                    <a:pt x="-4302" y="69124"/>
                  </a:cubicBezTo>
                  <a:cubicBezTo>
                    <a:pt x="-2064" y="69372"/>
                    <a:pt x="-109" y="67787"/>
                    <a:pt x="140" y="65594"/>
                  </a:cubicBezTo>
                  <a:cubicBezTo>
                    <a:pt x="4343" y="28900"/>
                    <a:pt x="16831" y="-1364"/>
                    <a:pt x="16947" y="-1663"/>
                  </a:cubicBezTo>
                  <a:cubicBezTo>
                    <a:pt x="17808" y="-3703"/>
                    <a:pt x="16841" y="-6053"/>
                    <a:pt x="14800" y="-6904"/>
                  </a:cubicBezTo>
                  <a:cubicBezTo>
                    <a:pt x="14319" y="-7101"/>
                    <a:pt x="13833" y="-7203"/>
                    <a:pt x="13341" y="-7213"/>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7" name="Freeform: Shape 446">
              <a:extLst>
                <a:ext uri="{FF2B5EF4-FFF2-40B4-BE49-F238E27FC236}">
                  <a16:creationId xmlns:a16="http://schemas.microsoft.com/office/drawing/2014/main" id="{BB338C71-9B20-5C22-A23E-E476BAD95088}"/>
                </a:ext>
              </a:extLst>
            </p:cNvPr>
            <p:cNvSpPr/>
            <p:nvPr/>
          </p:nvSpPr>
          <p:spPr>
            <a:xfrm flipV="1">
              <a:off x="6613257" y="2731714"/>
              <a:ext cx="601365" cy="604687"/>
            </a:xfrm>
            <a:custGeom>
              <a:avLst/>
              <a:gdLst>
                <a:gd name="connsiteX0" fmla="*/ 592522 w 601365"/>
                <a:gd name="connsiteY0" fmla="*/ 532245 h 604687"/>
                <a:gd name="connsiteX1" fmla="*/ 391122 w 601365"/>
                <a:gd name="connsiteY1" fmla="*/ 364516 h 604687"/>
                <a:gd name="connsiteX2" fmla="*/ 338571 w 601365"/>
                <a:gd name="connsiteY2" fmla="*/ 350737 h 604687"/>
                <a:gd name="connsiteX3" fmla="*/ 167201 w 601365"/>
                <a:gd name="connsiteY3" fmla="*/ 379855 h 604687"/>
                <a:gd name="connsiteX4" fmla="*/ 249594 w 601365"/>
                <a:gd name="connsiteY4" fmla="*/ 43764 h 604687"/>
                <a:gd name="connsiteX5" fmla="*/ 136421 w 601365"/>
                <a:gd name="connsiteY5" fmla="*/ -7176 h 604687"/>
                <a:gd name="connsiteX6" fmla="*/ 136370 w 601365"/>
                <a:gd name="connsiteY6" fmla="*/ -7080 h 604687"/>
                <a:gd name="connsiteX7" fmla="*/ -8544 w 601365"/>
                <a:gd name="connsiteY7" fmla="*/ 514531 h 604687"/>
                <a:gd name="connsiteX8" fmla="*/ 92054 w 601365"/>
                <a:gd name="connsiteY8" fmla="*/ 522228 h 604687"/>
                <a:gd name="connsiteX9" fmla="*/ 182399 w 601365"/>
                <a:gd name="connsiteY9" fmla="*/ 509877 h 604687"/>
                <a:gd name="connsiteX10" fmla="*/ 352928 w 601365"/>
                <a:gd name="connsiteY10" fmla="*/ 447983 h 604687"/>
                <a:gd name="connsiteX11" fmla="*/ 569278 w 601365"/>
                <a:gd name="connsiteY11" fmla="*/ 597512 h 604687"/>
                <a:gd name="connsiteX12" fmla="*/ 592522 w 601365"/>
                <a:gd name="connsiteY12" fmla="*/ 532245 h 60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1365" h="604687">
                  <a:moveTo>
                    <a:pt x="592522" y="532245"/>
                  </a:moveTo>
                  <a:lnTo>
                    <a:pt x="391122" y="364516"/>
                  </a:lnTo>
                  <a:cubicBezTo>
                    <a:pt x="376030" y="353198"/>
                    <a:pt x="357222" y="348271"/>
                    <a:pt x="338571" y="350737"/>
                  </a:cubicBezTo>
                  <a:lnTo>
                    <a:pt x="167201" y="379855"/>
                  </a:lnTo>
                  <a:cubicBezTo>
                    <a:pt x="201733" y="188801"/>
                    <a:pt x="249594" y="43764"/>
                    <a:pt x="249594" y="43764"/>
                  </a:cubicBezTo>
                  <a:cubicBezTo>
                    <a:pt x="207142" y="-699"/>
                    <a:pt x="136421" y="-7176"/>
                    <a:pt x="136421" y="-7176"/>
                  </a:cubicBezTo>
                  <a:lnTo>
                    <a:pt x="136370" y="-7080"/>
                  </a:lnTo>
                  <a:cubicBezTo>
                    <a:pt x="133509" y="-572"/>
                    <a:pt x="-6266" y="337129"/>
                    <a:pt x="-8544" y="514531"/>
                  </a:cubicBezTo>
                  <a:lnTo>
                    <a:pt x="92054" y="522228"/>
                  </a:lnTo>
                  <a:cubicBezTo>
                    <a:pt x="122682" y="524583"/>
                    <a:pt x="153508" y="520370"/>
                    <a:pt x="182399" y="509877"/>
                  </a:cubicBezTo>
                  <a:lnTo>
                    <a:pt x="352928" y="447983"/>
                  </a:lnTo>
                  <a:lnTo>
                    <a:pt x="569278" y="597512"/>
                  </a:lnTo>
                  <a:cubicBezTo>
                    <a:pt x="569278" y="597512"/>
                    <a:pt x="595915" y="594119"/>
                    <a:pt x="592522" y="532245"/>
                  </a:cubicBezTo>
                </a:path>
              </a:pathLst>
            </a:custGeom>
            <a:solidFill>
              <a:srgbClr val="4DA5C3">
                <a:lumMod val="60000"/>
                <a:lumOff val="4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8" name="Freeform: Shape 447">
              <a:extLst>
                <a:ext uri="{FF2B5EF4-FFF2-40B4-BE49-F238E27FC236}">
                  <a16:creationId xmlns:a16="http://schemas.microsoft.com/office/drawing/2014/main" id="{ECB0082E-AC07-4600-29F1-EC586A39A11D}"/>
                </a:ext>
              </a:extLst>
            </p:cNvPr>
            <p:cNvSpPr/>
            <p:nvPr/>
          </p:nvSpPr>
          <p:spPr>
            <a:xfrm flipV="1">
              <a:off x="6764988" y="3225513"/>
              <a:ext cx="80637" cy="29178"/>
            </a:xfrm>
            <a:custGeom>
              <a:avLst/>
              <a:gdLst>
                <a:gd name="connsiteX0" fmla="*/ 55906 w 80637"/>
                <a:gd name="connsiteY0" fmla="*/ -6690 h 29178"/>
                <a:gd name="connsiteX1" fmla="*/ -6940 w 80637"/>
                <a:gd name="connsiteY1" fmla="*/ 15395 h 29178"/>
                <a:gd name="connsiteX2" fmla="*/ -7406 w 80637"/>
                <a:gd name="connsiteY2" fmla="*/ 21046 h 29178"/>
                <a:gd name="connsiteX3" fmla="*/ -1760 w 80637"/>
                <a:gd name="connsiteY3" fmla="*/ 21512 h 29178"/>
                <a:gd name="connsiteX4" fmla="*/ 67599 w 80637"/>
                <a:gd name="connsiteY4" fmla="*/ 2456 h 29178"/>
                <a:gd name="connsiteX5" fmla="*/ 72222 w 80637"/>
                <a:gd name="connsiteY5" fmla="*/ -831 h 29178"/>
                <a:gd name="connsiteX6" fmla="*/ 68930 w 80637"/>
                <a:gd name="connsiteY6" fmla="*/ -5449 h 29178"/>
                <a:gd name="connsiteX7" fmla="*/ 55906 w 80637"/>
                <a:gd name="connsiteY7" fmla="*/ -6690 h 29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637" h="29178">
                  <a:moveTo>
                    <a:pt x="55906" y="-6690"/>
                  </a:moveTo>
                  <a:cubicBezTo>
                    <a:pt x="33203" y="-7217"/>
                    <a:pt x="10440" y="643"/>
                    <a:pt x="-6940" y="15395"/>
                  </a:cubicBezTo>
                  <a:cubicBezTo>
                    <a:pt x="-8632" y="16828"/>
                    <a:pt x="-8839" y="19360"/>
                    <a:pt x="-7406" y="21046"/>
                  </a:cubicBezTo>
                  <a:cubicBezTo>
                    <a:pt x="-5968" y="22748"/>
                    <a:pt x="-3441" y="22935"/>
                    <a:pt x="-1760" y="21512"/>
                  </a:cubicBezTo>
                  <a:cubicBezTo>
                    <a:pt x="17185" y="5434"/>
                    <a:pt x="43114" y="-1671"/>
                    <a:pt x="67599" y="2456"/>
                  </a:cubicBezTo>
                  <a:cubicBezTo>
                    <a:pt x="69746" y="2785"/>
                    <a:pt x="71848" y="1357"/>
                    <a:pt x="72222" y="-831"/>
                  </a:cubicBezTo>
                  <a:cubicBezTo>
                    <a:pt x="72592" y="-3008"/>
                    <a:pt x="71118" y="-5079"/>
                    <a:pt x="68930" y="-5449"/>
                  </a:cubicBezTo>
                  <a:cubicBezTo>
                    <a:pt x="64621" y="-6184"/>
                    <a:pt x="60266" y="-6589"/>
                    <a:pt x="55906" y="-6690"/>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9" name="Freeform: Shape 448">
              <a:extLst>
                <a:ext uri="{FF2B5EF4-FFF2-40B4-BE49-F238E27FC236}">
                  <a16:creationId xmlns:a16="http://schemas.microsoft.com/office/drawing/2014/main" id="{5632AE76-F682-F465-BBBD-C3535A37EF16}"/>
                </a:ext>
              </a:extLst>
            </p:cNvPr>
            <p:cNvSpPr/>
            <p:nvPr/>
          </p:nvSpPr>
          <p:spPr>
            <a:xfrm flipV="1">
              <a:off x="6624968" y="2831413"/>
              <a:ext cx="96793" cy="357906"/>
            </a:xfrm>
            <a:custGeom>
              <a:avLst/>
              <a:gdLst>
                <a:gd name="connsiteX0" fmla="*/ 84736 w 96793"/>
                <a:gd name="connsiteY0" fmla="*/ -7228 h 357906"/>
                <a:gd name="connsiteX1" fmla="*/ 80775 w 96793"/>
                <a:gd name="connsiteY1" fmla="*/ -4245 h 357906"/>
                <a:gd name="connsiteX2" fmla="*/ 53151 w 96793"/>
                <a:gd name="connsiteY2" fmla="*/ 242079 h 357906"/>
                <a:gd name="connsiteX3" fmla="*/ 33643 w 96793"/>
                <a:gd name="connsiteY3" fmla="*/ 250541 h 357906"/>
                <a:gd name="connsiteX4" fmla="*/ 11609 w 96793"/>
                <a:gd name="connsiteY4" fmla="*/ 260097 h 357906"/>
                <a:gd name="connsiteX5" fmla="*/ 7989 w 96793"/>
                <a:gd name="connsiteY5" fmla="*/ 261682 h 357906"/>
                <a:gd name="connsiteX6" fmla="*/ 34722 w 96793"/>
                <a:gd name="connsiteY6" fmla="*/ 325075 h 357906"/>
                <a:gd name="connsiteX7" fmla="*/ -5740 w 96793"/>
                <a:gd name="connsiteY7" fmla="*/ 342997 h 357906"/>
                <a:gd name="connsiteX8" fmla="*/ -7791 w 96793"/>
                <a:gd name="connsiteY8" fmla="*/ 348284 h 357906"/>
                <a:gd name="connsiteX9" fmla="*/ -2499 w 96793"/>
                <a:gd name="connsiteY9" fmla="*/ 350330 h 357906"/>
                <a:gd name="connsiteX10" fmla="*/ 45175 w 96793"/>
                <a:gd name="connsiteY10" fmla="*/ 329213 h 357906"/>
                <a:gd name="connsiteX11" fmla="*/ 18451 w 96793"/>
                <a:gd name="connsiteY11" fmla="*/ 265860 h 357906"/>
                <a:gd name="connsiteX12" fmla="*/ 36819 w 96793"/>
                <a:gd name="connsiteY12" fmla="*/ 257900 h 357906"/>
                <a:gd name="connsiteX13" fmla="*/ 58848 w 96793"/>
                <a:gd name="connsiteY13" fmla="*/ 248344 h 357906"/>
                <a:gd name="connsiteX14" fmla="*/ 61334 w 96793"/>
                <a:gd name="connsiteY14" fmla="*/ 247255 h 357906"/>
                <a:gd name="connsiteX15" fmla="*/ 61248 w 96793"/>
                <a:gd name="connsiteY15" fmla="*/ 244546 h 357906"/>
                <a:gd name="connsiteX16" fmla="*/ 88529 w 96793"/>
                <a:gd name="connsiteY16" fmla="*/ -2199 h 357906"/>
                <a:gd name="connsiteX17" fmla="*/ 85672 w 96793"/>
                <a:gd name="connsiteY17" fmla="*/ -7096 h 357906"/>
                <a:gd name="connsiteX18" fmla="*/ 84736 w 96793"/>
                <a:gd name="connsiteY18" fmla="*/ -7228 h 35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6793" h="357906">
                  <a:moveTo>
                    <a:pt x="84736" y="-7228"/>
                  </a:moveTo>
                  <a:cubicBezTo>
                    <a:pt x="82928" y="-7269"/>
                    <a:pt x="81252" y="-6073"/>
                    <a:pt x="80775" y="-4245"/>
                  </a:cubicBezTo>
                  <a:cubicBezTo>
                    <a:pt x="60007" y="74401"/>
                    <a:pt x="50714" y="157265"/>
                    <a:pt x="53151" y="242079"/>
                  </a:cubicBezTo>
                  <a:cubicBezTo>
                    <a:pt x="46663" y="244915"/>
                    <a:pt x="40151" y="247726"/>
                    <a:pt x="33643" y="250541"/>
                  </a:cubicBezTo>
                  <a:cubicBezTo>
                    <a:pt x="26290" y="253717"/>
                    <a:pt x="18932" y="256892"/>
                    <a:pt x="11609" y="260097"/>
                  </a:cubicBezTo>
                  <a:lnTo>
                    <a:pt x="7989" y="261682"/>
                  </a:lnTo>
                  <a:lnTo>
                    <a:pt x="34722" y="325075"/>
                  </a:lnTo>
                  <a:lnTo>
                    <a:pt x="-5740" y="342997"/>
                  </a:lnTo>
                  <a:cubicBezTo>
                    <a:pt x="-7771" y="343894"/>
                    <a:pt x="-8682" y="346264"/>
                    <a:pt x="-7791" y="348284"/>
                  </a:cubicBezTo>
                  <a:cubicBezTo>
                    <a:pt x="-6895" y="350305"/>
                    <a:pt x="-4540" y="351237"/>
                    <a:pt x="-2499" y="350330"/>
                  </a:cubicBezTo>
                  <a:lnTo>
                    <a:pt x="45175" y="329213"/>
                  </a:lnTo>
                  <a:lnTo>
                    <a:pt x="18451" y="265860"/>
                  </a:lnTo>
                  <a:cubicBezTo>
                    <a:pt x="24558" y="263197"/>
                    <a:pt x="30691" y="260548"/>
                    <a:pt x="36819" y="257900"/>
                  </a:cubicBezTo>
                  <a:cubicBezTo>
                    <a:pt x="44172" y="254719"/>
                    <a:pt x="51530" y="251544"/>
                    <a:pt x="58848" y="248344"/>
                  </a:cubicBezTo>
                  <a:lnTo>
                    <a:pt x="61334" y="247255"/>
                  </a:lnTo>
                  <a:lnTo>
                    <a:pt x="61248" y="244546"/>
                  </a:lnTo>
                  <a:cubicBezTo>
                    <a:pt x="58559" y="159559"/>
                    <a:pt x="67735" y="76543"/>
                    <a:pt x="88529" y="-2199"/>
                  </a:cubicBezTo>
                  <a:cubicBezTo>
                    <a:pt x="89091" y="-4341"/>
                    <a:pt x="87809" y="-6529"/>
                    <a:pt x="85672" y="-7096"/>
                  </a:cubicBezTo>
                  <a:lnTo>
                    <a:pt x="84736" y="-7228"/>
                  </a:ln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0" name="Freeform: Shape 449">
              <a:extLst>
                <a:ext uri="{FF2B5EF4-FFF2-40B4-BE49-F238E27FC236}">
                  <a16:creationId xmlns:a16="http://schemas.microsoft.com/office/drawing/2014/main" id="{4281A29F-227F-D9B0-5CEB-C48F2DF7E464}"/>
                </a:ext>
              </a:extLst>
            </p:cNvPr>
            <p:cNvSpPr/>
            <p:nvPr/>
          </p:nvSpPr>
          <p:spPr>
            <a:xfrm flipV="1">
              <a:off x="5866242" y="1836052"/>
              <a:ext cx="1519199" cy="460634"/>
            </a:xfrm>
            <a:custGeom>
              <a:avLst/>
              <a:gdLst>
                <a:gd name="connsiteX0" fmla="*/ 1443339 w 1519199"/>
                <a:gd name="connsiteY0" fmla="*/ 31710 h 460634"/>
                <a:gd name="connsiteX1" fmla="*/ 1511148 w 1519199"/>
                <a:gd name="connsiteY1" fmla="*/ 385080 h 460634"/>
                <a:gd name="connsiteX2" fmla="*/ 1276375 w 1519199"/>
                <a:gd name="connsiteY2" fmla="*/ 447754 h 460634"/>
                <a:gd name="connsiteX3" fmla="*/ 1045273 w 1519199"/>
                <a:gd name="connsiteY3" fmla="*/ 367204 h 460634"/>
                <a:gd name="connsiteX4" fmla="*/ 810920 w 1519199"/>
                <a:gd name="connsiteY4" fmla="*/ 299264 h 460634"/>
                <a:gd name="connsiteX5" fmla="*/ 521829 w 1519199"/>
                <a:gd name="connsiteY5" fmla="*/ 337660 h 460634"/>
                <a:gd name="connsiteX6" fmla="*/ 237412 w 1519199"/>
                <a:gd name="connsiteY6" fmla="*/ 266256 h 460634"/>
                <a:gd name="connsiteX7" fmla="*/ -8051 w 1519199"/>
                <a:gd name="connsiteY7" fmla="*/ 100410 h 460634"/>
                <a:gd name="connsiteX8" fmla="*/ 650139 w 1519199"/>
                <a:gd name="connsiteY8" fmla="*/ 119421 h 460634"/>
                <a:gd name="connsiteX9" fmla="*/ 989567 w 1519199"/>
                <a:gd name="connsiteY9" fmla="*/ -9031 h 460634"/>
                <a:gd name="connsiteX10" fmla="*/ 1218340 w 1519199"/>
                <a:gd name="connsiteY10" fmla="*/ 31113 h 460634"/>
                <a:gd name="connsiteX11" fmla="*/ 1443339 w 1519199"/>
                <a:gd name="connsiteY11" fmla="*/ 31710 h 460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19199" h="460634">
                  <a:moveTo>
                    <a:pt x="1443339" y="31710"/>
                  </a:moveTo>
                  <a:cubicBezTo>
                    <a:pt x="1443339" y="31710"/>
                    <a:pt x="1266601" y="287566"/>
                    <a:pt x="1511148" y="385080"/>
                  </a:cubicBezTo>
                  <a:cubicBezTo>
                    <a:pt x="1453670" y="443333"/>
                    <a:pt x="1357401" y="459381"/>
                    <a:pt x="1276375" y="447754"/>
                  </a:cubicBezTo>
                  <a:cubicBezTo>
                    <a:pt x="1195349" y="436132"/>
                    <a:pt x="1120045" y="400465"/>
                    <a:pt x="1045273" y="367204"/>
                  </a:cubicBezTo>
                  <a:cubicBezTo>
                    <a:pt x="970476" y="333943"/>
                    <a:pt x="892721" y="302201"/>
                    <a:pt x="810920" y="299264"/>
                  </a:cubicBezTo>
                  <a:cubicBezTo>
                    <a:pt x="713588" y="295770"/>
                    <a:pt x="619126" y="333340"/>
                    <a:pt x="521829" y="337660"/>
                  </a:cubicBezTo>
                  <a:cubicBezTo>
                    <a:pt x="423048" y="342055"/>
                    <a:pt x="325199" y="311747"/>
                    <a:pt x="237412" y="266256"/>
                  </a:cubicBezTo>
                  <a:cubicBezTo>
                    <a:pt x="149615" y="220760"/>
                    <a:pt x="70524" y="160425"/>
                    <a:pt x="-8051" y="100410"/>
                  </a:cubicBezTo>
                  <a:cubicBezTo>
                    <a:pt x="192574" y="205045"/>
                    <a:pt x="441836" y="207810"/>
                    <a:pt x="650139" y="119421"/>
                  </a:cubicBezTo>
                  <a:cubicBezTo>
                    <a:pt x="762310" y="71823"/>
                    <a:pt x="867836" y="-3637"/>
                    <a:pt x="989567" y="-9031"/>
                  </a:cubicBezTo>
                  <a:cubicBezTo>
                    <a:pt x="1067216" y="-12469"/>
                    <a:pt x="1142682" y="13388"/>
                    <a:pt x="1218340" y="31113"/>
                  </a:cubicBezTo>
                  <a:cubicBezTo>
                    <a:pt x="1294049" y="48837"/>
                    <a:pt x="1373860" y="66471"/>
                    <a:pt x="1443339" y="31710"/>
                  </a:cubicBezTo>
                </a:path>
              </a:pathLst>
            </a:custGeom>
            <a:solidFill>
              <a:srgbClr val="4DA5C3"/>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1" name="Freeform: Shape 450">
              <a:extLst>
                <a:ext uri="{FF2B5EF4-FFF2-40B4-BE49-F238E27FC236}">
                  <a16:creationId xmlns:a16="http://schemas.microsoft.com/office/drawing/2014/main" id="{2635427F-C960-D853-FDA9-2D754D7D5D86}"/>
                </a:ext>
              </a:extLst>
            </p:cNvPr>
            <p:cNvSpPr/>
            <p:nvPr/>
          </p:nvSpPr>
          <p:spPr>
            <a:xfrm flipV="1">
              <a:off x="6940144" y="1868679"/>
              <a:ext cx="456727" cy="2327859"/>
            </a:xfrm>
            <a:custGeom>
              <a:avLst/>
              <a:gdLst>
                <a:gd name="connsiteX0" fmla="*/ 14601 w 456727"/>
                <a:gd name="connsiteY0" fmla="*/ 1713 h 2327859"/>
                <a:gd name="connsiteX1" fmla="*/ 57672 w 456727"/>
                <a:gd name="connsiteY1" fmla="*/ 231027 h 2327859"/>
                <a:gd name="connsiteX2" fmla="*/ 161132 w 456727"/>
                <a:gd name="connsiteY2" fmla="*/ 781660 h 2327859"/>
                <a:gd name="connsiteX3" fmla="*/ 285761 w 456727"/>
                <a:gd name="connsiteY3" fmla="*/ 1445143 h 2327859"/>
                <a:gd name="connsiteX4" fmla="*/ 394386 w 456727"/>
                <a:gd name="connsiteY4" fmla="*/ 2023172 h 2327859"/>
                <a:gd name="connsiteX5" fmla="*/ 429835 w 456727"/>
                <a:gd name="connsiteY5" fmla="*/ 2212039 h 2327859"/>
                <a:gd name="connsiteX6" fmla="*/ 446749 w 456727"/>
                <a:gd name="connsiteY6" fmla="*/ 2301918 h 2327859"/>
                <a:gd name="connsiteX7" fmla="*/ 447509 w 456727"/>
                <a:gd name="connsiteY7" fmla="*/ 2305939 h 2327859"/>
                <a:gd name="connsiteX8" fmla="*/ 424163 w 456727"/>
                <a:gd name="connsiteY8" fmla="*/ 2311793 h 2327859"/>
                <a:gd name="connsiteX9" fmla="*/ 381068 w 456727"/>
                <a:gd name="connsiteY9" fmla="*/ 2082479 h 2327859"/>
                <a:gd name="connsiteX10" fmla="*/ 277607 w 456727"/>
                <a:gd name="connsiteY10" fmla="*/ 1531845 h 2327859"/>
                <a:gd name="connsiteX11" fmla="*/ 152979 w 456727"/>
                <a:gd name="connsiteY11" fmla="*/ 868363 h 2327859"/>
                <a:gd name="connsiteX12" fmla="*/ 44404 w 456727"/>
                <a:gd name="connsiteY12" fmla="*/ 290338 h 2327859"/>
                <a:gd name="connsiteX13" fmla="*/ 8904 w 456727"/>
                <a:gd name="connsiteY13" fmla="*/ 101466 h 2327859"/>
                <a:gd name="connsiteX14" fmla="*/ -7979 w 456727"/>
                <a:gd name="connsiteY14" fmla="*/ 11588 h 2327859"/>
                <a:gd name="connsiteX15" fmla="*/ -8739 w 456727"/>
                <a:gd name="connsiteY15" fmla="*/ 7567 h 2327859"/>
                <a:gd name="connsiteX16" fmla="*/ 14601 w 456727"/>
                <a:gd name="connsiteY16" fmla="*/ 1713 h 232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6727" h="2327859">
                  <a:moveTo>
                    <a:pt x="14601" y="1713"/>
                  </a:moveTo>
                  <a:cubicBezTo>
                    <a:pt x="28963" y="78151"/>
                    <a:pt x="43340" y="154589"/>
                    <a:pt x="57672" y="231027"/>
                  </a:cubicBezTo>
                  <a:cubicBezTo>
                    <a:pt x="92159" y="414571"/>
                    <a:pt x="126645" y="598116"/>
                    <a:pt x="161132" y="781660"/>
                  </a:cubicBezTo>
                  <a:cubicBezTo>
                    <a:pt x="202658" y="1002821"/>
                    <a:pt x="244235" y="1223982"/>
                    <a:pt x="285761" y="1445143"/>
                  </a:cubicBezTo>
                  <a:cubicBezTo>
                    <a:pt x="321969" y="1637818"/>
                    <a:pt x="358178" y="1830493"/>
                    <a:pt x="394386" y="2023172"/>
                  </a:cubicBezTo>
                  <a:cubicBezTo>
                    <a:pt x="406186" y="2086125"/>
                    <a:pt x="418036" y="2149082"/>
                    <a:pt x="429835" y="2212039"/>
                  </a:cubicBezTo>
                  <a:cubicBezTo>
                    <a:pt x="435355" y="2241452"/>
                    <a:pt x="444167" y="2272049"/>
                    <a:pt x="446749" y="2301918"/>
                  </a:cubicBezTo>
                  <a:cubicBezTo>
                    <a:pt x="446850" y="2303255"/>
                    <a:pt x="447255" y="2304617"/>
                    <a:pt x="447509" y="2305939"/>
                  </a:cubicBezTo>
                  <a:cubicBezTo>
                    <a:pt x="450345" y="2321106"/>
                    <a:pt x="426999" y="2327021"/>
                    <a:pt x="424163" y="2311793"/>
                  </a:cubicBezTo>
                  <a:cubicBezTo>
                    <a:pt x="409781" y="2235355"/>
                    <a:pt x="395449" y="2158917"/>
                    <a:pt x="381068" y="2082479"/>
                  </a:cubicBezTo>
                  <a:cubicBezTo>
                    <a:pt x="346581" y="1898934"/>
                    <a:pt x="312094" y="1715390"/>
                    <a:pt x="277607" y="1531845"/>
                  </a:cubicBezTo>
                  <a:cubicBezTo>
                    <a:pt x="236081" y="1310685"/>
                    <a:pt x="194505" y="1089524"/>
                    <a:pt x="152979" y="868363"/>
                  </a:cubicBezTo>
                  <a:cubicBezTo>
                    <a:pt x="116770" y="675693"/>
                    <a:pt x="80562" y="483013"/>
                    <a:pt x="44404" y="290338"/>
                  </a:cubicBezTo>
                  <a:cubicBezTo>
                    <a:pt x="32559" y="227380"/>
                    <a:pt x="20729" y="164423"/>
                    <a:pt x="8904" y="101466"/>
                  </a:cubicBezTo>
                  <a:cubicBezTo>
                    <a:pt x="3374" y="72053"/>
                    <a:pt x="-5427" y="41451"/>
                    <a:pt x="-7979" y="11588"/>
                  </a:cubicBezTo>
                  <a:cubicBezTo>
                    <a:pt x="-8101" y="10251"/>
                    <a:pt x="-8491" y="8894"/>
                    <a:pt x="-8739" y="7567"/>
                  </a:cubicBezTo>
                  <a:cubicBezTo>
                    <a:pt x="-11590" y="-7605"/>
                    <a:pt x="11740" y="-13520"/>
                    <a:pt x="14601" y="1713"/>
                  </a:cubicBezTo>
                </a:path>
              </a:pathLst>
            </a:custGeom>
            <a:solidFill>
              <a:srgbClr val="4DA5C3">
                <a:lumMod val="5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2" name="Freeform: Shape 451">
              <a:extLst>
                <a:ext uri="{FF2B5EF4-FFF2-40B4-BE49-F238E27FC236}">
                  <a16:creationId xmlns:a16="http://schemas.microsoft.com/office/drawing/2014/main" id="{6B178583-4771-D771-C0E2-997D4D4FA580}"/>
                </a:ext>
              </a:extLst>
            </p:cNvPr>
            <p:cNvSpPr/>
            <p:nvPr/>
          </p:nvSpPr>
          <p:spPr>
            <a:xfrm flipV="1">
              <a:off x="7190711" y="2709436"/>
              <a:ext cx="27815" cy="22181"/>
            </a:xfrm>
            <a:custGeom>
              <a:avLst/>
              <a:gdLst>
                <a:gd name="connsiteX0" fmla="*/ 18470 w 27815"/>
                <a:gd name="connsiteY0" fmla="*/ 6915 h 22181"/>
                <a:gd name="connsiteX1" fmla="*/ 11735 w 27815"/>
                <a:gd name="connsiteY1" fmla="*/ 4813 h 22181"/>
                <a:gd name="connsiteX2" fmla="*/ 11634 w 27815"/>
                <a:gd name="connsiteY2" fmla="*/ 4631 h 22181"/>
                <a:gd name="connsiteX3" fmla="*/ -6141 w 27815"/>
                <a:gd name="connsiteY3" fmla="*/ -7878 h 22181"/>
                <a:gd name="connsiteX4" fmla="*/ 8241 w 27815"/>
                <a:gd name="connsiteY4" fmla="*/ 14298 h 22181"/>
                <a:gd name="connsiteX5" fmla="*/ 17508 w 27815"/>
                <a:gd name="connsiteY5" fmla="*/ 9087 h 22181"/>
                <a:gd name="connsiteX6" fmla="*/ 18470 w 27815"/>
                <a:gd name="connsiteY6" fmla="*/ 6915 h 2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15" h="22181">
                  <a:moveTo>
                    <a:pt x="18470" y="6915"/>
                  </a:moveTo>
                  <a:cubicBezTo>
                    <a:pt x="17863" y="3339"/>
                    <a:pt x="13204" y="7295"/>
                    <a:pt x="11735" y="4813"/>
                  </a:cubicBezTo>
                  <a:lnTo>
                    <a:pt x="11634" y="4631"/>
                  </a:lnTo>
                  <a:cubicBezTo>
                    <a:pt x="5355" y="-5710"/>
                    <a:pt x="-6141" y="-7878"/>
                    <a:pt x="-6141" y="-7878"/>
                  </a:cubicBezTo>
                  <a:cubicBezTo>
                    <a:pt x="-15155" y="10571"/>
                    <a:pt x="-1128" y="14030"/>
                    <a:pt x="8241" y="14298"/>
                  </a:cubicBezTo>
                  <a:cubicBezTo>
                    <a:pt x="11431" y="14460"/>
                    <a:pt x="15483" y="11275"/>
                    <a:pt x="17508" y="9087"/>
                  </a:cubicBezTo>
                  <a:cubicBezTo>
                    <a:pt x="18673" y="7806"/>
                    <a:pt x="19129" y="6854"/>
                    <a:pt x="18470" y="6915"/>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3" name="Freeform: Shape 452">
              <a:extLst>
                <a:ext uri="{FF2B5EF4-FFF2-40B4-BE49-F238E27FC236}">
                  <a16:creationId xmlns:a16="http://schemas.microsoft.com/office/drawing/2014/main" id="{FD84B9A8-B688-216E-5183-FA57BF673D9A}"/>
                </a:ext>
              </a:extLst>
            </p:cNvPr>
            <p:cNvSpPr/>
            <p:nvPr/>
          </p:nvSpPr>
          <p:spPr>
            <a:xfrm flipV="1">
              <a:off x="7209715" y="2714653"/>
              <a:ext cx="8810" cy="4456"/>
            </a:xfrm>
            <a:custGeom>
              <a:avLst/>
              <a:gdLst>
                <a:gd name="connsiteX0" fmla="*/ -550 w 8810"/>
                <a:gd name="connsiteY0" fmla="*/ -5602 h 4456"/>
                <a:gd name="connsiteX1" fmla="*/ -7286 w 8810"/>
                <a:gd name="connsiteY1" fmla="*/ -7703 h 4456"/>
                <a:gd name="connsiteX2" fmla="*/ -7387 w 8810"/>
                <a:gd name="connsiteY2" fmla="*/ -7886 h 4456"/>
                <a:gd name="connsiteX3" fmla="*/ -9058 w 8810"/>
                <a:gd name="connsiteY3" fmla="*/ -7288 h 4456"/>
                <a:gd name="connsiteX4" fmla="*/ -1512 w 8810"/>
                <a:gd name="connsiteY4" fmla="*/ -3429 h 4456"/>
                <a:gd name="connsiteX5" fmla="*/ -550 w 8810"/>
                <a:gd name="connsiteY5" fmla="*/ -5602 h 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10" h="4456">
                  <a:moveTo>
                    <a:pt x="-550" y="-5602"/>
                  </a:moveTo>
                  <a:cubicBezTo>
                    <a:pt x="-1158" y="-9177"/>
                    <a:pt x="-5817" y="-5222"/>
                    <a:pt x="-7286" y="-7703"/>
                  </a:cubicBezTo>
                  <a:lnTo>
                    <a:pt x="-7387" y="-7886"/>
                  </a:lnTo>
                  <a:lnTo>
                    <a:pt x="-9058" y="-7288"/>
                  </a:lnTo>
                  <a:cubicBezTo>
                    <a:pt x="-9058" y="-7288"/>
                    <a:pt x="-6121" y="-5298"/>
                    <a:pt x="-1512" y="-3429"/>
                  </a:cubicBezTo>
                  <a:cubicBezTo>
                    <a:pt x="-348" y="-4711"/>
                    <a:pt x="108" y="-5663"/>
                    <a:pt x="-550" y="-5602"/>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4" name="Freeform: Shape 453">
              <a:extLst>
                <a:ext uri="{FF2B5EF4-FFF2-40B4-BE49-F238E27FC236}">
                  <a16:creationId xmlns:a16="http://schemas.microsoft.com/office/drawing/2014/main" id="{4686DCC7-AE78-C2B1-A377-6E0CA96A7D70}"/>
                </a:ext>
              </a:extLst>
            </p:cNvPr>
            <p:cNvSpPr/>
            <p:nvPr/>
          </p:nvSpPr>
          <p:spPr>
            <a:xfrm flipV="1">
              <a:off x="7190582" y="2715825"/>
              <a:ext cx="59991" cy="84265"/>
            </a:xfrm>
            <a:custGeom>
              <a:avLst/>
              <a:gdLst>
                <a:gd name="connsiteX0" fmla="*/ 24447 w 59991"/>
                <a:gd name="connsiteY0" fmla="*/ -7069 h 84265"/>
                <a:gd name="connsiteX1" fmla="*/ 14419 w 59991"/>
                <a:gd name="connsiteY1" fmla="*/ -7671 h 84265"/>
                <a:gd name="connsiteX2" fmla="*/ 4899 w 59991"/>
                <a:gd name="connsiteY2" fmla="*/ -6035 h 84265"/>
                <a:gd name="connsiteX3" fmla="*/ -925 w 59991"/>
                <a:gd name="connsiteY3" fmla="*/ 1171 h 84265"/>
                <a:gd name="connsiteX4" fmla="*/ -1077 w 59991"/>
                <a:gd name="connsiteY4" fmla="*/ 7856 h 84265"/>
                <a:gd name="connsiteX5" fmla="*/ -1127 w 59991"/>
                <a:gd name="connsiteY5" fmla="*/ 7911 h 84265"/>
                <a:gd name="connsiteX6" fmla="*/ -4014 w 59991"/>
                <a:gd name="connsiteY6" fmla="*/ 25210 h 84265"/>
                <a:gd name="connsiteX7" fmla="*/ -9027 w 59991"/>
                <a:gd name="connsiteY7" fmla="*/ 33293 h 84265"/>
                <a:gd name="connsiteX8" fmla="*/ -5128 w 59991"/>
                <a:gd name="connsiteY8" fmla="*/ 42844 h 84265"/>
                <a:gd name="connsiteX9" fmla="*/ -8116 w 59991"/>
                <a:gd name="connsiteY9" fmla="*/ 50176 h 84265"/>
                <a:gd name="connsiteX10" fmla="*/ -3862 w 59991"/>
                <a:gd name="connsiteY10" fmla="*/ 57697 h 84265"/>
                <a:gd name="connsiteX11" fmla="*/ -5685 w 59991"/>
                <a:gd name="connsiteY11" fmla="*/ 66306 h 84265"/>
                <a:gd name="connsiteX12" fmla="*/ 2620 w 59991"/>
                <a:gd name="connsiteY12" fmla="*/ 71608 h 84265"/>
                <a:gd name="connsiteX13" fmla="*/ 30371 w 59991"/>
                <a:gd name="connsiteY13" fmla="*/ 76454 h 84265"/>
                <a:gd name="connsiteX14" fmla="*/ 40854 w 59991"/>
                <a:gd name="connsiteY14" fmla="*/ 75208 h 84265"/>
                <a:gd name="connsiteX15" fmla="*/ 48552 w 59991"/>
                <a:gd name="connsiteY15" fmla="*/ 68276 h 84265"/>
                <a:gd name="connsiteX16" fmla="*/ 48704 w 59991"/>
                <a:gd name="connsiteY16" fmla="*/ 60978 h 84265"/>
                <a:gd name="connsiteX17" fmla="*/ 49463 w 59991"/>
                <a:gd name="connsiteY17" fmla="*/ 54521 h 84265"/>
                <a:gd name="connsiteX18" fmla="*/ 50881 w 59991"/>
                <a:gd name="connsiteY18" fmla="*/ 47710 h 84265"/>
                <a:gd name="connsiteX19" fmla="*/ 48450 w 59991"/>
                <a:gd name="connsiteY19" fmla="*/ 42687 h 84265"/>
                <a:gd name="connsiteX20" fmla="*/ 45311 w 59991"/>
                <a:gd name="connsiteY20" fmla="*/ 33455 h 84265"/>
                <a:gd name="connsiteX21" fmla="*/ 44906 w 59991"/>
                <a:gd name="connsiteY21" fmla="*/ 26724 h 84265"/>
                <a:gd name="connsiteX22" fmla="*/ 41766 w 59991"/>
                <a:gd name="connsiteY22" fmla="*/ 21523 h 84265"/>
                <a:gd name="connsiteX23" fmla="*/ 38880 w 59991"/>
                <a:gd name="connsiteY23" fmla="*/ 12945 h 84265"/>
                <a:gd name="connsiteX24" fmla="*/ 36448 w 59991"/>
                <a:gd name="connsiteY24" fmla="*/ 3191 h 84265"/>
                <a:gd name="connsiteX25" fmla="*/ 24447 w 59991"/>
                <a:gd name="connsiteY25" fmla="*/ -7069 h 84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991" h="84265">
                  <a:moveTo>
                    <a:pt x="24447" y="-7069"/>
                  </a:moveTo>
                  <a:cubicBezTo>
                    <a:pt x="21307" y="-8117"/>
                    <a:pt x="17661" y="-7347"/>
                    <a:pt x="14419" y="-7671"/>
                  </a:cubicBezTo>
                  <a:cubicBezTo>
                    <a:pt x="11179" y="-8026"/>
                    <a:pt x="7735" y="-7651"/>
                    <a:pt x="4899" y="-6035"/>
                  </a:cubicBezTo>
                  <a:cubicBezTo>
                    <a:pt x="2165" y="-4471"/>
                    <a:pt x="38" y="-1772"/>
                    <a:pt x="-925" y="1171"/>
                  </a:cubicBezTo>
                  <a:cubicBezTo>
                    <a:pt x="-1684" y="3333"/>
                    <a:pt x="-1836" y="5663"/>
                    <a:pt x="-1077" y="7856"/>
                  </a:cubicBezTo>
                  <a:lnTo>
                    <a:pt x="-1127" y="7911"/>
                  </a:lnTo>
                  <a:cubicBezTo>
                    <a:pt x="-6191" y="12018"/>
                    <a:pt x="-7559" y="19766"/>
                    <a:pt x="-4014" y="25210"/>
                  </a:cubicBezTo>
                  <a:cubicBezTo>
                    <a:pt x="-7457" y="25874"/>
                    <a:pt x="-9382" y="29864"/>
                    <a:pt x="-9027" y="33293"/>
                  </a:cubicBezTo>
                  <a:cubicBezTo>
                    <a:pt x="-8622" y="36782"/>
                    <a:pt x="-7154" y="39962"/>
                    <a:pt x="-5128" y="42844"/>
                  </a:cubicBezTo>
                  <a:cubicBezTo>
                    <a:pt x="-7255" y="44631"/>
                    <a:pt x="-8369" y="47482"/>
                    <a:pt x="-8116" y="50176"/>
                  </a:cubicBezTo>
                  <a:cubicBezTo>
                    <a:pt x="-7913" y="52906"/>
                    <a:pt x="-6242" y="56294"/>
                    <a:pt x="-3862" y="57697"/>
                  </a:cubicBezTo>
                  <a:cubicBezTo>
                    <a:pt x="-6951" y="58958"/>
                    <a:pt x="-7508" y="63520"/>
                    <a:pt x="-5685" y="66306"/>
                  </a:cubicBezTo>
                  <a:cubicBezTo>
                    <a:pt x="-3862" y="69121"/>
                    <a:pt x="-520" y="70555"/>
                    <a:pt x="2620" y="71608"/>
                  </a:cubicBezTo>
                  <a:cubicBezTo>
                    <a:pt x="11533" y="74651"/>
                    <a:pt x="20952" y="76313"/>
                    <a:pt x="30371" y="76454"/>
                  </a:cubicBezTo>
                  <a:cubicBezTo>
                    <a:pt x="33916" y="76530"/>
                    <a:pt x="37512" y="76399"/>
                    <a:pt x="40854" y="75208"/>
                  </a:cubicBezTo>
                  <a:cubicBezTo>
                    <a:pt x="44197" y="73958"/>
                    <a:pt x="47286" y="71618"/>
                    <a:pt x="48552" y="68276"/>
                  </a:cubicBezTo>
                  <a:cubicBezTo>
                    <a:pt x="49413" y="66088"/>
                    <a:pt x="49565" y="63232"/>
                    <a:pt x="48704" y="60978"/>
                  </a:cubicBezTo>
                  <a:cubicBezTo>
                    <a:pt x="47894" y="58846"/>
                    <a:pt x="48400" y="56527"/>
                    <a:pt x="49463" y="54521"/>
                  </a:cubicBezTo>
                  <a:cubicBezTo>
                    <a:pt x="50527" y="52460"/>
                    <a:pt x="51084" y="50055"/>
                    <a:pt x="50881" y="47710"/>
                  </a:cubicBezTo>
                  <a:cubicBezTo>
                    <a:pt x="50729" y="45776"/>
                    <a:pt x="49767" y="44110"/>
                    <a:pt x="48450" y="42687"/>
                  </a:cubicBezTo>
                  <a:cubicBezTo>
                    <a:pt x="46172" y="40150"/>
                    <a:pt x="44754" y="36822"/>
                    <a:pt x="45311" y="33455"/>
                  </a:cubicBezTo>
                  <a:cubicBezTo>
                    <a:pt x="45665" y="31014"/>
                    <a:pt x="45665" y="28537"/>
                    <a:pt x="44906" y="26724"/>
                  </a:cubicBezTo>
                  <a:cubicBezTo>
                    <a:pt x="44095" y="24825"/>
                    <a:pt x="43083" y="23007"/>
                    <a:pt x="41766" y="21523"/>
                  </a:cubicBezTo>
                  <a:cubicBezTo>
                    <a:pt x="39639" y="19199"/>
                    <a:pt x="38880" y="16075"/>
                    <a:pt x="38880" y="12945"/>
                  </a:cubicBezTo>
                  <a:cubicBezTo>
                    <a:pt x="38880" y="9557"/>
                    <a:pt x="38019" y="6169"/>
                    <a:pt x="36448" y="3191"/>
                  </a:cubicBezTo>
                  <a:cubicBezTo>
                    <a:pt x="33967" y="-1604"/>
                    <a:pt x="29561" y="-5327"/>
                    <a:pt x="24447" y="-7069"/>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5" name="Freeform: Shape 454">
              <a:extLst>
                <a:ext uri="{FF2B5EF4-FFF2-40B4-BE49-F238E27FC236}">
                  <a16:creationId xmlns:a16="http://schemas.microsoft.com/office/drawing/2014/main" id="{726D2D77-9451-3484-ECC0-FF0E1D0DAADB}"/>
                </a:ext>
              </a:extLst>
            </p:cNvPr>
            <p:cNvSpPr/>
            <p:nvPr/>
          </p:nvSpPr>
          <p:spPr>
            <a:xfrm flipV="1">
              <a:off x="7198075" y="2784386"/>
              <a:ext cx="22326" cy="7717"/>
            </a:xfrm>
            <a:custGeom>
              <a:avLst/>
              <a:gdLst>
                <a:gd name="connsiteX0" fmla="*/ 13276 w 22326"/>
                <a:gd name="connsiteY0" fmla="*/ -7149 h 7717"/>
                <a:gd name="connsiteX1" fmla="*/ 4160 w 22326"/>
                <a:gd name="connsiteY1" fmla="*/ -7600 h 7717"/>
                <a:gd name="connsiteX2" fmla="*/ -8399 w 22326"/>
                <a:gd name="connsiteY2" fmla="*/ -6749 h 7717"/>
                <a:gd name="connsiteX3" fmla="*/ -8550 w 22326"/>
                <a:gd name="connsiteY3" fmla="*/ -64 h 7717"/>
                <a:gd name="connsiteX4" fmla="*/ -8601 w 22326"/>
                <a:gd name="connsiteY4" fmla="*/ -9 h 7717"/>
                <a:gd name="connsiteX5" fmla="*/ 4768 w 22326"/>
                <a:gd name="connsiteY5" fmla="*/ -3842 h 7717"/>
                <a:gd name="connsiteX6" fmla="*/ 13276 w 22326"/>
                <a:gd name="connsiteY6" fmla="*/ -7149 h 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6" h="7717">
                  <a:moveTo>
                    <a:pt x="13276" y="-7149"/>
                  </a:moveTo>
                  <a:cubicBezTo>
                    <a:pt x="13124" y="-7767"/>
                    <a:pt x="9681" y="-7838"/>
                    <a:pt x="4160" y="-7600"/>
                  </a:cubicBezTo>
                  <a:cubicBezTo>
                    <a:pt x="666" y="-7463"/>
                    <a:pt x="-3638" y="-7189"/>
                    <a:pt x="-8399" y="-6749"/>
                  </a:cubicBezTo>
                  <a:cubicBezTo>
                    <a:pt x="-9158" y="-4587"/>
                    <a:pt x="-9310" y="-2257"/>
                    <a:pt x="-8550" y="-64"/>
                  </a:cubicBezTo>
                  <a:lnTo>
                    <a:pt x="-8601" y="-9"/>
                  </a:lnTo>
                  <a:cubicBezTo>
                    <a:pt x="-3436" y="-1366"/>
                    <a:pt x="1173" y="-2804"/>
                    <a:pt x="4768" y="-3842"/>
                  </a:cubicBezTo>
                  <a:cubicBezTo>
                    <a:pt x="10086" y="-5397"/>
                    <a:pt x="13327" y="-6531"/>
                    <a:pt x="13276" y="-7149"/>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6" name="Freeform: Shape 455">
              <a:extLst>
                <a:ext uri="{FF2B5EF4-FFF2-40B4-BE49-F238E27FC236}">
                  <a16:creationId xmlns:a16="http://schemas.microsoft.com/office/drawing/2014/main" id="{1AB5F771-6509-B45A-7AE3-782EF4B71733}"/>
                </a:ext>
              </a:extLst>
            </p:cNvPr>
            <p:cNvSpPr/>
            <p:nvPr/>
          </p:nvSpPr>
          <p:spPr>
            <a:xfrm flipV="1">
              <a:off x="6520376" y="2791866"/>
              <a:ext cx="92744" cy="104501"/>
            </a:xfrm>
            <a:custGeom>
              <a:avLst/>
              <a:gdLst>
                <a:gd name="connsiteX0" fmla="*/ 70270 w 92744"/>
                <a:gd name="connsiteY0" fmla="*/ 96900 h 104501"/>
                <a:gd name="connsiteX1" fmla="*/ -7950 w 92744"/>
                <a:gd name="connsiteY1" fmla="*/ 26478 h 104501"/>
                <a:gd name="connsiteX2" fmla="*/ 32851 w 92744"/>
                <a:gd name="connsiteY2" fmla="*/ -7583 h 104501"/>
                <a:gd name="connsiteX3" fmla="*/ 84794 w 92744"/>
                <a:gd name="connsiteY3" fmla="*/ 79657 h 104501"/>
                <a:gd name="connsiteX4" fmla="*/ 70270 w 92744"/>
                <a:gd name="connsiteY4" fmla="*/ 96900 h 104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44" h="104501">
                  <a:moveTo>
                    <a:pt x="70270" y="96900"/>
                  </a:moveTo>
                  <a:lnTo>
                    <a:pt x="-7950" y="26478"/>
                  </a:lnTo>
                  <a:cubicBezTo>
                    <a:pt x="-7950" y="26478"/>
                    <a:pt x="33727" y="-8510"/>
                    <a:pt x="32851" y="-7583"/>
                  </a:cubicBezTo>
                  <a:cubicBezTo>
                    <a:pt x="31980" y="-6651"/>
                    <a:pt x="84794" y="79657"/>
                    <a:pt x="84794" y="79657"/>
                  </a:cubicBezTo>
                  <a:lnTo>
                    <a:pt x="70270" y="96900"/>
                  </a:lnTo>
                </a:path>
              </a:pathLst>
            </a:custGeom>
            <a:solidFill>
              <a:srgbClr val="94B7E5"/>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7" name="Freeform: Shape 456">
              <a:extLst>
                <a:ext uri="{FF2B5EF4-FFF2-40B4-BE49-F238E27FC236}">
                  <a16:creationId xmlns:a16="http://schemas.microsoft.com/office/drawing/2014/main" id="{371F5E28-4917-3AA0-6FD6-90EAA99CA00F}"/>
                </a:ext>
              </a:extLst>
            </p:cNvPr>
            <p:cNvSpPr/>
            <p:nvPr/>
          </p:nvSpPr>
          <p:spPr>
            <a:xfrm flipV="1">
              <a:off x="6527764" y="2758961"/>
              <a:ext cx="84722" cy="109405"/>
            </a:xfrm>
            <a:custGeom>
              <a:avLst/>
              <a:gdLst>
                <a:gd name="connsiteX0" fmla="*/ 73556 w 84722"/>
                <a:gd name="connsiteY0" fmla="*/ 53037 h 109405"/>
                <a:gd name="connsiteX1" fmla="*/ 76767 w 84722"/>
                <a:gd name="connsiteY1" fmla="*/ 56698 h 109405"/>
                <a:gd name="connsiteX2" fmla="*/ 59433 w 84722"/>
                <a:gd name="connsiteY2" fmla="*/ 76575 h 109405"/>
                <a:gd name="connsiteX3" fmla="*/ 59382 w 84722"/>
                <a:gd name="connsiteY3" fmla="*/ 76646 h 109405"/>
                <a:gd name="connsiteX4" fmla="*/ -7956 w 84722"/>
                <a:gd name="connsiteY4" fmla="*/ 47800 h 109405"/>
                <a:gd name="connsiteX5" fmla="*/ -7176 w 84722"/>
                <a:gd name="connsiteY5" fmla="*/ 46200 h 109405"/>
                <a:gd name="connsiteX6" fmla="*/ 7586 w 84722"/>
                <a:gd name="connsiteY6" fmla="*/ -7505 h 109405"/>
                <a:gd name="connsiteX7" fmla="*/ 73556 w 84722"/>
                <a:gd name="connsiteY7" fmla="*/ 53037 h 109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22" h="109405">
                  <a:moveTo>
                    <a:pt x="73556" y="53037"/>
                  </a:moveTo>
                  <a:lnTo>
                    <a:pt x="76767" y="56698"/>
                  </a:lnTo>
                  <a:lnTo>
                    <a:pt x="59433" y="76575"/>
                  </a:lnTo>
                  <a:lnTo>
                    <a:pt x="59382" y="76646"/>
                  </a:lnTo>
                  <a:cubicBezTo>
                    <a:pt x="6527" y="146708"/>
                    <a:pt x="-7956" y="47800"/>
                    <a:pt x="-7956" y="47800"/>
                  </a:cubicBezTo>
                  <a:cubicBezTo>
                    <a:pt x="-7698" y="47269"/>
                    <a:pt x="-7434" y="46737"/>
                    <a:pt x="-7176" y="46200"/>
                  </a:cubicBezTo>
                  <a:cubicBezTo>
                    <a:pt x="1585" y="27220"/>
                    <a:pt x="5747" y="8224"/>
                    <a:pt x="7586" y="-7505"/>
                  </a:cubicBezTo>
                  <a:cubicBezTo>
                    <a:pt x="7996" y="-11333"/>
                    <a:pt x="73556" y="53037"/>
                    <a:pt x="73556" y="53037"/>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8" name="Freeform: Shape 457">
              <a:extLst>
                <a:ext uri="{FF2B5EF4-FFF2-40B4-BE49-F238E27FC236}">
                  <a16:creationId xmlns:a16="http://schemas.microsoft.com/office/drawing/2014/main" id="{74196A61-0F9C-2373-ACCD-F218850D4D06}"/>
                </a:ext>
              </a:extLst>
            </p:cNvPr>
            <p:cNvSpPr/>
            <p:nvPr/>
          </p:nvSpPr>
          <p:spPr>
            <a:xfrm flipV="1">
              <a:off x="6528524" y="2796357"/>
              <a:ext cx="35332" cy="71864"/>
            </a:xfrm>
            <a:custGeom>
              <a:avLst/>
              <a:gdLst>
                <a:gd name="connsiteX0" fmla="*/ 27417 w 35332"/>
                <a:gd name="connsiteY0" fmla="*/ 64237 h 71864"/>
                <a:gd name="connsiteX1" fmla="*/ 6872 w 35332"/>
                <a:gd name="connsiteY1" fmla="*/ -7627 h 71864"/>
                <a:gd name="connsiteX2" fmla="*/ -7915 w 35332"/>
                <a:gd name="connsiteY2" fmla="*/ 46108 h 71864"/>
                <a:gd name="connsiteX3" fmla="*/ 27417 w 35332"/>
                <a:gd name="connsiteY3" fmla="*/ 64237 h 71864"/>
              </a:gdLst>
              <a:ahLst/>
              <a:cxnLst>
                <a:cxn ang="0">
                  <a:pos x="connsiteX0" y="connsiteY0"/>
                </a:cxn>
                <a:cxn ang="0">
                  <a:pos x="connsiteX1" y="connsiteY1"/>
                </a:cxn>
                <a:cxn ang="0">
                  <a:pos x="connsiteX2" y="connsiteY2"/>
                </a:cxn>
                <a:cxn ang="0">
                  <a:pos x="connsiteX3" y="connsiteY3"/>
                </a:cxn>
              </a:cxnLst>
              <a:rect l="l" t="t" r="r" b="b"/>
              <a:pathLst>
                <a:path w="35332" h="71864">
                  <a:moveTo>
                    <a:pt x="27417" y="64237"/>
                  </a:moveTo>
                  <a:lnTo>
                    <a:pt x="6872" y="-7627"/>
                  </a:lnTo>
                  <a:cubicBezTo>
                    <a:pt x="5019" y="8117"/>
                    <a:pt x="881" y="27113"/>
                    <a:pt x="-7915" y="46108"/>
                  </a:cubicBezTo>
                  <a:lnTo>
                    <a:pt x="27417" y="64237"/>
                  </a:ln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9" name="Freeform: Shape 458">
              <a:extLst>
                <a:ext uri="{FF2B5EF4-FFF2-40B4-BE49-F238E27FC236}">
                  <a16:creationId xmlns:a16="http://schemas.microsoft.com/office/drawing/2014/main" id="{DE3273E2-580D-C029-5DD0-B7E7C22262A1}"/>
                </a:ext>
              </a:extLst>
            </p:cNvPr>
            <p:cNvSpPr/>
            <p:nvPr/>
          </p:nvSpPr>
          <p:spPr>
            <a:xfrm flipV="1">
              <a:off x="6449929" y="2679314"/>
              <a:ext cx="125485" cy="161063"/>
            </a:xfrm>
            <a:custGeom>
              <a:avLst/>
              <a:gdLst>
                <a:gd name="connsiteX0" fmla="*/ 45392 w 125485"/>
                <a:gd name="connsiteY0" fmla="*/ -7736 h 161063"/>
                <a:gd name="connsiteX1" fmla="*/ 47949 w 125485"/>
                <a:gd name="connsiteY1" fmla="*/ -7771 h 161063"/>
                <a:gd name="connsiteX2" fmla="*/ 75027 w 125485"/>
                <a:gd name="connsiteY2" fmla="*/ 787 h 161063"/>
                <a:gd name="connsiteX3" fmla="*/ 107321 w 125485"/>
                <a:gd name="connsiteY3" fmla="*/ 36697 h 161063"/>
                <a:gd name="connsiteX4" fmla="*/ 107943 w 125485"/>
                <a:gd name="connsiteY4" fmla="*/ 42658 h 161063"/>
                <a:gd name="connsiteX5" fmla="*/ 114623 w 125485"/>
                <a:gd name="connsiteY5" fmla="*/ 69244 h 161063"/>
                <a:gd name="connsiteX6" fmla="*/ 110764 w 125485"/>
                <a:gd name="connsiteY6" fmla="*/ 153258 h 161063"/>
                <a:gd name="connsiteX7" fmla="*/ 34569 w 125485"/>
                <a:gd name="connsiteY7" fmla="*/ 140370 h 161063"/>
                <a:gd name="connsiteX8" fmla="*/ -4956 w 125485"/>
                <a:gd name="connsiteY8" fmla="*/ 133088 h 161063"/>
                <a:gd name="connsiteX9" fmla="*/ -7594 w 125485"/>
                <a:gd name="connsiteY9" fmla="*/ 117880 h 161063"/>
                <a:gd name="connsiteX10" fmla="*/ -6440 w 125485"/>
                <a:gd name="connsiteY10" fmla="*/ 101508 h 161063"/>
                <a:gd name="connsiteX11" fmla="*/ 4969 w 125485"/>
                <a:gd name="connsiteY11" fmla="*/ 69067 h 161063"/>
                <a:gd name="connsiteX12" fmla="*/ 5015 w 125485"/>
                <a:gd name="connsiteY12" fmla="*/ 69031 h 161063"/>
                <a:gd name="connsiteX13" fmla="*/ 4979 w 125485"/>
                <a:gd name="connsiteY13" fmla="*/ 68986 h 161063"/>
                <a:gd name="connsiteX14" fmla="*/ -171 w 125485"/>
                <a:gd name="connsiteY14" fmla="*/ 34788 h 161063"/>
                <a:gd name="connsiteX15" fmla="*/ 3394 w 125485"/>
                <a:gd name="connsiteY15" fmla="*/ 30073 h 161063"/>
                <a:gd name="connsiteX16" fmla="*/ 12925 w 125485"/>
                <a:gd name="connsiteY16" fmla="*/ 29815 h 161063"/>
                <a:gd name="connsiteX17" fmla="*/ 45392 w 125485"/>
                <a:gd name="connsiteY17" fmla="*/ -7736 h 16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485" h="161063">
                  <a:moveTo>
                    <a:pt x="45392" y="-7736"/>
                  </a:moveTo>
                  <a:cubicBezTo>
                    <a:pt x="46197" y="-7812"/>
                    <a:pt x="47072" y="-7791"/>
                    <a:pt x="47949" y="-7771"/>
                  </a:cubicBezTo>
                  <a:cubicBezTo>
                    <a:pt x="57535" y="-7599"/>
                    <a:pt x="66792" y="-4095"/>
                    <a:pt x="75027" y="787"/>
                  </a:cubicBezTo>
                  <a:cubicBezTo>
                    <a:pt x="89049" y="9148"/>
                    <a:pt x="100312" y="21940"/>
                    <a:pt x="107321" y="36697"/>
                  </a:cubicBezTo>
                  <a:cubicBezTo>
                    <a:pt x="107635" y="38637"/>
                    <a:pt x="107852" y="40637"/>
                    <a:pt x="107943" y="42658"/>
                  </a:cubicBezTo>
                  <a:cubicBezTo>
                    <a:pt x="110800" y="51332"/>
                    <a:pt x="113033" y="60235"/>
                    <a:pt x="114623" y="69244"/>
                  </a:cubicBezTo>
                  <a:cubicBezTo>
                    <a:pt x="119632" y="97097"/>
                    <a:pt x="118401" y="126044"/>
                    <a:pt x="110764" y="153258"/>
                  </a:cubicBezTo>
                  <a:cubicBezTo>
                    <a:pt x="85261" y="153578"/>
                    <a:pt x="59059" y="149131"/>
                    <a:pt x="34569" y="140370"/>
                  </a:cubicBezTo>
                  <a:cubicBezTo>
                    <a:pt x="20744" y="135397"/>
                    <a:pt x="-4956" y="133088"/>
                    <a:pt x="-4956" y="133088"/>
                  </a:cubicBezTo>
                  <a:cubicBezTo>
                    <a:pt x="-5762" y="131361"/>
                    <a:pt x="-7261" y="119941"/>
                    <a:pt x="-7594" y="117880"/>
                  </a:cubicBezTo>
                  <a:cubicBezTo>
                    <a:pt x="-8227" y="113009"/>
                    <a:pt x="-7671" y="107286"/>
                    <a:pt x="-6440" y="101508"/>
                  </a:cubicBezTo>
                  <a:cubicBezTo>
                    <a:pt x="-3285" y="85926"/>
                    <a:pt x="4519" y="70034"/>
                    <a:pt x="4969" y="69067"/>
                  </a:cubicBezTo>
                  <a:lnTo>
                    <a:pt x="5015" y="69031"/>
                  </a:lnTo>
                  <a:lnTo>
                    <a:pt x="4979" y="68986"/>
                  </a:lnTo>
                  <a:lnTo>
                    <a:pt x="-171" y="34788"/>
                  </a:lnTo>
                  <a:cubicBezTo>
                    <a:pt x="-353" y="32540"/>
                    <a:pt x="1227" y="30544"/>
                    <a:pt x="3394" y="30073"/>
                  </a:cubicBezTo>
                  <a:lnTo>
                    <a:pt x="12925" y="29815"/>
                  </a:lnTo>
                  <a:cubicBezTo>
                    <a:pt x="12925" y="29815"/>
                    <a:pt x="8241" y="-6768"/>
                    <a:pt x="45392" y="-7736"/>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0" name="Freeform: Shape 459">
              <a:extLst>
                <a:ext uri="{FF2B5EF4-FFF2-40B4-BE49-F238E27FC236}">
                  <a16:creationId xmlns:a16="http://schemas.microsoft.com/office/drawing/2014/main" id="{250E9191-4318-57B5-697A-233810862765}"/>
                </a:ext>
              </a:extLst>
            </p:cNvPr>
            <p:cNvSpPr/>
            <p:nvPr/>
          </p:nvSpPr>
          <p:spPr>
            <a:xfrm flipV="1">
              <a:off x="6472338" y="2748068"/>
              <a:ext cx="10777" cy="15889"/>
            </a:xfrm>
            <a:custGeom>
              <a:avLst/>
              <a:gdLst>
                <a:gd name="connsiteX0" fmla="*/ 2309 w 10777"/>
                <a:gd name="connsiteY0" fmla="*/ 1724 h 15889"/>
                <a:gd name="connsiteX1" fmla="*/ 192 w 10777"/>
                <a:gd name="connsiteY1" fmla="*/ -7640 h 15889"/>
                <a:gd name="connsiteX2" fmla="*/ -7131 w 10777"/>
                <a:gd name="connsiteY2" fmla="*/ -1426 h 15889"/>
                <a:gd name="connsiteX3" fmla="*/ -5009 w 10777"/>
                <a:gd name="connsiteY3" fmla="*/ 7932 h 15889"/>
                <a:gd name="connsiteX4" fmla="*/ 2309 w 10777"/>
                <a:gd name="connsiteY4" fmla="*/ 1724 h 15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7" h="15889">
                  <a:moveTo>
                    <a:pt x="2309" y="1724"/>
                  </a:moveTo>
                  <a:cubicBezTo>
                    <a:pt x="3747" y="-2576"/>
                    <a:pt x="2795" y="-6769"/>
                    <a:pt x="192" y="-7640"/>
                  </a:cubicBezTo>
                  <a:cubicBezTo>
                    <a:pt x="-2416" y="-8506"/>
                    <a:pt x="-5697" y="-5726"/>
                    <a:pt x="-7131" y="-1426"/>
                  </a:cubicBezTo>
                  <a:cubicBezTo>
                    <a:pt x="-8564" y="2873"/>
                    <a:pt x="-7612" y="7066"/>
                    <a:pt x="-5009" y="7932"/>
                  </a:cubicBezTo>
                  <a:cubicBezTo>
                    <a:pt x="-2401" y="8803"/>
                    <a:pt x="876" y="6023"/>
                    <a:pt x="2309" y="1724"/>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1" name="Freeform: Shape 460">
              <a:extLst>
                <a:ext uri="{FF2B5EF4-FFF2-40B4-BE49-F238E27FC236}">
                  <a16:creationId xmlns:a16="http://schemas.microsoft.com/office/drawing/2014/main" id="{3DC99AF8-B725-614C-9B63-EAB6041A8AFF}"/>
                </a:ext>
              </a:extLst>
            </p:cNvPr>
            <p:cNvSpPr/>
            <p:nvPr/>
          </p:nvSpPr>
          <p:spPr>
            <a:xfrm flipV="1">
              <a:off x="6464734" y="2727008"/>
              <a:ext cx="25304" cy="16233"/>
            </a:xfrm>
            <a:custGeom>
              <a:avLst/>
              <a:gdLst>
                <a:gd name="connsiteX0" fmla="*/ 16898 w 25304"/>
                <a:gd name="connsiteY0" fmla="*/ -2211 h 16233"/>
                <a:gd name="connsiteX1" fmla="*/ -4964 w 25304"/>
                <a:gd name="connsiteY1" fmla="*/ 8332 h 16233"/>
                <a:gd name="connsiteX2" fmla="*/ -4002 w 25304"/>
                <a:gd name="connsiteY2" fmla="*/ 1592 h 16233"/>
                <a:gd name="connsiteX3" fmla="*/ 11565 w 25304"/>
                <a:gd name="connsiteY3" fmla="*/ -6445 h 16233"/>
                <a:gd name="connsiteX4" fmla="*/ 16898 w 25304"/>
                <a:gd name="connsiteY4" fmla="*/ -2211 h 16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04" h="16233">
                  <a:moveTo>
                    <a:pt x="16898" y="-2211"/>
                  </a:moveTo>
                  <a:cubicBezTo>
                    <a:pt x="12066" y="5107"/>
                    <a:pt x="3695" y="8905"/>
                    <a:pt x="-4964" y="8332"/>
                  </a:cubicBezTo>
                  <a:cubicBezTo>
                    <a:pt x="-9339" y="8044"/>
                    <a:pt x="-8357" y="1303"/>
                    <a:pt x="-4002" y="1592"/>
                  </a:cubicBezTo>
                  <a:cubicBezTo>
                    <a:pt x="2363" y="2012"/>
                    <a:pt x="8096" y="-1193"/>
                    <a:pt x="11565" y="-6445"/>
                  </a:cubicBezTo>
                  <a:cubicBezTo>
                    <a:pt x="13976" y="-10101"/>
                    <a:pt x="19303" y="-5852"/>
                    <a:pt x="16898" y="-2211"/>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2" name="Freeform: Shape 461">
              <a:extLst>
                <a:ext uri="{FF2B5EF4-FFF2-40B4-BE49-F238E27FC236}">
                  <a16:creationId xmlns:a16="http://schemas.microsoft.com/office/drawing/2014/main" id="{33C9CFE5-221F-32D0-22C0-E1460FC0A88F}"/>
                </a:ext>
              </a:extLst>
            </p:cNvPr>
            <p:cNvSpPr/>
            <p:nvPr/>
          </p:nvSpPr>
          <p:spPr>
            <a:xfrm flipV="1">
              <a:off x="6533649" y="2733767"/>
              <a:ext cx="11319" cy="27709"/>
            </a:xfrm>
            <a:custGeom>
              <a:avLst/>
              <a:gdLst>
                <a:gd name="connsiteX0" fmla="*/ -3751 w 11319"/>
                <a:gd name="connsiteY0" fmla="*/ -7801 h 27709"/>
                <a:gd name="connsiteX1" fmla="*/ -2510 w 11319"/>
                <a:gd name="connsiteY1" fmla="*/ -7315 h 27709"/>
                <a:gd name="connsiteX2" fmla="*/ 194 w 11319"/>
                <a:gd name="connsiteY2" fmla="*/ 565 h 27709"/>
                <a:gd name="connsiteX3" fmla="*/ -5240 w 11319"/>
                <a:gd name="connsiteY3" fmla="*/ 2190 h 27709"/>
                <a:gd name="connsiteX4" fmla="*/ 2519 w 11319"/>
                <a:gd name="connsiteY4" fmla="*/ 17337 h 27709"/>
                <a:gd name="connsiteX5" fmla="*/ 3349 w 11319"/>
                <a:gd name="connsiteY5" fmla="*/ 18993 h 27709"/>
                <a:gd name="connsiteX6" fmla="*/ 1693 w 11319"/>
                <a:gd name="connsiteY6" fmla="*/ 19824 h 27709"/>
                <a:gd name="connsiteX7" fmla="*/ -7802 w 11319"/>
                <a:gd name="connsiteY7" fmla="*/ 1912 h 27709"/>
                <a:gd name="connsiteX8" fmla="*/ -6850 w 11319"/>
                <a:gd name="connsiteY8" fmla="*/ 139 h 27709"/>
                <a:gd name="connsiteX9" fmla="*/ -4895 w 11319"/>
                <a:gd name="connsiteY9" fmla="*/ -413 h 27709"/>
                <a:gd name="connsiteX10" fmla="*/ -2084 w 11319"/>
                <a:gd name="connsiteY10" fmla="*/ -727 h 27709"/>
                <a:gd name="connsiteX11" fmla="*/ -4576 w 11319"/>
                <a:gd name="connsiteY11" fmla="*/ -5695 h 27709"/>
                <a:gd name="connsiteX12" fmla="*/ -4353 w 11319"/>
                <a:gd name="connsiteY12" fmla="*/ -7538 h 27709"/>
                <a:gd name="connsiteX13" fmla="*/ -3751 w 11319"/>
                <a:gd name="connsiteY13" fmla="*/ -7801 h 27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19" h="27709">
                  <a:moveTo>
                    <a:pt x="-3751" y="-7801"/>
                  </a:moveTo>
                  <a:cubicBezTo>
                    <a:pt x="-3290" y="-7872"/>
                    <a:pt x="-2814" y="-7700"/>
                    <a:pt x="-2510" y="-7315"/>
                  </a:cubicBezTo>
                  <a:cubicBezTo>
                    <a:pt x="336" y="-3689"/>
                    <a:pt x="1197" y="-1188"/>
                    <a:pt x="194" y="565"/>
                  </a:cubicBezTo>
                  <a:cubicBezTo>
                    <a:pt x="-368" y="1557"/>
                    <a:pt x="-1765" y="2636"/>
                    <a:pt x="-5240" y="2190"/>
                  </a:cubicBezTo>
                  <a:cubicBezTo>
                    <a:pt x="-6252" y="14278"/>
                    <a:pt x="2433" y="17307"/>
                    <a:pt x="2519" y="17337"/>
                  </a:cubicBezTo>
                  <a:cubicBezTo>
                    <a:pt x="3207" y="17560"/>
                    <a:pt x="3577" y="18304"/>
                    <a:pt x="3349" y="18993"/>
                  </a:cubicBezTo>
                  <a:cubicBezTo>
                    <a:pt x="3132" y="19677"/>
                    <a:pt x="2387" y="20057"/>
                    <a:pt x="1693" y="19824"/>
                  </a:cubicBezTo>
                  <a:cubicBezTo>
                    <a:pt x="1592" y="19788"/>
                    <a:pt x="-9048" y="16091"/>
                    <a:pt x="-7802" y="1912"/>
                  </a:cubicBezTo>
                  <a:cubicBezTo>
                    <a:pt x="-7742" y="1223"/>
                    <a:pt x="-7397" y="580"/>
                    <a:pt x="-6850" y="139"/>
                  </a:cubicBezTo>
                  <a:cubicBezTo>
                    <a:pt x="-6303" y="-301"/>
                    <a:pt x="-5594" y="-494"/>
                    <a:pt x="-4895" y="-413"/>
                  </a:cubicBezTo>
                  <a:cubicBezTo>
                    <a:pt x="-3108" y="-180"/>
                    <a:pt x="-2221" y="-484"/>
                    <a:pt x="-2084" y="-727"/>
                  </a:cubicBezTo>
                  <a:cubicBezTo>
                    <a:pt x="-2059" y="-772"/>
                    <a:pt x="-1528" y="-1815"/>
                    <a:pt x="-4576" y="-5695"/>
                  </a:cubicBezTo>
                  <a:cubicBezTo>
                    <a:pt x="-5022" y="-6267"/>
                    <a:pt x="-4921" y="-7092"/>
                    <a:pt x="-4353" y="-7538"/>
                  </a:cubicBezTo>
                  <a:lnTo>
                    <a:pt x="-3751" y="-7801"/>
                  </a:lnTo>
                </a:path>
              </a:pathLst>
            </a:custGeom>
            <a:solidFill>
              <a:srgbClr val="E8E4E2">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3" name="Freeform: Shape 462">
              <a:extLst>
                <a:ext uri="{FF2B5EF4-FFF2-40B4-BE49-F238E27FC236}">
                  <a16:creationId xmlns:a16="http://schemas.microsoft.com/office/drawing/2014/main" id="{A6C866B4-D54A-FF40-4BAB-241101B42A04}"/>
                </a:ext>
              </a:extLst>
            </p:cNvPr>
            <p:cNvSpPr/>
            <p:nvPr/>
          </p:nvSpPr>
          <p:spPr>
            <a:xfrm flipV="1">
              <a:off x="6540201" y="2768107"/>
              <a:ext cx="19284" cy="10802"/>
            </a:xfrm>
            <a:custGeom>
              <a:avLst/>
              <a:gdLst>
                <a:gd name="connsiteX0" fmla="*/ -7921 w 19284"/>
                <a:gd name="connsiteY0" fmla="*/ -5628 h 10802"/>
                <a:gd name="connsiteX1" fmla="*/ 11363 w 19284"/>
                <a:gd name="connsiteY1" fmla="*/ 2864 h 10802"/>
                <a:gd name="connsiteX2" fmla="*/ 2926 w 19284"/>
                <a:gd name="connsiteY2" fmla="*/ 469 h 10802"/>
                <a:gd name="connsiteX3" fmla="*/ -7921 w 19284"/>
                <a:gd name="connsiteY3" fmla="*/ -5628 h 10802"/>
              </a:gdLst>
              <a:ahLst/>
              <a:cxnLst>
                <a:cxn ang="0">
                  <a:pos x="connsiteX0" y="connsiteY0"/>
                </a:cxn>
                <a:cxn ang="0">
                  <a:pos x="connsiteX1" y="connsiteY1"/>
                </a:cxn>
                <a:cxn ang="0">
                  <a:pos x="connsiteX2" y="connsiteY2"/>
                </a:cxn>
                <a:cxn ang="0">
                  <a:pos x="connsiteX3" y="connsiteY3"/>
                </a:cxn>
              </a:cxnLst>
              <a:rect l="l" t="t" r="r" b="b"/>
              <a:pathLst>
                <a:path w="19284" h="10802">
                  <a:moveTo>
                    <a:pt x="-7921" y="-5628"/>
                  </a:moveTo>
                  <a:cubicBezTo>
                    <a:pt x="-3911" y="-8358"/>
                    <a:pt x="3879" y="-10819"/>
                    <a:pt x="11363" y="2864"/>
                  </a:cubicBezTo>
                  <a:cubicBezTo>
                    <a:pt x="11363" y="2864"/>
                    <a:pt x="6284" y="4019"/>
                    <a:pt x="2926" y="469"/>
                  </a:cubicBezTo>
                  <a:cubicBezTo>
                    <a:pt x="2926" y="469"/>
                    <a:pt x="-3222" y="-7593"/>
                    <a:pt x="-7921" y="-5628"/>
                  </a:cubicBezTo>
                </a:path>
              </a:pathLst>
            </a:custGeom>
            <a:solidFill>
              <a:srgbClr val="E8E4E2">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4" name="Freeform: Shape 463">
              <a:extLst>
                <a:ext uri="{FF2B5EF4-FFF2-40B4-BE49-F238E27FC236}">
                  <a16:creationId xmlns:a16="http://schemas.microsoft.com/office/drawing/2014/main" id="{F5F79CB2-F82D-2507-14A3-8741EC107613}"/>
                </a:ext>
              </a:extLst>
            </p:cNvPr>
            <p:cNvSpPr/>
            <p:nvPr/>
          </p:nvSpPr>
          <p:spPr>
            <a:xfrm flipV="1">
              <a:off x="6413994" y="2619262"/>
              <a:ext cx="194269" cy="162221"/>
            </a:xfrm>
            <a:custGeom>
              <a:avLst/>
              <a:gdLst>
                <a:gd name="connsiteX0" fmla="*/ 74760 w 194269"/>
                <a:gd name="connsiteY0" fmla="*/ 75954 h 162221"/>
                <a:gd name="connsiteX1" fmla="*/ 104178 w 194269"/>
                <a:gd name="connsiteY1" fmla="*/ 30565 h 162221"/>
                <a:gd name="connsiteX2" fmla="*/ 111344 w 194269"/>
                <a:gd name="connsiteY2" fmla="*/ 43124 h 162221"/>
                <a:gd name="connsiteX3" fmla="*/ 125716 w 194269"/>
                <a:gd name="connsiteY3" fmla="*/ 44380 h 162221"/>
                <a:gd name="connsiteX4" fmla="*/ 137034 w 194269"/>
                <a:gd name="connsiteY4" fmla="*/ 25480 h 162221"/>
                <a:gd name="connsiteX5" fmla="*/ 129195 w 194269"/>
                <a:gd name="connsiteY5" fmla="*/ 2879 h 162221"/>
                <a:gd name="connsiteX6" fmla="*/ 129418 w 194269"/>
                <a:gd name="connsiteY6" fmla="*/ 2920 h 162221"/>
                <a:gd name="connsiteX7" fmla="*/ 171273 w 194269"/>
                <a:gd name="connsiteY7" fmla="*/ -7923 h 162221"/>
                <a:gd name="connsiteX8" fmla="*/ 183427 w 194269"/>
                <a:gd name="connsiteY8" fmla="*/ 48218 h 162221"/>
                <a:gd name="connsiteX9" fmla="*/ 183245 w 194269"/>
                <a:gd name="connsiteY9" fmla="*/ 87151 h 162221"/>
                <a:gd name="connsiteX10" fmla="*/ 168852 w 194269"/>
                <a:gd name="connsiteY10" fmla="*/ 103169 h 162221"/>
                <a:gd name="connsiteX11" fmla="*/ 172473 w 194269"/>
                <a:gd name="connsiteY11" fmla="*/ 104111 h 162221"/>
                <a:gd name="connsiteX12" fmla="*/ 173623 w 194269"/>
                <a:gd name="connsiteY12" fmla="*/ 110021 h 162221"/>
                <a:gd name="connsiteX13" fmla="*/ 137444 w 194269"/>
                <a:gd name="connsiteY13" fmla="*/ 120423 h 162221"/>
                <a:gd name="connsiteX14" fmla="*/ 76093 w 194269"/>
                <a:gd name="connsiteY14" fmla="*/ 153476 h 162221"/>
                <a:gd name="connsiteX15" fmla="*/ 74447 w 194269"/>
                <a:gd name="connsiteY15" fmla="*/ 149172 h 162221"/>
                <a:gd name="connsiteX16" fmla="*/ 77885 w 194269"/>
                <a:gd name="connsiteY16" fmla="*/ 145206 h 162221"/>
                <a:gd name="connsiteX17" fmla="*/ 72649 w 194269"/>
                <a:gd name="connsiteY17" fmla="*/ 143480 h 162221"/>
                <a:gd name="connsiteX18" fmla="*/ -3566 w 194269"/>
                <a:gd name="connsiteY18" fmla="*/ 113921 h 162221"/>
                <a:gd name="connsiteX19" fmla="*/ -3850 w 194269"/>
                <a:gd name="connsiteY19" fmla="*/ 113870 h 162221"/>
                <a:gd name="connsiteX20" fmla="*/ -7835 w 194269"/>
                <a:gd name="connsiteY20" fmla="*/ 108254 h 162221"/>
                <a:gd name="connsiteX21" fmla="*/ 25755 w 194269"/>
                <a:gd name="connsiteY21" fmla="*/ 68536 h 162221"/>
                <a:gd name="connsiteX22" fmla="*/ 74760 w 194269"/>
                <a:gd name="connsiteY22" fmla="*/ 75954 h 16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4269" h="162221">
                  <a:moveTo>
                    <a:pt x="74760" y="75954"/>
                  </a:moveTo>
                  <a:cubicBezTo>
                    <a:pt x="76695" y="59050"/>
                    <a:pt x="88368" y="36819"/>
                    <a:pt x="104178" y="30565"/>
                  </a:cubicBezTo>
                  <a:cubicBezTo>
                    <a:pt x="104371" y="35558"/>
                    <a:pt x="107116" y="40419"/>
                    <a:pt x="111344" y="43124"/>
                  </a:cubicBezTo>
                  <a:cubicBezTo>
                    <a:pt x="115542" y="45843"/>
                    <a:pt x="121128" y="46324"/>
                    <a:pt x="125716" y="44380"/>
                  </a:cubicBezTo>
                  <a:cubicBezTo>
                    <a:pt x="132887" y="41377"/>
                    <a:pt x="136867" y="33234"/>
                    <a:pt x="137034" y="25480"/>
                  </a:cubicBezTo>
                  <a:cubicBezTo>
                    <a:pt x="137242" y="17702"/>
                    <a:pt x="132512" y="9928"/>
                    <a:pt x="129195" y="2879"/>
                  </a:cubicBezTo>
                  <a:lnTo>
                    <a:pt x="129418" y="2920"/>
                  </a:lnTo>
                  <a:cubicBezTo>
                    <a:pt x="131540" y="3441"/>
                    <a:pt x="155417" y="1264"/>
                    <a:pt x="171273" y="-7923"/>
                  </a:cubicBezTo>
                  <a:cubicBezTo>
                    <a:pt x="173972" y="5153"/>
                    <a:pt x="180753" y="35178"/>
                    <a:pt x="183427" y="48218"/>
                  </a:cubicBezTo>
                  <a:cubicBezTo>
                    <a:pt x="186096" y="61172"/>
                    <a:pt x="188623" y="75114"/>
                    <a:pt x="183245" y="87151"/>
                  </a:cubicBezTo>
                  <a:cubicBezTo>
                    <a:pt x="180257" y="93836"/>
                    <a:pt x="175046" y="99219"/>
                    <a:pt x="168852" y="103169"/>
                  </a:cubicBezTo>
                  <a:lnTo>
                    <a:pt x="172473" y="104111"/>
                  </a:lnTo>
                  <a:cubicBezTo>
                    <a:pt x="175172" y="104815"/>
                    <a:pt x="175821" y="108289"/>
                    <a:pt x="173623" y="110021"/>
                  </a:cubicBezTo>
                  <a:cubicBezTo>
                    <a:pt x="156936" y="123041"/>
                    <a:pt x="137444" y="120423"/>
                    <a:pt x="137444" y="120423"/>
                  </a:cubicBezTo>
                  <a:cubicBezTo>
                    <a:pt x="131742" y="131999"/>
                    <a:pt x="116236" y="159376"/>
                    <a:pt x="76093" y="153476"/>
                  </a:cubicBezTo>
                  <a:cubicBezTo>
                    <a:pt x="74047" y="153198"/>
                    <a:pt x="73084" y="150747"/>
                    <a:pt x="74447" y="149172"/>
                  </a:cubicBezTo>
                  <a:lnTo>
                    <a:pt x="77885" y="145206"/>
                  </a:lnTo>
                  <a:lnTo>
                    <a:pt x="72649" y="143480"/>
                  </a:lnTo>
                  <a:cubicBezTo>
                    <a:pt x="51010" y="136319"/>
                    <a:pt x="18604" y="119248"/>
                    <a:pt x="-3566" y="113921"/>
                  </a:cubicBezTo>
                  <a:lnTo>
                    <a:pt x="-3850" y="113870"/>
                  </a:lnTo>
                  <a:cubicBezTo>
                    <a:pt x="-6367" y="113282"/>
                    <a:pt x="-8058" y="110856"/>
                    <a:pt x="-7835" y="108254"/>
                  </a:cubicBezTo>
                  <a:cubicBezTo>
                    <a:pt x="-6185" y="89911"/>
                    <a:pt x="7793" y="73048"/>
                    <a:pt x="25755" y="68536"/>
                  </a:cubicBezTo>
                  <a:cubicBezTo>
                    <a:pt x="42036" y="64474"/>
                    <a:pt x="59047" y="70176"/>
                    <a:pt x="74760" y="75954"/>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5" name="Freeform: Shape 464">
              <a:extLst>
                <a:ext uri="{FF2B5EF4-FFF2-40B4-BE49-F238E27FC236}">
                  <a16:creationId xmlns:a16="http://schemas.microsoft.com/office/drawing/2014/main" id="{1CD2AD6F-161B-C45A-3C06-AC336BA798E6}"/>
                </a:ext>
              </a:extLst>
            </p:cNvPr>
            <p:cNvSpPr/>
            <p:nvPr/>
          </p:nvSpPr>
          <p:spPr>
            <a:xfrm flipV="1">
              <a:off x="6485560" y="2796422"/>
              <a:ext cx="22928" cy="25599"/>
            </a:xfrm>
            <a:custGeom>
              <a:avLst/>
              <a:gdLst>
                <a:gd name="connsiteX0" fmla="*/ 9837 w 22928"/>
                <a:gd name="connsiteY0" fmla="*/ 16850 h 25599"/>
                <a:gd name="connsiteX1" fmla="*/ -6515 w 22928"/>
                <a:gd name="connsiteY1" fmla="*/ 4529 h 25599"/>
                <a:gd name="connsiteX2" fmla="*/ -6899 w 22928"/>
                <a:gd name="connsiteY2" fmla="*/ 1050 h 25599"/>
                <a:gd name="connsiteX3" fmla="*/ 13631 w 22928"/>
                <a:gd name="connsiteY3" fmla="*/ 16552 h 25599"/>
                <a:gd name="connsiteX4" fmla="*/ 9837 w 22928"/>
                <a:gd name="connsiteY4" fmla="*/ 16850 h 25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28" h="25599">
                  <a:moveTo>
                    <a:pt x="9837" y="16850"/>
                  </a:moveTo>
                  <a:cubicBezTo>
                    <a:pt x="7984" y="11994"/>
                    <a:pt x="3553" y="4838"/>
                    <a:pt x="-6515" y="4529"/>
                  </a:cubicBezTo>
                  <a:cubicBezTo>
                    <a:pt x="-8510" y="4468"/>
                    <a:pt x="-7897" y="2914"/>
                    <a:pt x="-6899" y="1050"/>
                  </a:cubicBezTo>
                  <a:cubicBezTo>
                    <a:pt x="-1613" y="-8810"/>
                    <a:pt x="21014" y="-17241"/>
                    <a:pt x="13631" y="16552"/>
                  </a:cubicBezTo>
                  <a:cubicBezTo>
                    <a:pt x="13251" y="18284"/>
                    <a:pt x="10410" y="18359"/>
                    <a:pt x="9837" y="16850"/>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6" name="Freeform: Shape 465">
              <a:extLst>
                <a:ext uri="{FF2B5EF4-FFF2-40B4-BE49-F238E27FC236}">
                  <a16:creationId xmlns:a16="http://schemas.microsoft.com/office/drawing/2014/main" id="{D53BFAC9-0BF1-1886-BADF-13A7E92D1723}"/>
                </a:ext>
              </a:extLst>
            </p:cNvPr>
            <p:cNvSpPr/>
            <p:nvPr/>
          </p:nvSpPr>
          <p:spPr>
            <a:xfrm flipV="1">
              <a:off x="6544542" y="2868866"/>
              <a:ext cx="137840" cy="369894"/>
            </a:xfrm>
            <a:custGeom>
              <a:avLst/>
              <a:gdLst>
                <a:gd name="connsiteX0" fmla="*/ -7509 w 137840"/>
                <a:gd name="connsiteY0" fmla="*/ 362763 h 369894"/>
                <a:gd name="connsiteX1" fmla="*/ 9846 w 137840"/>
                <a:gd name="connsiteY1" fmla="*/ 317267 h 369894"/>
                <a:gd name="connsiteX2" fmla="*/ 71922 w 137840"/>
                <a:gd name="connsiteY2" fmla="*/ 14244 h 369894"/>
                <a:gd name="connsiteX3" fmla="*/ 109867 w 137840"/>
                <a:gd name="connsiteY3" fmla="*/ -7132 h 369894"/>
                <a:gd name="connsiteX4" fmla="*/ 129810 w 137840"/>
                <a:gd name="connsiteY4" fmla="*/ 40441 h 369894"/>
                <a:gd name="connsiteX5" fmla="*/ 20222 w 137840"/>
                <a:gd name="connsiteY5" fmla="*/ 322341 h 369894"/>
                <a:gd name="connsiteX6" fmla="*/ -7509 w 137840"/>
                <a:gd name="connsiteY6" fmla="*/ 362763 h 36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840" h="369894">
                  <a:moveTo>
                    <a:pt x="-7509" y="362763"/>
                  </a:moveTo>
                  <a:cubicBezTo>
                    <a:pt x="-7509" y="362763"/>
                    <a:pt x="-12725" y="327010"/>
                    <a:pt x="9846" y="317267"/>
                  </a:cubicBezTo>
                  <a:cubicBezTo>
                    <a:pt x="9846" y="317267"/>
                    <a:pt x="20288" y="131413"/>
                    <a:pt x="71922" y="14244"/>
                  </a:cubicBezTo>
                  <a:lnTo>
                    <a:pt x="109867" y="-7132"/>
                  </a:lnTo>
                  <a:lnTo>
                    <a:pt x="129810" y="40441"/>
                  </a:lnTo>
                  <a:cubicBezTo>
                    <a:pt x="129810" y="40441"/>
                    <a:pt x="39076" y="162132"/>
                    <a:pt x="20222" y="322341"/>
                  </a:cubicBezTo>
                  <a:cubicBezTo>
                    <a:pt x="20222" y="322341"/>
                    <a:pt x="23352" y="359856"/>
                    <a:pt x="-7509" y="362763"/>
                  </a:cubicBezTo>
                </a:path>
              </a:pathLst>
            </a:custGeom>
            <a:solidFill>
              <a:srgbClr val="FFFFFF"/>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7" name="Freeform: Shape 466">
              <a:extLst>
                <a:ext uri="{FF2B5EF4-FFF2-40B4-BE49-F238E27FC236}">
                  <a16:creationId xmlns:a16="http://schemas.microsoft.com/office/drawing/2014/main" id="{540E524D-3BEA-6F3B-6AD8-73DCB39FC60A}"/>
                </a:ext>
              </a:extLst>
            </p:cNvPr>
            <p:cNvSpPr/>
            <p:nvPr/>
          </p:nvSpPr>
          <p:spPr>
            <a:xfrm flipV="1">
              <a:off x="6536054" y="2796236"/>
              <a:ext cx="92328" cy="105120"/>
            </a:xfrm>
            <a:custGeom>
              <a:avLst/>
              <a:gdLst>
                <a:gd name="connsiteX0" fmla="*/ 68795 w 92328"/>
                <a:gd name="connsiteY0" fmla="*/ 97530 h 105120"/>
                <a:gd name="connsiteX1" fmla="*/ -7977 w 92328"/>
                <a:gd name="connsiteY1" fmla="*/ 24125 h 105120"/>
                <a:gd name="connsiteX2" fmla="*/ 30171 w 92328"/>
                <a:gd name="connsiteY2" fmla="*/ -7571 h 105120"/>
                <a:gd name="connsiteX3" fmla="*/ 84352 w 92328"/>
                <a:gd name="connsiteY3" fmla="*/ 80226 h 105120"/>
                <a:gd name="connsiteX4" fmla="*/ 68795 w 92328"/>
                <a:gd name="connsiteY4" fmla="*/ 97530 h 105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28" h="105120">
                  <a:moveTo>
                    <a:pt x="68795" y="97530"/>
                  </a:moveTo>
                  <a:lnTo>
                    <a:pt x="-7977" y="24125"/>
                  </a:lnTo>
                  <a:cubicBezTo>
                    <a:pt x="-7977" y="24125"/>
                    <a:pt x="31042" y="-8503"/>
                    <a:pt x="30171" y="-7571"/>
                  </a:cubicBezTo>
                  <a:cubicBezTo>
                    <a:pt x="29295" y="-6644"/>
                    <a:pt x="84352" y="80226"/>
                    <a:pt x="84352" y="80226"/>
                  </a:cubicBezTo>
                  <a:lnTo>
                    <a:pt x="68795" y="97530"/>
                  </a:lnTo>
                </a:path>
              </a:pathLst>
            </a:custGeom>
            <a:solidFill>
              <a:srgbClr val="4DA5C3">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8" name="Freeform: Shape 467">
              <a:extLst>
                <a:ext uri="{FF2B5EF4-FFF2-40B4-BE49-F238E27FC236}">
                  <a16:creationId xmlns:a16="http://schemas.microsoft.com/office/drawing/2014/main" id="{05244C88-1486-E9EA-5302-073408EB6458}"/>
                </a:ext>
              </a:extLst>
            </p:cNvPr>
            <p:cNvSpPr/>
            <p:nvPr/>
          </p:nvSpPr>
          <p:spPr>
            <a:xfrm flipV="1">
              <a:off x="6071375" y="3275678"/>
              <a:ext cx="57137" cy="50250"/>
            </a:xfrm>
            <a:custGeom>
              <a:avLst/>
              <a:gdLst>
                <a:gd name="connsiteX0" fmla="*/ 49987 w 57137"/>
                <a:gd name="connsiteY0" fmla="*/ 43424 h 50250"/>
                <a:gd name="connsiteX1" fmla="*/ 6420 w 57137"/>
                <a:gd name="connsiteY1" fmla="*/ 35316 h 50250"/>
                <a:gd name="connsiteX2" fmla="*/ -7147 w 57137"/>
                <a:gd name="connsiteY2" fmla="*/ 3078 h 50250"/>
                <a:gd name="connsiteX3" fmla="*/ -2220 w 57137"/>
                <a:gd name="connsiteY3" fmla="*/ -6382 h 50250"/>
                <a:gd name="connsiteX4" fmla="*/ 7458 w 57137"/>
                <a:gd name="connsiteY4" fmla="*/ 475 h 50250"/>
                <a:gd name="connsiteX5" fmla="*/ 16209 w 57137"/>
                <a:gd name="connsiteY5" fmla="*/ 23891 h 50250"/>
                <a:gd name="connsiteX6" fmla="*/ 43722 w 57137"/>
                <a:gd name="connsiteY6" fmla="*/ 34030 h 50250"/>
                <a:gd name="connsiteX7" fmla="*/ 49987 w 57137"/>
                <a:gd name="connsiteY7" fmla="*/ 43424 h 5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37" h="50250">
                  <a:moveTo>
                    <a:pt x="49987" y="43424"/>
                  </a:moveTo>
                  <a:cubicBezTo>
                    <a:pt x="38015" y="44198"/>
                    <a:pt x="15115" y="43581"/>
                    <a:pt x="6420" y="35316"/>
                  </a:cubicBezTo>
                  <a:cubicBezTo>
                    <a:pt x="-2270" y="27051"/>
                    <a:pt x="-7319" y="15075"/>
                    <a:pt x="-7147" y="3078"/>
                  </a:cubicBezTo>
                  <a:cubicBezTo>
                    <a:pt x="-7097" y="-741"/>
                    <a:pt x="-5896" y="-5344"/>
                    <a:pt x="-2220" y="-6382"/>
                  </a:cubicBezTo>
                  <a:cubicBezTo>
                    <a:pt x="1912" y="-7547"/>
                    <a:pt x="5452" y="-3323"/>
                    <a:pt x="7458" y="475"/>
                  </a:cubicBezTo>
                  <a:cubicBezTo>
                    <a:pt x="11367" y="7858"/>
                    <a:pt x="14315" y="15753"/>
                    <a:pt x="16209" y="23891"/>
                  </a:cubicBezTo>
                  <a:lnTo>
                    <a:pt x="43722" y="34030"/>
                  </a:lnTo>
                  <a:lnTo>
                    <a:pt x="49987" y="43424"/>
                  </a:ln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9" name="Freeform: Shape 468">
              <a:extLst>
                <a:ext uri="{FF2B5EF4-FFF2-40B4-BE49-F238E27FC236}">
                  <a16:creationId xmlns:a16="http://schemas.microsoft.com/office/drawing/2014/main" id="{24AFB264-F89D-AD4E-A52F-8541CD66EC48}"/>
                </a:ext>
              </a:extLst>
            </p:cNvPr>
            <p:cNvSpPr/>
            <p:nvPr/>
          </p:nvSpPr>
          <p:spPr>
            <a:xfrm flipV="1">
              <a:off x="6076200" y="3339611"/>
              <a:ext cx="55092" cy="32089"/>
            </a:xfrm>
            <a:custGeom>
              <a:avLst/>
              <a:gdLst>
                <a:gd name="connsiteX0" fmla="*/ 47935 w 55092"/>
                <a:gd name="connsiteY0" fmla="*/ 15297 h 32089"/>
                <a:gd name="connsiteX1" fmla="*/ 30160 w 55092"/>
                <a:gd name="connsiteY1" fmla="*/ 25592 h 32089"/>
                <a:gd name="connsiteX2" fmla="*/ 10293 w 55092"/>
                <a:gd name="connsiteY2" fmla="*/ 18988 h 32089"/>
                <a:gd name="connsiteX3" fmla="*/ -7158 w 55092"/>
                <a:gd name="connsiteY3" fmla="*/ 2464 h 32089"/>
                <a:gd name="connsiteX4" fmla="*/ 15124 w 55092"/>
                <a:gd name="connsiteY4" fmla="*/ -6454 h 32089"/>
                <a:gd name="connsiteX5" fmla="*/ 34141 w 55092"/>
                <a:gd name="connsiteY5" fmla="*/ 236 h 32089"/>
                <a:gd name="connsiteX6" fmla="*/ 47935 w 55092"/>
                <a:gd name="connsiteY6" fmla="*/ 15297 h 3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92" h="32089">
                  <a:moveTo>
                    <a:pt x="47935" y="15297"/>
                  </a:moveTo>
                  <a:cubicBezTo>
                    <a:pt x="44304" y="21434"/>
                    <a:pt x="37275" y="25177"/>
                    <a:pt x="30160" y="25592"/>
                  </a:cubicBezTo>
                  <a:cubicBezTo>
                    <a:pt x="23045" y="26002"/>
                    <a:pt x="15945" y="23333"/>
                    <a:pt x="10293" y="18988"/>
                  </a:cubicBezTo>
                  <a:cubicBezTo>
                    <a:pt x="4637" y="14648"/>
                    <a:pt x="-3932" y="8819"/>
                    <a:pt x="-7158" y="2464"/>
                  </a:cubicBezTo>
                  <a:cubicBezTo>
                    <a:pt x="-3512" y="-3324"/>
                    <a:pt x="8288" y="-6363"/>
                    <a:pt x="15124" y="-6454"/>
                  </a:cubicBezTo>
                  <a:cubicBezTo>
                    <a:pt x="21961" y="-6545"/>
                    <a:pt x="28620" y="-3800"/>
                    <a:pt x="34141" y="236"/>
                  </a:cubicBezTo>
                  <a:cubicBezTo>
                    <a:pt x="39660" y="4272"/>
                    <a:pt x="43828" y="9832"/>
                    <a:pt x="47935" y="15297"/>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grpSp>
    </p:spTree>
    <p:extLst>
      <p:ext uri="{BB962C8B-B14F-4D97-AF65-F5344CB8AC3E}">
        <p14:creationId xmlns:p14="http://schemas.microsoft.com/office/powerpoint/2010/main" val="32447333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nl-NL"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1</a:t>
            </a:fld>
            <a:endParaRPr kumimoji="0" lang="nl-NL"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381920" y="128831"/>
            <a:ext cx="11705119" cy="610880"/>
          </a:xfrm>
        </p:spPr>
        <p:txBody>
          <a:bodyPr vert="horz" tIns="0" bIns="0" anchor="t"/>
          <a:lstStyle/>
          <a:p>
            <a:pPr algn="ctr"/>
            <a:r>
              <a:rPr lang="en-US" sz="4400" dirty="0">
                <a:solidFill>
                  <a:srgbClr val="145275"/>
                </a:solidFill>
                <a:latin typeface="+mn-lt"/>
                <a:cs typeface="Poppins" panose="00000500000000000000" pitchFamily="2" charset="0"/>
              </a:rPr>
              <a:t>Sprint Backlog</a:t>
            </a:r>
          </a:p>
        </p:txBody>
      </p:sp>
      <p:pic>
        <p:nvPicPr>
          <p:cNvPr id="17" name="Picture 16">
            <a:extLst>
              <a:ext uri="{FF2B5EF4-FFF2-40B4-BE49-F238E27FC236}">
                <a16:creationId xmlns:a16="http://schemas.microsoft.com/office/drawing/2014/main" id="{3EE3682B-36DD-8122-AD41-A50E944C57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18" name="Picture 17">
            <a:extLst>
              <a:ext uri="{FF2B5EF4-FFF2-40B4-BE49-F238E27FC236}">
                <a16:creationId xmlns:a16="http://schemas.microsoft.com/office/drawing/2014/main" id="{56445B68-8578-CEF1-BEC4-5F4CFBBB43EB}"/>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4" name="Content Placeholder 2">
            <a:extLst>
              <a:ext uri="{FF2B5EF4-FFF2-40B4-BE49-F238E27FC236}">
                <a16:creationId xmlns:a16="http://schemas.microsoft.com/office/drawing/2014/main" id="{4F6C6FDA-A230-2EDD-8BC8-9249877DE41B}"/>
              </a:ext>
            </a:extLst>
          </p:cNvPr>
          <p:cNvSpPr txBox="1">
            <a:spLocks/>
          </p:cNvSpPr>
          <p:nvPr/>
        </p:nvSpPr>
        <p:spPr>
          <a:xfrm>
            <a:off x="692035" y="739711"/>
            <a:ext cx="11130165" cy="5702023"/>
          </a:xfrm>
          <a:prstGeom prst="rect">
            <a:avLst/>
          </a:prstGeom>
        </p:spPr>
        <p:txBody>
          <a:bodyPr vert="horz" lIns="0" tIns="0" rIns="0" bIns="0" rtlCol="0" anchor="t">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457200" lvl="0" indent="-457200">
              <a:spcBef>
                <a:spcPts val="1200"/>
              </a:spcBef>
              <a:spcAft>
                <a:spcPts val="600"/>
              </a:spcAft>
              <a:buFont typeface="+mj-lt"/>
              <a:buAutoNum type="arabicPeriod" startAt="7"/>
            </a:pPr>
            <a:r>
              <a:rPr lang="en-US" sz="2200" dirty="0">
                <a:solidFill>
                  <a:schemeClr val="accent1">
                    <a:lumMod val="75000"/>
                  </a:schemeClr>
                </a:solidFill>
                <a:effectLst/>
                <a:latin typeface="Open Sans" panose="020B0606030504020204" pitchFamily="34" charset="0"/>
                <a:ea typeface="Times New Roman" panose="02020603050405020304" pitchFamily="18" charset="0"/>
              </a:rPr>
              <a:t>Add content to the </a:t>
            </a:r>
            <a:r>
              <a:rPr lang="en-US" sz="2200" b="1" dirty="0">
                <a:solidFill>
                  <a:schemeClr val="accent1">
                    <a:lumMod val="75000"/>
                  </a:schemeClr>
                </a:solidFill>
                <a:effectLst/>
                <a:latin typeface="Open Sans" panose="020B0606030504020204" pitchFamily="34" charset="0"/>
                <a:ea typeface="Times New Roman" panose="02020603050405020304" pitchFamily="18" charset="0"/>
              </a:rPr>
              <a:t>home page</a:t>
            </a:r>
            <a:r>
              <a:rPr lang="en-US" sz="2200" dirty="0">
                <a:solidFill>
                  <a:schemeClr val="accent1">
                    <a:lumMod val="75000"/>
                  </a:schemeClr>
                </a:solidFill>
                <a:effectLst/>
                <a:latin typeface="Open Sans" panose="020B0606030504020204" pitchFamily="34" charset="0"/>
                <a:ea typeface="Times New Roman" panose="02020603050405020304" pitchFamily="18" charset="0"/>
              </a:rPr>
              <a:t> last as it is a finalization of your project and more information page.</a:t>
            </a:r>
            <a:endParaRPr lang="en-GH" sz="2200" dirty="0">
              <a:solidFill>
                <a:schemeClr val="accent1">
                  <a:lumMod val="75000"/>
                </a:schemeClr>
              </a:solidFill>
              <a:effectLst/>
              <a:latin typeface="Times New Roman" panose="02020603050405020304" pitchFamily="18" charset="0"/>
              <a:ea typeface="Times New Roman" panose="02020603050405020304" pitchFamily="18" charset="0"/>
            </a:endParaRPr>
          </a:p>
          <a:p>
            <a:pPr marL="457200" lvl="0" indent="-457200">
              <a:spcBef>
                <a:spcPts val="1200"/>
              </a:spcBef>
              <a:spcAft>
                <a:spcPts val="600"/>
              </a:spcAft>
              <a:buFont typeface="+mj-lt"/>
              <a:buAutoNum type="arabicPeriod" startAt="7"/>
            </a:pPr>
            <a:r>
              <a:rPr lang="en-US" sz="2200" dirty="0">
                <a:solidFill>
                  <a:schemeClr val="accent1">
                    <a:lumMod val="75000"/>
                  </a:schemeClr>
                </a:solidFill>
                <a:effectLst/>
                <a:latin typeface="Open Sans" panose="020B0606030504020204" pitchFamily="34" charset="0"/>
                <a:ea typeface="Times New Roman" panose="02020603050405020304" pitchFamily="18" charset="0"/>
              </a:rPr>
              <a:t>On the </a:t>
            </a:r>
            <a:r>
              <a:rPr lang="en-US" sz="2200" b="1" dirty="0">
                <a:solidFill>
                  <a:schemeClr val="accent1">
                    <a:lumMod val="75000"/>
                  </a:schemeClr>
                </a:solidFill>
                <a:effectLst/>
                <a:latin typeface="Open Sans" panose="020B0606030504020204" pitchFamily="34" charset="0"/>
                <a:ea typeface="Times New Roman" panose="02020603050405020304" pitchFamily="18" charset="0"/>
              </a:rPr>
              <a:t>data</a:t>
            </a:r>
            <a:r>
              <a:rPr lang="en-US" sz="2200" dirty="0">
                <a:solidFill>
                  <a:schemeClr val="accent1">
                    <a:lumMod val="75000"/>
                  </a:schemeClr>
                </a:solidFill>
                <a:effectLst/>
                <a:latin typeface="Open Sans" panose="020B0606030504020204" pitchFamily="34" charset="0"/>
                <a:ea typeface="Times New Roman" panose="02020603050405020304" pitchFamily="18" charset="0"/>
              </a:rPr>
              <a:t> page, display a sample for the data from the database, so the users can see the type of data they are working with.</a:t>
            </a:r>
            <a:endParaRPr lang="en-GH" sz="2200" dirty="0">
              <a:solidFill>
                <a:schemeClr val="accent1">
                  <a:lumMod val="75000"/>
                </a:schemeClr>
              </a:solidFill>
              <a:effectLst/>
              <a:latin typeface="Times New Roman" panose="02020603050405020304" pitchFamily="18" charset="0"/>
              <a:ea typeface="Times New Roman" panose="02020603050405020304" pitchFamily="18" charset="0"/>
            </a:endParaRPr>
          </a:p>
          <a:p>
            <a:pPr marL="457200" lvl="0" indent="-457200">
              <a:spcBef>
                <a:spcPts val="1200"/>
              </a:spcBef>
              <a:spcAft>
                <a:spcPts val="600"/>
              </a:spcAft>
              <a:buFont typeface="+mj-lt"/>
              <a:buAutoNum type="arabicPeriod" startAt="7"/>
            </a:pPr>
            <a:r>
              <a:rPr lang="en-US" sz="2200" dirty="0">
                <a:solidFill>
                  <a:schemeClr val="accent1">
                    <a:lumMod val="75000"/>
                  </a:schemeClr>
                </a:solidFill>
                <a:effectLst/>
                <a:latin typeface="Open Sans" panose="020B0606030504020204" pitchFamily="34" charset="0"/>
                <a:ea typeface="Times New Roman" panose="02020603050405020304" pitchFamily="18" charset="0"/>
              </a:rPr>
              <a:t>On the </a:t>
            </a:r>
            <a:r>
              <a:rPr lang="en-US" sz="2200" b="1" dirty="0">
                <a:solidFill>
                  <a:schemeClr val="accent1">
                    <a:lumMod val="75000"/>
                  </a:schemeClr>
                </a:solidFill>
                <a:effectLst/>
                <a:latin typeface="Open Sans" panose="020B0606030504020204" pitchFamily="34" charset="0"/>
                <a:ea typeface="Times New Roman" panose="02020603050405020304" pitchFamily="18" charset="0"/>
              </a:rPr>
              <a:t>dashboard</a:t>
            </a:r>
            <a:r>
              <a:rPr lang="en-US" sz="2200" dirty="0">
                <a:solidFill>
                  <a:schemeClr val="accent1">
                    <a:lumMod val="75000"/>
                  </a:schemeClr>
                </a:solidFill>
                <a:effectLst/>
                <a:latin typeface="Open Sans" panose="020B0606030504020204" pitchFamily="34" charset="0"/>
                <a:ea typeface="Times New Roman" panose="02020603050405020304" pitchFamily="18" charset="0"/>
              </a:rPr>
              <a:t> page show the visualization based on the analysis you have made using data from the data page </a:t>
            </a:r>
            <a:endParaRPr lang="en-GH" sz="2200" dirty="0">
              <a:solidFill>
                <a:schemeClr val="accent1">
                  <a:lumMod val="75000"/>
                </a:schemeClr>
              </a:solidFill>
              <a:effectLst/>
              <a:latin typeface="Times New Roman" panose="02020603050405020304" pitchFamily="18" charset="0"/>
              <a:ea typeface="Times New Roman" panose="02020603050405020304" pitchFamily="18" charset="0"/>
            </a:endParaRPr>
          </a:p>
          <a:p>
            <a:pPr marL="457200" lvl="0" indent="-457200">
              <a:spcBef>
                <a:spcPts val="1200"/>
              </a:spcBef>
              <a:spcAft>
                <a:spcPts val="600"/>
              </a:spcAft>
              <a:buFont typeface="+mj-lt"/>
              <a:buAutoNum type="arabicPeriod" startAt="7"/>
            </a:pPr>
            <a:r>
              <a:rPr lang="en-US" sz="2200" dirty="0">
                <a:solidFill>
                  <a:schemeClr val="accent1">
                    <a:lumMod val="75000"/>
                  </a:schemeClr>
                </a:solidFill>
                <a:effectLst/>
                <a:latin typeface="Open Sans" panose="020B0606030504020204" pitchFamily="34" charset="0"/>
                <a:ea typeface="Times New Roman" panose="02020603050405020304" pitchFamily="18" charset="0"/>
              </a:rPr>
              <a:t>Now finally on the </a:t>
            </a:r>
            <a:r>
              <a:rPr lang="en-US" sz="2200" b="1" dirty="0">
                <a:solidFill>
                  <a:schemeClr val="accent1">
                    <a:lumMod val="75000"/>
                  </a:schemeClr>
                </a:solidFill>
                <a:effectLst/>
                <a:latin typeface="Open Sans" panose="020B0606030504020204" pitchFamily="34" charset="0"/>
                <a:ea typeface="Times New Roman" panose="02020603050405020304" pitchFamily="18" charset="0"/>
              </a:rPr>
              <a:t>Predict</a:t>
            </a:r>
            <a:r>
              <a:rPr lang="en-US" sz="2200" dirty="0">
                <a:solidFill>
                  <a:schemeClr val="accent1">
                    <a:lumMod val="75000"/>
                  </a:schemeClr>
                </a:solidFill>
                <a:effectLst/>
                <a:latin typeface="Open Sans" panose="020B0606030504020204" pitchFamily="34" charset="0"/>
                <a:ea typeface="Times New Roman" panose="02020603050405020304" pitchFamily="18" charset="0"/>
              </a:rPr>
              <a:t> complex page,</a:t>
            </a:r>
            <a:endParaRPr lang="en-GH" sz="2200" dirty="0">
              <a:solidFill>
                <a:schemeClr val="accent1">
                  <a:lumMod val="75000"/>
                </a:schemeClr>
              </a:solidFill>
              <a:effectLst/>
              <a:latin typeface="Times New Roman" panose="02020603050405020304" pitchFamily="18" charset="0"/>
              <a:ea typeface="Times New Roman" panose="02020603050405020304" pitchFamily="18" charset="0"/>
            </a:endParaRPr>
          </a:p>
          <a:p>
            <a:pPr marL="914400" lvl="1" indent="-457200">
              <a:spcBef>
                <a:spcPts val="1200"/>
              </a:spcBef>
              <a:spcAft>
                <a:spcPts val="600"/>
              </a:spcAft>
              <a:buFont typeface="+mj-lt"/>
              <a:buAutoNum type="arabicPeriod"/>
            </a:pPr>
            <a:r>
              <a:rPr lang="en-US" sz="2200" dirty="0">
                <a:solidFill>
                  <a:schemeClr val="accent1">
                    <a:lumMod val="75000"/>
                  </a:schemeClr>
                </a:solidFill>
                <a:effectLst/>
                <a:latin typeface="Open Sans" panose="020B0606030504020204" pitchFamily="34" charset="0"/>
                <a:ea typeface="Times New Roman" panose="02020603050405020304" pitchFamily="18" charset="0"/>
              </a:rPr>
              <a:t>Create a form to collect all the fields you need to pass to the model</a:t>
            </a:r>
          </a:p>
          <a:p>
            <a:pPr marL="914400" lvl="1" indent="-457200">
              <a:spcBef>
                <a:spcPts val="1200"/>
              </a:spcBef>
              <a:spcAft>
                <a:spcPts val="600"/>
              </a:spcAft>
              <a:buFont typeface="+mj-lt"/>
              <a:buAutoNum type="arabicPeriod"/>
            </a:pPr>
            <a:r>
              <a:rPr lang="en-US" sz="2200" dirty="0">
                <a:solidFill>
                  <a:schemeClr val="accent1">
                    <a:lumMod val="75000"/>
                  </a:schemeClr>
                </a:solidFill>
                <a:effectLst/>
                <a:latin typeface="Open Sans" panose="020B0606030504020204" pitchFamily="34" charset="0"/>
                <a:ea typeface="Times New Roman" panose="02020603050405020304" pitchFamily="18" charset="0"/>
              </a:rPr>
              <a:t>Load the model.</a:t>
            </a:r>
            <a:endParaRPr lang="en-US" sz="2200" dirty="0">
              <a:solidFill>
                <a:schemeClr val="accent1">
                  <a:lumMod val="75000"/>
                </a:schemeClr>
              </a:solidFill>
              <a:latin typeface="Times New Roman" panose="02020603050405020304" pitchFamily="18" charset="0"/>
              <a:ea typeface="Times New Roman" panose="02020603050405020304" pitchFamily="18" charset="0"/>
            </a:endParaRPr>
          </a:p>
          <a:p>
            <a:pPr marL="914400" lvl="1" indent="-457200">
              <a:spcBef>
                <a:spcPts val="1200"/>
              </a:spcBef>
              <a:spcAft>
                <a:spcPts val="600"/>
              </a:spcAft>
              <a:buFont typeface="+mj-lt"/>
              <a:buAutoNum type="arabicPeriod"/>
            </a:pPr>
            <a:r>
              <a:rPr lang="en-US" sz="2200" dirty="0">
                <a:solidFill>
                  <a:schemeClr val="accent1">
                    <a:lumMod val="75000"/>
                  </a:schemeClr>
                </a:solidFill>
                <a:effectLst/>
                <a:latin typeface="Open Sans" panose="020B0606030504020204" pitchFamily="34" charset="0"/>
                <a:ea typeface="Times New Roman" panose="02020603050405020304" pitchFamily="18" charset="0"/>
              </a:rPr>
              <a:t>Pass the collected data through the model using a custom function.</a:t>
            </a:r>
            <a:endParaRPr lang="en-US" sz="2200" dirty="0">
              <a:solidFill>
                <a:schemeClr val="accent1">
                  <a:lumMod val="75000"/>
                </a:schemeClr>
              </a:solidFill>
              <a:latin typeface="Times New Roman" panose="02020603050405020304" pitchFamily="18" charset="0"/>
              <a:ea typeface="Times New Roman" panose="02020603050405020304" pitchFamily="18" charset="0"/>
            </a:endParaRPr>
          </a:p>
          <a:p>
            <a:pPr marL="914400" lvl="1" indent="-457200">
              <a:spcBef>
                <a:spcPts val="1200"/>
              </a:spcBef>
              <a:spcAft>
                <a:spcPts val="600"/>
              </a:spcAft>
              <a:buFont typeface="+mj-lt"/>
              <a:buAutoNum type="arabicPeriod"/>
            </a:pPr>
            <a:r>
              <a:rPr lang="en-US" sz="2200" dirty="0">
                <a:solidFill>
                  <a:schemeClr val="accent1">
                    <a:lumMod val="75000"/>
                  </a:schemeClr>
                </a:solidFill>
                <a:effectLst/>
                <a:latin typeface="Open Sans" panose="020B0606030504020204" pitchFamily="34" charset="0"/>
                <a:ea typeface="Times New Roman" panose="02020603050405020304" pitchFamily="18" charset="0"/>
              </a:rPr>
              <a:t>Display the output and prediction probability. </a:t>
            </a:r>
            <a:endParaRPr lang="en-GH" sz="2200" dirty="0">
              <a:solidFill>
                <a:schemeClr val="accent1">
                  <a:lumMod val="75000"/>
                </a:schemeClr>
              </a:solidFill>
              <a:effectLst/>
              <a:latin typeface="Times New Roman" panose="02020603050405020304" pitchFamily="18" charset="0"/>
              <a:ea typeface="Times New Roman" panose="02020603050405020304" pitchFamily="18" charset="0"/>
            </a:endParaRPr>
          </a:p>
        </p:txBody>
      </p:sp>
      <p:grpSp>
        <p:nvGrpSpPr>
          <p:cNvPr id="402" name="Group 401">
            <a:extLst>
              <a:ext uri="{FF2B5EF4-FFF2-40B4-BE49-F238E27FC236}">
                <a16:creationId xmlns:a16="http://schemas.microsoft.com/office/drawing/2014/main" id="{6F04B63D-62D0-5A0C-81C6-1E47E423DB94}"/>
              </a:ext>
            </a:extLst>
          </p:cNvPr>
          <p:cNvGrpSpPr/>
          <p:nvPr/>
        </p:nvGrpSpPr>
        <p:grpSpPr>
          <a:xfrm>
            <a:off x="10133029" y="3282450"/>
            <a:ext cx="1931723" cy="2721556"/>
            <a:chOff x="4953134" y="1836052"/>
            <a:chExt cx="2443737" cy="3226463"/>
          </a:xfrm>
        </p:grpSpPr>
        <p:sp>
          <p:nvSpPr>
            <p:cNvPr id="403" name="Freeform: Shape 402">
              <a:extLst>
                <a:ext uri="{FF2B5EF4-FFF2-40B4-BE49-F238E27FC236}">
                  <a16:creationId xmlns:a16="http://schemas.microsoft.com/office/drawing/2014/main" id="{79B02943-6DB6-A9C8-B7C2-ADD56C1A2461}"/>
                </a:ext>
              </a:extLst>
            </p:cNvPr>
            <p:cNvSpPr/>
            <p:nvPr/>
          </p:nvSpPr>
          <p:spPr>
            <a:xfrm flipV="1">
              <a:off x="5055882" y="4176439"/>
              <a:ext cx="2332102" cy="886076"/>
            </a:xfrm>
            <a:custGeom>
              <a:avLst/>
              <a:gdLst>
                <a:gd name="connsiteX0" fmla="*/ 1712457 w 2332102"/>
                <a:gd name="connsiteY0" fmla="*/ 886044 h 886076"/>
                <a:gd name="connsiteX1" fmla="*/ 2152586 w 2332102"/>
                <a:gd name="connsiteY1" fmla="*/ 872320 h 886076"/>
                <a:gd name="connsiteX2" fmla="*/ 2221154 w 2332102"/>
                <a:gd name="connsiteY2" fmla="*/ 789096 h 886076"/>
                <a:gd name="connsiteX3" fmla="*/ 2168943 w 2332102"/>
                <a:gd name="connsiteY3" fmla="*/ 456940 h 886076"/>
                <a:gd name="connsiteX4" fmla="*/ 2139469 w 2332102"/>
                <a:gd name="connsiteY4" fmla="*/ 269450 h 886076"/>
                <a:gd name="connsiteX5" fmla="*/ 2180692 w 2332102"/>
                <a:gd name="connsiteY5" fmla="*/ 192622 h 886076"/>
                <a:gd name="connsiteX6" fmla="*/ 2289976 w 2332102"/>
                <a:gd name="connsiteY6" fmla="*/ 143100 h 886076"/>
                <a:gd name="connsiteX7" fmla="*/ 2331704 w 2332102"/>
                <a:gd name="connsiteY7" fmla="*/ 70182 h 886076"/>
                <a:gd name="connsiteX8" fmla="*/ 2324248 w 2332102"/>
                <a:gd name="connsiteY8" fmla="*/ 0 h 886076"/>
                <a:gd name="connsiteX9" fmla="*/ 0 w 2332102"/>
                <a:gd name="connsiteY9" fmla="*/ 0 h 886076"/>
                <a:gd name="connsiteX10" fmla="*/ 73708 w 2332102"/>
                <a:gd name="connsiteY10" fmla="*/ 102957 h 886076"/>
                <a:gd name="connsiteX11" fmla="*/ 128062 w 2332102"/>
                <a:gd name="connsiteY11" fmla="*/ 127913 h 886076"/>
                <a:gd name="connsiteX12" fmla="*/ 182815 w 2332102"/>
                <a:gd name="connsiteY12" fmla="*/ 191498 h 886076"/>
                <a:gd name="connsiteX13" fmla="*/ 237169 w 2332102"/>
                <a:gd name="connsiteY13" fmla="*/ 216454 h 886076"/>
                <a:gd name="connsiteX14" fmla="*/ 523722 w 2332102"/>
                <a:gd name="connsiteY14" fmla="*/ 226284 h 886076"/>
                <a:gd name="connsiteX15" fmla="*/ 586725 w 2332102"/>
                <a:gd name="connsiteY15" fmla="*/ 263698 h 886076"/>
                <a:gd name="connsiteX16" fmla="*/ 658272 w 2332102"/>
                <a:gd name="connsiteY16" fmla="*/ 399715 h 886076"/>
                <a:gd name="connsiteX17" fmla="*/ 721279 w 2332102"/>
                <a:gd name="connsiteY17" fmla="*/ 437174 h 886076"/>
                <a:gd name="connsiteX18" fmla="*/ 914729 w 2332102"/>
                <a:gd name="connsiteY18" fmla="*/ 437174 h 886076"/>
                <a:gd name="connsiteX19" fmla="*/ 980219 w 2332102"/>
                <a:gd name="connsiteY19" fmla="*/ 479668 h 886076"/>
                <a:gd name="connsiteX20" fmla="*/ 1333903 w 2332102"/>
                <a:gd name="connsiteY20" fmla="*/ 795588 h 886076"/>
                <a:gd name="connsiteX21" fmla="*/ 1395199 w 2332102"/>
                <a:gd name="connsiteY21" fmla="*/ 837985 h 886076"/>
                <a:gd name="connsiteX22" fmla="*/ 1620492 w 2332102"/>
                <a:gd name="connsiteY22" fmla="*/ 851173 h 886076"/>
                <a:gd name="connsiteX23" fmla="*/ 1663274 w 2332102"/>
                <a:gd name="connsiteY23" fmla="*/ 868558 h 886076"/>
                <a:gd name="connsiteX24" fmla="*/ 1712457 w 2332102"/>
                <a:gd name="connsiteY24" fmla="*/ 886044 h 886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32102" h="886076">
                  <a:moveTo>
                    <a:pt x="1712457" y="886044"/>
                  </a:moveTo>
                  <a:lnTo>
                    <a:pt x="2152586" y="872320"/>
                  </a:lnTo>
                  <a:cubicBezTo>
                    <a:pt x="2195884" y="870953"/>
                    <a:pt x="2228092" y="831833"/>
                    <a:pt x="2221154" y="789096"/>
                  </a:cubicBezTo>
                  <a:lnTo>
                    <a:pt x="2168943" y="456940"/>
                  </a:lnTo>
                  <a:lnTo>
                    <a:pt x="2139469" y="269450"/>
                  </a:lnTo>
                  <a:cubicBezTo>
                    <a:pt x="2134304" y="237455"/>
                    <a:pt x="2151168" y="205956"/>
                    <a:pt x="2180692" y="192622"/>
                  </a:cubicBezTo>
                  <a:lnTo>
                    <a:pt x="2289976" y="143100"/>
                  </a:lnTo>
                  <a:cubicBezTo>
                    <a:pt x="2318183" y="130354"/>
                    <a:pt x="2334945" y="100951"/>
                    <a:pt x="2331704" y="70182"/>
                  </a:cubicBezTo>
                  <a:lnTo>
                    <a:pt x="2324248" y="0"/>
                  </a:lnTo>
                  <a:lnTo>
                    <a:pt x="0" y="0"/>
                  </a:lnTo>
                  <a:lnTo>
                    <a:pt x="73708" y="102957"/>
                  </a:lnTo>
                  <a:cubicBezTo>
                    <a:pt x="94603" y="102957"/>
                    <a:pt x="114439" y="112087"/>
                    <a:pt x="128062" y="127913"/>
                  </a:cubicBezTo>
                  <a:lnTo>
                    <a:pt x="182815" y="191498"/>
                  </a:lnTo>
                  <a:cubicBezTo>
                    <a:pt x="196438" y="207324"/>
                    <a:pt x="216314" y="216454"/>
                    <a:pt x="237169" y="216454"/>
                  </a:cubicBezTo>
                  <a:lnTo>
                    <a:pt x="523722" y="226284"/>
                  </a:lnTo>
                  <a:cubicBezTo>
                    <a:pt x="549995" y="226284"/>
                    <a:pt x="574126" y="240646"/>
                    <a:pt x="586725" y="263698"/>
                  </a:cubicBezTo>
                  <a:lnTo>
                    <a:pt x="658272" y="399715"/>
                  </a:lnTo>
                  <a:cubicBezTo>
                    <a:pt x="670830" y="422818"/>
                    <a:pt x="695002" y="437174"/>
                    <a:pt x="721279" y="437174"/>
                  </a:cubicBezTo>
                  <a:lnTo>
                    <a:pt x="914729" y="437174"/>
                  </a:lnTo>
                  <a:cubicBezTo>
                    <a:pt x="943007" y="437174"/>
                    <a:pt x="968698" y="453830"/>
                    <a:pt x="980219" y="479668"/>
                  </a:cubicBezTo>
                  <a:lnTo>
                    <a:pt x="1333903" y="795588"/>
                  </a:lnTo>
                  <a:cubicBezTo>
                    <a:pt x="1344796" y="820063"/>
                    <a:pt x="1368435" y="836421"/>
                    <a:pt x="1395199" y="837985"/>
                  </a:cubicBezTo>
                  <a:lnTo>
                    <a:pt x="1620492" y="851173"/>
                  </a:lnTo>
                  <a:cubicBezTo>
                    <a:pt x="1636267" y="852099"/>
                    <a:pt x="1651313" y="858206"/>
                    <a:pt x="1663274" y="868558"/>
                  </a:cubicBezTo>
                  <a:cubicBezTo>
                    <a:pt x="1676901" y="880377"/>
                    <a:pt x="1694438" y="886581"/>
                    <a:pt x="1712457" y="886044"/>
                  </a:cubicBezTo>
                  <a:close/>
                </a:path>
              </a:pathLst>
            </a:custGeom>
            <a:solidFill>
              <a:srgbClr val="FFFFFF">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4" name="Freeform: Shape 403">
              <a:extLst>
                <a:ext uri="{FF2B5EF4-FFF2-40B4-BE49-F238E27FC236}">
                  <a16:creationId xmlns:a16="http://schemas.microsoft.com/office/drawing/2014/main" id="{5C64E0CF-98FD-02A4-D9F3-C36D90BCB663}"/>
                </a:ext>
              </a:extLst>
            </p:cNvPr>
            <p:cNvSpPr/>
            <p:nvPr/>
          </p:nvSpPr>
          <p:spPr>
            <a:xfrm flipV="1">
              <a:off x="5031388" y="4140655"/>
              <a:ext cx="2264931" cy="921860"/>
            </a:xfrm>
            <a:custGeom>
              <a:avLst/>
              <a:gdLst>
                <a:gd name="connsiteX0" fmla="*/ 1738049 w 2264931"/>
                <a:gd name="connsiteY0" fmla="*/ 921811 h 921860"/>
                <a:gd name="connsiteX1" fmla="*/ 2226935 w 2264931"/>
                <a:gd name="connsiteY1" fmla="*/ 908087 h 921860"/>
                <a:gd name="connsiteX2" fmla="*/ 2264916 w 2264931"/>
                <a:gd name="connsiteY2" fmla="*/ 867944 h 921860"/>
                <a:gd name="connsiteX3" fmla="*/ 2224758 w 2264931"/>
                <a:gd name="connsiteY3" fmla="*/ 829948 h 921860"/>
                <a:gd name="connsiteX4" fmla="*/ 1735800 w 2264931"/>
                <a:gd name="connsiteY4" fmla="*/ 843671 h 921860"/>
                <a:gd name="connsiteX5" fmla="*/ 1713285 w 2264931"/>
                <a:gd name="connsiteY5" fmla="*/ 835756 h 921860"/>
                <a:gd name="connsiteX6" fmla="*/ 1647204 w 2264931"/>
                <a:gd name="connsiteY6" fmla="*/ 808896 h 921860"/>
                <a:gd name="connsiteX7" fmla="*/ 1421911 w 2264931"/>
                <a:gd name="connsiteY7" fmla="*/ 795709 h 921860"/>
                <a:gd name="connsiteX8" fmla="*/ 1394124 w 2264931"/>
                <a:gd name="connsiteY8" fmla="*/ 776663 h 921860"/>
                <a:gd name="connsiteX9" fmla="*/ 1040328 w 2264931"/>
                <a:gd name="connsiteY9" fmla="*/ 460428 h 921860"/>
                <a:gd name="connsiteX10" fmla="*/ 939136 w 2264931"/>
                <a:gd name="connsiteY10" fmla="*/ 394837 h 921860"/>
                <a:gd name="connsiteX11" fmla="*/ 745681 w 2264931"/>
                <a:gd name="connsiteY11" fmla="*/ 394837 h 921860"/>
                <a:gd name="connsiteX12" fmla="*/ 717110 w 2264931"/>
                <a:gd name="connsiteY12" fmla="*/ 377938 h 921860"/>
                <a:gd name="connsiteX13" fmla="*/ 645417 w 2264931"/>
                <a:gd name="connsiteY13" fmla="*/ 241678 h 921860"/>
                <a:gd name="connsiteX14" fmla="*/ 548125 w 2264931"/>
                <a:gd name="connsiteY14" fmla="*/ 183896 h 921860"/>
                <a:gd name="connsiteX15" fmla="*/ 261586 w 2264931"/>
                <a:gd name="connsiteY15" fmla="*/ 174082 h 921860"/>
                <a:gd name="connsiteX16" fmla="*/ 248009 w 2264931"/>
                <a:gd name="connsiteY16" fmla="*/ 171104 h 921860"/>
                <a:gd name="connsiteX17" fmla="*/ 178821 w 2264931"/>
                <a:gd name="connsiteY17" fmla="*/ 77495 h 921860"/>
                <a:gd name="connsiteX18" fmla="*/ 118999 w 2264931"/>
                <a:gd name="connsiteY18" fmla="*/ 0 h 921860"/>
                <a:gd name="connsiteX19" fmla="*/ 0 w 2264931"/>
                <a:gd name="connsiteY19" fmla="*/ 0 h 921860"/>
                <a:gd name="connsiteX20" fmla="*/ 12032 w 2264931"/>
                <a:gd name="connsiteY20" fmla="*/ 15450 h 921860"/>
                <a:gd name="connsiteX21" fmla="*/ 157123 w 2264931"/>
                <a:gd name="connsiteY21" fmla="*/ 196794 h 921860"/>
                <a:gd name="connsiteX22" fmla="*/ 172847 w 2264931"/>
                <a:gd name="connsiteY22" fmla="*/ 208128 h 921860"/>
                <a:gd name="connsiteX23" fmla="*/ 177632 w 2264931"/>
                <a:gd name="connsiteY23" fmla="*/ 213693 h 921860"/>
                <a:gd name="connsiteX24" fmla="*/ 261586 w 2264931"/>
                <a:gd name="connsiteY24" fmla="*/ 252226 h 921860"/>
                <a:gd name="connsiteX25" fmla="*/ 548125 w 2264931"/>
                <a:gd name="connsiteY25" fmla="*/ 262041 h 921860"/>
                <a:gd name="connsiteX26" fmla="*/ 576747 w 2264931"/>
                <a:gd name="connsiteY26" fmla="*/ 278940 h 921860"/>
                <a:gd name="connsiteX27" fmla="*/ 648344 w 2264931"/>
                <a:gd name="connsiteY27" fmla="*/ 415104 h 921860"/>
                <a:gd name="connsiteX28" fmla="*/ 745681 w 2264931"/>
                <a:gd name="connsiteY28" fmla="*/ 472977 h 921860"/>
                <a:gd name="connsiteX29" fmla="*/ 939136 w 2264931"/>
                <a:gd name="connsiteY29" fmla="*/ 472977 h 921860"/>
                <a:gd name="connsiteX30" fmla="*/ 968827 w 2264931"/>
                <a:gd name="connsiteY30" fmla="*/ 492028 h 921860"/>
                <a:gd name="connsiteX31" fmla="*/ 1322623 w 2264931"/>
                <a:gd name="connsiteY31" fmla="*/ 808162 h 921860"/>
                <a:gd name="connsiteX32" fmla="*/ 1417368 w 2264931"/>
                <a:gd name="connsiteY32" fmla="*/ 873707 h 921860"/>
                <a:gd name="connsiteX33" fmla="*/ 1642615 w 2264931"/>
                <a:gd name="connsiteY33" fmla="*/ 886894 h 921860"/>
                <a:gd name="connsiteX34" fmla="*/ 1662148 w 2264931"/>
                <a:gd name="connsiteY34" fmla="*/ 894804 h 921860"/>
                <a:gd name="connsiteX35" fmla="*/ 1738049 w 2264931"/>
                <a:gd name="connsiteY35" fmla="*/ 921811 h 921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64931" h="921860">
                  <a:moveTo>
                    <a:pt x="1738049" y="921811"/>
                  </a:moveTo>
                  <a:lnTo>
                    <a:pt x="2226935" y="908087"/>
                  </a:lnTo>
                  <a:cubicBezTo>
                    <a:pt x="2248509" y="907454"/>
                    <a:pt x="2265524" y="889482"/>
                    <a:pt x="2264916" y="867944"/>
                  </a:cubicBezTo>
                  <a:cubicBezTo>
                    <a:pt x="2264309" y="846355"/>
                    <a:pt x="2246432" y="829309"/>
                    <a:pt x="2224758" y="829948"/>
                  </a:cubicBezTo>
                  <a:lnTo>
                    <a:pt x="1735800" y="843671"/>
                  </a:lnTo>
                  <a:cubicBezTo>
                    <a:pt x="1727500" y="843960"/>
                    <a:pt x="1719489" y="841129"/>
                    <a:pt x="1713285" y="835756"/>
                  </a:cubicBezTo>
                  <a:cubicBezTo>
                    <a:pt x="1694872" y="819840"/>
                    <a:pt x="1671425" y="810314"/>
                    <a:pt x="1647204" y="808896"/>
                  </a:cubicBezTo>
                  <a:lnTo>
                    <a:pt x="1421911" y="795709"/>
                  </a:lnTo>
                  <a:cubicBezTo>
                    <a:pt x="1409751" y="794975"/>
                    <a:pt x="1399152" y="787698"/>
                    <a:pt x="1394124" y="776663"/>
                  </a:cubicBezTo>
                  <a:lnTo>
                    <a:pt x="1040328" y="460428"/>
                  </a:lnTo>
                  <a:cubicBezTo>
                    <a:pt x="1022502" y="420578"/>
                    <a:pt x="982794" y="394837"/>
                    <a:pt x="939136" y="394837"/>
                  </a:cubicBezTo>
                  <a:lnTo>
                    <a:pt x="745681" y="394837"/>
                  </a:lnTo>
                  <a:cubicBezTo>
                    <a:pt x="733766" y="394837"/>
                    <a:pt x="722873" y="388345"/>
                    <a:pt x="717110" y="377938"/>
                  </a:cubicBezTo>
                  <a:lnTo>
                    <a:pt x="645417" y="241678"/>
                  </a:lnTo>
                  <a:cubicBezTo>
                    <a:pt x="625975" y="206026"/>
                    <a:pt x="588663" y="183896"/>
                    <a:pt x="548125" y="183896"/>
                  </a:cubicBezTo>
                  <a:lnTo>
                    <a:pt x="261586" y="174082"/>
                  </a:lnTo>
                  <a:cubicBezTo>
                    <a:pt x="256846" y="174082"/>
                    <a:pt x="252207" y="173059"/>
                    <a:pt x="248009" y="171104"/>
                  </a:cubicBezTo>
                  <a:cubicBezTo>
                    <a:pt x="246421" y="166769"/>
                    <a:pt x="219239" y="130274"/>
                    <a:pt x="178821" y="77495"/>
                  </a:cubicBezTo>
                  <a:lnTo>
                    <a:pt x="118999" y="0"/>
                  </a:lnTo>
                  <a:lnTo>
                    <a:pt x="0" y="0"/>
                  </a:lnTo>
                  <a:lnTo>
                    <a:pt x="12032" y="15450"/>
                  </a:lnTo>
                  <a:cubicBezTo>
                    <a:pt x="87829" y="112485"/>
                    <a:pt x="150528" y="191703"/>
                    <a:pt x="157123" y="196794"/>
                  </a:cubicBezTo>
                  <a:cubicBezTo>
                    <a:pt x="162005" y="200557"/>
                    <a:pt x="167281" y="204512"/>
                    <a:pt x="172847" y="208128"/>
                  </a:cubicBezTo>
                  <a:lnTo>
                    <a:pt x="177632" y="213693"/>
                  </a:lnTo>
                  <a:cubicBezTo>
                    <a:pt x="198730" y="238209"/>
                    <a:pt x="229307" y="252226"/>
                    <a:pt x="261586" y="252226"/>
                  </a:cubicBezTo>
                  <a:lnTo>
                    <a:pt x="548125" y="262041"/>
                  </a:lnTo>
                  <a:cubicBezTo>
                    <a:pt x="559995" y="262041"/>
                    <a:pt x="570933" y="268538"/>
                    <a:pt x="576747" y="278940"/>
                  </a:cubicBezTo>
                  <a:lnTo>
                    <a:pt x="648344" y="415104"/>
                  </a:lnTo>
                  <a:cubicBezTo>
                    <a:pt x="667785" y="450761"/>
                    <a:pt x="705047" y="472977"/>
                    <a:pt x="745681" y="472977"/>
                  </a:cubicBezTo>
                  <a:lnTo>
                    <a:pt x="939136" y="472977"/>
                  </a:lnTo>
                  <a:cubicBezTo>
                    <a:pt x="951928" y="472977"/>
                    <a:pt x="963551" y="480452"/>
                    <a:pt x="968827" y="492028"/>
                  </a:cubicBezTo>
                  <a:lnTo>
                    <a:pt x="1322623" y="808162"/>
                  </a:lnTo>
                  <a:cubicBezTo>
                    <a:pt x="1339517" y="846158"/>
                    <a:pt x="1375801" y="871261"/>
                    <a:pt x="1417368" y="873707"/>
                  </a:cubicBezTo>
                  <a:lnTo>
                    <a:pt x="1642615" y="886894"/>
                  </a:lnTo>
                  <a:cubicBezTo>
                    <a:pt x="1649796" y="887284"/>
                    <a:pt x="1656729" y="890115"/>
                    <a:pt x="1662148" y="894804"/>
                  </a:cubicBezTo>
                  <a:cubicBezTo>
                    <a:pt x="1683154" y="913020"/>
                    <a:pt x="1710110" y="922642"/>
                    <a:pt x="1738049" y="921811"/>
                  </a:cubicBezTo>
                  <a:close/>
                </a:path>
              </a:pathLst>
            </a:custGeom>
            <a:solidFill>
              <a:srgbClr val="FFFFFF">
                <a:lumMod val="6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5" name="Freeform: Shape 404">
              <a:extLst>
                <a:ext uri="{FF2B5EF4-FFF2-40B4-BE49-F238E27FC236}">
                  <a16:creationId xmlns:a16="http://schemas.microsoft.com/office/drawing/2014/main" id="{AF685C71-18D8-FE22-7A3A-148470757868}"/>
                </a:ext>
              </a:extLst>
            </p:cNvPr>
            <p:cNvSpPr/>
            <p:nvPr/>
          </p:nvSpPr>
          <p:spPr>
            <a:xfrm flipV="1">
              <a:off x="6043587" y="4605097"/>
              <a:ext cx="1343972" cy="457418"/>
            </a:xfrm>
            <a:custGeom>
              <a:avLst/>
              <a:gdLst>
                <a:gd name="connsiteX0" fmla="*/ 1180805 w 1343972"/>
                <a:gd name="connsiteY0" fmla="*/ 457418 h 457418"/>
                <a:gd name="connsiteX1" fmla="*/ 1151332 w 1343972"/>
                <a:gd name="connsiteY1" fmla="*/ 269928 h 457418"/>
                <a:gd name="connsiteX2" fmla="*/ 1150370 w 1343972"/>
                <a:gd name="connsiteY2" fmla="*/ 258357 h 457418"/>
                <a:gd name="connsiteX3" fmla="*/ 1192554 w 1343972"/>
                <a:gd name="connsiteY3" fmla="*/ 193100 h 457418"/>
                <a:gd name="connsiteX4" fmla="*/ 1301838 w 1343972"/>
                <a:gd name="connsiteY4" fmla="*/ 143578 h 457418"/>
                <a:gd name="connsiteX5" fmla="*/ 1343972 w 1343972"/>
                <a:gd name="connsiteY5" fmla="*/ 78200 h 457418"/>
                <a:gd name="connsiteX6" fmla="*/ 1343567 w 1343972"/>
                <a:gd name="connsiteY6" fmla="*/ 70660 h 457418"/>
                <a:gd name="connsiteX7" fmla="*/ 1336046 w 1343972"/>
                <a:gd name="connsiteY7" fmla="*/ 0 h 457418"/>
                <a:gd name="connsiteX8" fmla="*/ 0 w 1343972"/>
                <a:gd name="connsiteY8" fmla="*/ 0 h 457418"/>
                <a:gd name="connsiteX9" fmla="*/ 17226 w 1343972"/>
                <a:gd name="connsiteY9" fmla="*/ 12174 h 457418"/>
                <a:gd name="connsiteX10" fmla="*/ 1180805 w 1343972"/>
                <a:gd name="connsiteY10" fmla="*/ 457418 h 45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3972" h="457418">
                  <a:moveTo>
                    <a:pt x="1180805" y="457418"/>
                  </a:moveTo>
                  <a:lnTo>
                    <a:pt x="1151332" y="269928"/>
                  </a:lnTo>
                  <a:cubicBezTo>
                    <a:pt x="1150674" y="266054"/>
                    <a:pt x="1150370" y="262185"/>
                    <a:pt x="1150370" y="258357"/>
                  </a:cubicBezTo>
                  <a:cubicBezTo>
                    <a:pt x="1150421" y="230575"/>
                    <a:pt x="1166626" y="204819"/>
                    <a:pt x="1192554" y="193100"/>
                  </a:cubicBezTo>
                  <a:lnTo>
                    <a:pt x="1301838" y="143578"/>
                  </a:lnTo>
                  <a:cubicBezTo>
                    <a:pt x="1327716" y="131880"/>
                    <a:pt x="1343972" y="106144"/>
                    <a:pt x="1343972" y="78200"/>
                  </a:cubicBezTo>
                  <a:cubicBezTo>
                    <a:pt x="1343972" y="75699"/>
                    <a:pt x="1343820" y="73187"/>
                    <a:pt x="1343567" y="70660"/>
                  </a:cubicBezTo>
                  <a:lnTo>
                    <a:pt x="1336046" y="0"/>
                  </a:lnTo>
                  <a:lnTo>
                    <a:pt x="0" y="0"/>
                  </a:lnTo>
                  <a:lnTo>
                    <a:pt x="17226" y="12174"/>
                  </a:lnTo>
                  <a:cubicBezTo>
                    <a:pt x="366552" y="242481"/>
                    <a:pt x="767068" y="393832"/>
                    <a:pt x="1180805" y="457418"/>
                  </a:cubicBezTo>
                  <a:close/>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6" name="Freeform: Shape 405">
              <a:extLst>
                <a:ext uri="{FF2B5EF4-FFF2-40B4-BE49-F238E27FC236}">
                  <a16:creationId xmlns:a16="http://schemas.microsoft.com/office/drawing/2014/main" id="{59E0D9F7-34E4-76C4-A8B2-55FECA6CF2D2}"/>
                </a:ext>
              </a:extLst>
            </p:cNvPr>
            <p:cNvSpPr/>
            <p:nvPr/>
          </p:nvSpPr>
          <p:spPr>
            <a:xfrm flipV="1">
              <a:off x="6032041" y="3282869"/>
              <a:ext cx="116207" cy="90242"/>
            </a:xfrm>
            <a:custGeom>
              <a:avLst/>
              <a:gdLst>
                <a:gd name="connsiteX0" fmla="*/ 108333 w 116207"/>
                <a:gd name="connsiteY0" fmla="*/ 78109 h 90242"/>
                <a:gd name="connsiteX1" fmla="*/ 103891 w 116207"/>
                <a:gd name="connsiteY1" fmla="*/ 61493 h 90242"/>
                <a:gd name="connsiteX2" fmla="*/ 99299 w 116207"/>
                <a:gd name="connsiteY2" fmla="*/ 28759 h 90242"/>
                <a:gd name="connsiteX3" fmla="*/ 97217 w 116207"/>
                <a:gd name="connsiteY3" fmla="*/ 23148 h 90242"/>
                <a:gd name="connsiteX4" fmla="*/ 83230 w 116207"/>
                <a:gd name="connsiteY4" fmla="*/ 10670 h 90242"/>
                <a:gd name="connsiteX5" fmla="*/ 74216 w 116207"/>
                <a:gd name="connsiteY5" fmla="*/ 7611 h 90242"/>
                <a:gd name="connsiteX6" fmla="*/ 45771 w 116207"/>
                <a:gd name="connsiteY6" fmla="*/ 4375 h 90242"/>
                <a:gd name="connsiteX7" fmla="*/ 19872 w 116207"/>
                <a:gd name="connsiteY7" fmla="*/ -6518 h 90242"/>
                <a:gd name="connsiteX8" fmla="*/ -7135 w 116207"/>
                <a:gd name="connsiteY8" fmla="*/ 31048 h 90242"/>
                <a:gd name="connsiteX9" fmla="*/ 27438 w 116207"/>
                <a:gd name="connsiteY9" fmla="*/ 59305 h 90242"/>
                <a:gd name="connsiteX10" fmla="*/ 36888 w 116207"/>
                <a:gd name="connsiteY10" fmla="*/ 68857 h 90242"/>
                <a:gd name="connsiteX11" fmla="*/ 46986 w 116207"/>
                <a:gd name="connsiteY11" fmla="*/ 74088 h 90242"/>
                <a:gd name="connsiteX12" fmla="*/ 59211 w 116207"/>
                <a:gd name="connsiteY12" fmla="*/ 79375 h 90242"/>
                <a:gd name="connsiteX13" fmla="*/ 90720 w 116207"/>
                <a:gd name="connsiteY13" fmla="*/ 82910 h 90242"/>
                <a:gd name="connsiteX14" fmla="*/ 103076 w 116207"/>
                <a:gd name="connsiteY14" fmla="*/ 82783 h 90242"/>
                <a:gd name="connsiteX15" fmla="*/ 108333 w 116207"/>
                <a:gd name="connsiteY15" fmla="*/ 78109 h 9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6207" h="90242">
                  <a:moveTo>
                    <a:pt x="108333" y="78109"/>
                  </a:moveTo>
                  <a:cubicBezTo>
                    <a:pt x="110855" y="72584"/>
                    <a:pt x="106322" y="66922"/>
                    <a:pt x="103891" y="61493"/>
                  </a:cubicBezTo>
                  <a:cubicBezTo>
                    <a:pt x="99405" y="51411"/>
                    <a:pt x="102013" y="39262"/>
                    <a:pt x="99299" y="28759"/>
                  </a:cubicBezTo>
                  <a:cubicBezTo>
                    <a:pt x="98822" y="26819"/>
                    <a:pt x="98133" y="24946"/>
                    <a:pt x="97217" y="23148"/>
                  </a:cubicBezTo>
                  <a:cubicBezTo>
                    <a:pt x="94265" y="17481"/>
                    <a:pt x="89119" y="13389"/>
                    <a:pt x="83230" y="10670"/>
                  </a:cubicBezTo>
                  <a:cubicBezTo>
                    <a:pt x="80349" y="9333"/>
                    <a:pt x="77279" y="8310"/>
                    <a:pt x="74216" y="7611"/>
                  </a:cubicBezTo>
                  <a:cubicBezTo>
                    <a:pt x="64898" y="5464"/>
                    <a:pt x="55235" y="5595"/>
                    <a:pt x="45771" y="4375"/>
                  </a:cubicBezTo>
                  <a:cubicBezTo>
                    <a:pt x="36291" y="3170"/>
                    <a:pt x="26532" y="318"/>
                    <a:pt x="19872" y="-6518"/>
                  </a:cubicBezTo>
                  <a:cubicBezTo>
                    <a:pt x="17791" y="5069"/>
                    <a:pt x="1991" y="23603"/>
                    <a:pt x="-7135" y="31048"/>
                  </a:cubicBezTo>
                  <a:cubicBezTo>
                    <a:pt x="4558" y="39540"/>
                    <a:pt x="20612" y="46559"/>
                    <a:pt x="27438" y="59305"/>
                  </a:cubicBezTo>
                  <a:cubicBezTo>
                    <a:pt x="29591" y="63321"/>
                    <a:pt x="32902" y="66648"/>
                    <a:pt x="36888" y="68857"/>
                  </a:cubicBezTo>
                  <a:cubicBezTo>
                    <a:pt x="40220" y="70705"/>
                    <a:pt x="43588" y="72462"/>
                    <a:pt x="46986" y="74088"/>
                  </a:cubicBezTo>
                  <a:cubicBezTo>
                    <a:pt x="50991" y="75992"/>
                    <a:pt x="55048" y="77785"/>
                    <a:pt x="59211" y="79375"/>
                  </a:cubicBezTo>
                  <a:cubicBezTo>
                    <a:pt x="69040" y="83218"/>
                    <a:pt x="80318" y="80955"/>
                    <a:pt x="90720" y="82910"/>
                  </a:cubicBezTo>
                  <a:cubicBezTo>
                    <a:pt x="94816" y="83679"/>
                    <a:pt x="99050" y="84327"/>
                    <a:pt x="103076" y="82783"/>
                  </a:cubicBezTo>
                  <a:cubicBezTo>
                    <a:pt x="105350" y="81917"/>
                    <a:pt x="107310" y="80337"/>
                    <a:pt x="108333" y="78109"/>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7" name="Freeform: Shape 406">
              <a:extLst>
                <a:ext uri="{FF2B5EF4-FFF2-40B4-BE49-F238E27FC236}">
                  <a16:creationId xmlns:a16="http://schemas.microsoft.com/office/drawing/2014/main" id="{CAC34D72-24DB-E917-02AA-34F264839047}"/>
                </a:ext>
              </a:extLst>
            </p:cNvPr>
            <p:cNvSpPr/>
            <p:nvPr/>
          </p:nvSpPr>
          <p:spPr>
            <a:xfrm flipV="1">
              <a:off x="6079523" y="3292450"/>
              <a:ext cx="22221" cy="33139"/>
            </a:xfrm>
            <a:custGeom>
              <a:avLst/>
              <a:gdLst>
                <a:gd name="connsiteX0" fmla="*/ 15086 w 22221"/>
                <a:gd name="connsiteY0" fmla="*/ 26143 h 33139"/>
                <a:gd name="connsiteX1" fmla="*/ -7135 w 22221"/>
                <a:gd name="connsiteY1" fmla="*/ -6561 h 33139"/>
                <a:gd name="connsiteX2" fmla="*/ 592 w 22221"/>
                <a:gd name="connsiteY2" fmla="*/ 21292 h 33139"/>
                <a:gd name="connsiteX3" fmla="*/ 12817 w 22221"/>
                <a:gd name="connsiteY3" fmla="*/ 26579 h 33139"/>
                <a:gd name="connsiteX4" fmla="*/ 15086 w 22221"/>
                <a:gd name="connsiteY4" fmla="*/ 26143 h 331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21" h="33139">
                  <a:moveTo>
                    <a:pt x="15086" y="26143"/>
                  </a:moveTo>
                  <a:cubicBezTo>
                    <a:pt x="10078" y="1071"/>
                    <a:pt x="-7135" y="-6561"/>
                    <a:pt x="-7135" y="-6561"/>
                  </a:cubicBezTo>
                  <a:lnTo>
                    <a:pt x="592" y="21292"/>
                  </a:lnTo>
                  <a:cubicBezTo>
                    <a:pt x="4598" y="23196"/>
                    <a:pt x="8665" y="24989"/>
                    <a:pt x="12817" y="26579"/>
                  </a:cubicBezTo>
                  <a:lnTo>
                    <a:pt x="15086" y="26143"/>
                  </a:lnTo>
                </a:path>
              </a:pathLst>
            </a:custGeom>
            <a:solidFill>
              <a:srgbClr val="FFFFFF">
                <a:lumMod val="6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8" name="Freeform: Shape 407">
              <a:extLst>
                <a:ext uri="{FF2B5EF4-FFF2-40B4-BE49-F238E27FC236}">
                  <a16:creationId xmlns:a16="http://schemas.microsoft.com/office/drawing/2014/main" id="{38F7967B-6513-BBF1-7D38-B706B9366D62}"/>
                </a:ext>
              </a:extLst>
            </p:cNvPr>
            <p:cNvSpPr/>
            <p:nvPr/>
          </p:nvSpPr>
          <p:spPr>
            <a:xfrm flipV="1">
              <a:off x="6091783" y="3334900"/>
              <a:ext cx="46691" cy="21023"/>
            </a:xfrm>
            <a:custGeom>
              <a:avLst/>
              <a:gdLst>
                <a:gd name="connsiteX0" fmla="*/ 39514 w 46691"/>
                <a:gd name="connsiteY0" fmla="*/ 11610 h 21023"/>
                <a:gd name="connsiteX1" fmla="*/ 37433 w 46691"/>
                <a:gd name="connsiteY1" fmla="*/ 5999 h 21023"/>
                <a:gd name="connsiteX2" fmla="*/ 23445 w 46691"/>
                <a:gd name="connsiteY2" fmla="*/ -6479 h 21023"/>
                <a:gd name="connsiteX3" fmla="*/ -7177 w 46691"/>
                <a:gd name="connsiteY3" fmla="*/ 1659 h 21023"/>
                <a:gd name="connsiteX4" fmla="*/ 39514 w 46691"/>
                <a:gd name="connsiteY4" fmla="*/ 11610 h 21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91" h="21023">
                  <a:moveTo>
                    <a:pt x="39514" y="11610"/>
                  </a:moveTo>
                  <a:cubicBezTo>
                    <a:pt x="39038" y="9670"/>
                    <a:pt x="38349" y="7797"/>
                    <a:pt x="37433" y="5999"/>
                  </a:cubicBezTo>
                  <a:cubicBezTo>
                    <a:pt x="34480" y="332"/>
                    <a:pt x="29335" y="-3760"/>
                    <a:pt x="23445" y="-6479"/>
                  </a:cubicBezTo>
                  <a:lnTo>
                    <a:pt x="-7177" y="1659"/>
                  </a:lnTo>
                  <a:cubicBezTo>
                    <a:pt x="-7177" y="1659"/>
                    <a:pt x="7651" y="21946"/>
                    <a:pt x="39514" y="11610"/>
                  </a:cubicBezTo>
                </a:path>
              </a:pathLst>
            </a:custGeom>
            <a:solidFill>
              <a:srgbClr val="FFFFFF">
                <a:lumMod val="6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9" name="Freeform: Shape 408">
              <a:extLst>
                <a:ext uri="{FF2B5EF4-FFF2-40B4-BE49-F238E27FC236}">
                  <a16:creationId xmlns:a16="http://schemas.microsoft.com/office/drawing/2014/main" id="{D282E240-A30E-AACF-A842-CB429B389830}"/>
                </a:ext>
              </a:extLst>
            </p:cNvPr>
            <p:cNvSpPr/>
            <p:nvPr/>
          </p:nvSpPr>
          <p:spPr>
            <a:xfrm flipV="1">
              <a:off x="5443751" y="3300284"/>
              <a:ext cx="101201" cy="47007"/>
            </a:xfrm>
            <a:custGeom>
              <a:avLst/>
              <a:gdLst>
                <a:gd name="connsiteX0" fmla="*/ -6115 w 101201"/>
                <a:gd name="connsiteY0" fmla="*/ 39720 h 47007"/>
                <a:gd name="connsiteX1" fmla="*/ 95087 w 101201"/>
                <a:gd name="connsiteY1" fmla="*/ 40480 h 47007"/>
                <a:gd name="connsiteX2" fmla="*/ 90048 w 101201"/>
                <a:gd name="connsiteY2" fmla="*/ -6505 h 47007"/>
                <a:gd name="connsiteX3" fmla="*/ -5269 w 101201"/>
                <a:gd name="connsiteY3" fmla="*/ 17565 h 47007"/>
                <a:gd name="connsiteX4" fmla="*/ -6115 w 101201"/>
                <a:gd name="connsiteY4" fmla="*/ 39720 h 47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01" h="47007">
                  <a:moveTo>
                    <a:pt x="-6115" y="39720"/>
                  </a:moveTo>
                  <a:lnTo>
                    <a:pt x="95087" y="40480"/>
                  </a:lnTo>
                  <a:cubicBezTo>
                    <a:pt x="95087" y="40480"/>
                    <a:pt x="90068" y="-7720"/>
                    <a:pt x="90048" y="-6505"/>
                  </a:cubicBezTo>
                  <a:cubicBezTo>
                    <a:pt x="90033" y="-5290"/>
                    <a:pt x="-5269" y="17565"/>
                    <a:pt x="-5269" y="17565"/>
                  </a:cubicBezTo>
                  <a:lnTo>
                    <a:pt x="-6115" y="39720"/>
                  </a:ln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0" name="Freeform: Shape 409">
              <a:extLst>
                <a:ext uri="{FF2B5EF4-FFF2-40B4-BE49-F238E27FC236}">
                  <a16:creationId xmlns:a16="http://schemas.microsoft.com/office/drawing/2014/main" id="{21EF6459-132E-B5F2-8E45-3B0DC28CF8E5}"/>
                </a:ext>
              </a:extLst>
            </p:cNvPr>
            <p:cNvSpPr/>
            <p:nvPr/>
          </p:nvSpPr>
          <p:spPr>
            <a:xfrm flipV="1">
              <a:off x="5098757" y="3780134"/>
              <a:ext cx="121687" cy="76054"/>
            </a:xfrm>
            <a:custGeom>
              <a:avLst/>
              <a:gdLst>
                <a:gd name="connsiteX0" fmla="*/ 940 w 121687"/>
                <a:gd name="connsiteY0" fmla="*/ 52599 h 76054"/>
                <a:gd name="connsiteX1" fmla="*/ -5542 w 121687"/>
                <a:gd name="connsiteY1" fmla="*/ 14263 h 76054"/>
                <a:gd name="connsiteX2" fmla="*/ 11463 w 121687"/>
                <a:gd name="connsiteY2" fmla="*/ 11387 h 76054"/>
                <a:gd name="connsiteX3" fmla="*/ 17946 w 121687"/>
                <a:gd name="connsiteY3" fmla="*/ 49722 h 76054"/>
                <a:gd name="connsiteX4" fmla="*/ 23015 w 121687"/>
                <a:gd name="connsiteY4" fmla="*/ 53328 h 76054"/>
                <a:gd name="connsiteX5" fmla="*/ 95234 w 121687"/>
                <a:gd name="connsiteY5" fmla="*/ 40855 h 76054"/>
                <a:gd name="connsiteX6" fmla="*/ 98835 w 121687"/>
                <a:gd name="connsiteY6" fmla="*/ 35791 h 76054"/>
                <a:gd name="connsiteX7" fmla="*/ 92353 w 121687"/>
                <a:gd name="connsiteY7" fmla="*/ -2550 h 76054"/>
                <a:gd name="connsiteX8" fmla="*/ 109358 w 121687"/>
                <a:gd name="connsiteY8" fmla="*/ -5421 h 76054"/>
                <a:gd name="connsiteX9" fmla="*/ 115840 w 121687"/>
                <a:gd name="connsiteY9" fmla="*/ 32914 h 76054"/>
                <a:gd name="connsiteX10" fmla="*/ 98111 w 121687"/>
                <a:gd name="connsiteY10" fmla="*/ 57860 h 76054"/>
                <a:gd name="connsiteX11" fmla="*/ 25886 w 121687"/>
                <a:gd name="connsiteY11" fmla="*/ 70328 h 76054"/>
                <a:gd name="connsiteX12" fmla="*/ 940 w 121687"/>
                <a:gd name="connsiteY12" fmla="*/ 52599 h 7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687" h="76054">
                  <a:moveTo>
                    <a:pt x="940" y="52599"/>
                  </a:moveTo>
                  <a:lnTo>
                    <a:pt x="-5542" y="14263"/>
                  </a:lnTo>
                  <a:lnTo>
                    <a:pt x="11463" y="11387"/>
                  </a:lnTo>
                  <a:lnTo>
                    <a:pt x="17946" y="49722"/>
                  </a:lnTo>
                  <a:cubicBezTo>
                    <a:pt x="18346" y="52107"/>
                    <a:pt x="20635" y="53728"/>
                    <a:pt x="23015" y="53328"/>
                  </a:cubicBezTo>
                  <a:lnTo>
                    <a:pt x="95234" y="40855"/>
                  </a:lnTo>
                  <a:cubicBezTo>
                    <a:pt x="97614" y="40455"/>
                    <a:pt x="99240" y="38171"/>
                    <a:pt x="98835" y="35791"/>
                  </a:cubicBezTo>
                  <a:lnTo>
                    <a:pt x="92353" y="-2550"/>
                  </a:lnTo>
                  <a:lnTo>
                    <a:pt x="109358" y="-5421"/>
                  </a:lnTo>
                  <a:lnTo>
                    <a:pt x="115840" y="32914"/>
                  </a:lnTo>
                  <a:cubicBezTo>
                    <a:pt x="117830" y="44689"/>
                    <a:pt x="109885" y="55870"/>
                    <a:pt x="98111" y="57860"/>
                  </a:cubicBezTo>
                  <a:lnTo>
                    <a:pt x="25886" y="70328"/>
                  </a:lnTo>
                  <a:cubicBezTo>
                    <a:pt x="14112" y="72318"/>
                    <a:pt x="2930" y="64373"/>
                    <a:pt x="940" y="52599"/>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1" name="Freeform: Shape 410">
              <a:extLst>
                <a:ext uri="{FF2B5EF4-FFF2-40B4-BE49-F238E27FC236}">
                  <a16:creationId xmlns:a16="http://schemas.microsoft.com/office/drawing/2014/main" id="{DD4B7F8C-6E22-2451-4C0F-C51446895EA1}"/>
                </a:ext>
              </a:extLst>
            </p:cNvPr>
            <p:cNvSpPr/>
            <p:nvPr/>
          </p:nvSpPr>
          <p:spPr>
            <a:xfrm flipV="1">
              <a:off x="5095364" y="3820953"/>
              <a:ext cx="25867" cy="13146"/>
            </a:xfrm>
            <a:custGeom>
              <a:avLst/>
              <a:gdLst>
                <a:gd name="connsiteX0" fmla="*/ 17420 w 25867"/>
                <a:gd name="connsiteY0" fmla="*/ 4348 h 13146"/>
                <a:gd name="connsiteX1" fmla="*/ -51 w 25867"/>
                <a:gd name="connsiteY1" fmla="*/ 7681 h 13146"/>
                <a:gd name="connsiteX2" fmla="*/ -4355 w 25867"/>
                <a:gd name="connsiteY2" fmla="*/ 4753 h 13146"/>
                <a:gd name="connsiteX3" fmla="*/ -5454 w 25867"/>
                <a:gd name="connsiteY3" fmla="*/ -1020 h 13146"/>
                <a:gd name="connsiteX4" fmla="*/ 19309 w 25867"/>
                <a:gd name="connsiteY4" fmla="*/ -5400 h 13146"/>
                <a:gd name="connsiteX5" fmla="*/ 20347 w 25867"/>
                <a:gd name="connsiteY5" fmla="*/ 44 h 13146"/>
                <a:gd name="connsiteX6" fmla="*/ 17420 w 25867"/>
                <a:gd name="connsiteY6" fmla="*/ 4348 h 1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67" h="13146">
                  <a:moveTo>
                    <a:pt x="17420" y="4348"/>
                  </a:moveTo>
                  <a:lnTo>
                    <a:pt x="-51" y="7681"/>
                  </a:lnTo>
                  <a:cubicBezTo>
                    <a:pt x="-2046" y="8060"/>
                    <a:pt x="-3971" y="6754"/>
                    <a:pt x="-4355" y="4753"/>
                  </a:cubicBezTo>
                  <a:lnTo>
                    <a:pt x="-5454" y="-1020"/>
                  </a:lnTo>
                  <a:lnTo>
                    <a:pt x="19309" y="-5400"/>
                  </a:lnTo>
                  <a:lnTo>
                    <a:pt x="20347" y="44"/>
                  </a:lnTo>
                  <a:cubicBezTo>
                    <a:pt x="20727" y="2039"/>
                    <a:pt x="19416" y="3968"/>
                    <a:pt x="17420" y="4348"/>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2" name="Freeform: Shape 411">
              <a:extLst>
                <a:ext uri="{FF2B5EF4-FFF2-40B4-BE49-F238E27FC236}">
                  <a16:creationId xmlns:a16="http://schemas.microsoft.com/office/drawing/2014/main" id="{B770F4D0-D976-E6AA-C73D-F9056FD077D7}"/>
                </a:ext>
              </a:extLst>
            </p:cNvPr>
            <p:cNvSpPr/>
            <p:nvPr/>
          </p:nvSpPr>
          <p:spPr>
            <a:xfrm flipV="1">
              <a:off x="5193760" y="3837675"/>
              <a:ext cx="25867" cy="13146"/>
            </a:xfrm>
            <a:custGeom>
              <a:avLst/>
              <a:gdLst>
                <a:gd name="connsiteX0" fmla="*/ 17252 w 25867"/>
                <a:gd name="connsiteY0" fmla="*/ 4386 h 13146"/>
                <a:gd name="connsiteX1" fmla="*/ -219 w 25867"/>
                <a:gd name="connsiteY1" fmla="*/ 7718 h 13146"/>
                <a:gd name="connsiteX2" fmla="*/ -4519 w 25867"/>
                <a:gd name="connsiteY2" fmla="*/ 4796 h 13146"/>
                <a:gd name="connsiteX3" fmla="*/ -5623 w 25867"/>
                <a:gd name="connsiteY3" fmla="*/ -977 h 13146"/>
                <a:gd name="connsiteX4" fmla="*/ 19136 w 25867"/>
                <a:gd name="connsiteY4" fmla="*/ -5363 h 13146"/>
                <a:gd name="connsiteX5" fmla="*/ 20179 w 25867"/>
                <a:gd name="connsiteY5" fmla="*/ 86 h 13146"/>
                <a:gd name="connsiteX6" fmla="*/ 17252 w 25867"/>
                <a:gd name="connsiteY6" fmla="*/ 4386 h 1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67" h="13146">
                  <a:moveTo>
                    <a:pt x="17252" y="4386"/>
                  </a:moveTo>
                  <a:lnTo>
                    <a:pt x="-219" y="7718"/>
                  </a:lnTo>
                  <a:cubicBezTo>
                    <a:pt x="-2215" y="8098"/>
                    <a:pt x="-4139" y="6791"/>
                    <a:pt x="-4519" y="4796"/>
                  </a:cubicBezTo>
                  <a:lnTo>
                    <a:pt x="-5623" y="-977"/>
                  </a:lnTo>
                  <a:lnTo>
                    <a:pt x="19136" y="-5363"/>
                  </a:lnTo>
                  <a:lnTo>
                    <a:pt x="20179" y="86"/>
                  </a:lnTo>
                  <a:cubicBezTo>
                    <a:pt x="20559" y="2082"/>
                    <a:pt x="19247" y="4001"/>
                    <a:pt x="17252" y="4386"/>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3" name="Freeform: Shape 412">
              <a:extLst>
                <a:ext uri="{FF2B5EF4-FFF2-40B4-BE49-F238E27FC236}">
                  <a16:creationId xmlns:a16="http://schemas.microsoft.com/office/drawing/2014/main" id="{FD910FB8-BD86-5971-F9C0-F1E1A6960112}"/>
                </a:ext>
              </a:extLst>
            </p:cNvPr>
            <p:cNvSpPr/>
            <p:nvPr/>
          </p:nvSpPr>
          <p:spPr>
            <a:xfrm flipV="1">
              <a:off x="4953134" y="3825465"/>
              <a:ext cx="352877" cy="281448"/>
            </a:xfrm>
            <a:custGeom>
              <a:avLst/>
              <a:gdLst>
                <a:gd name="connsiteX0" fmla="*/ 339132 w 352877"/>
                <a:gd name="connsiteY0" fmla="*/ 129302 h 281448"/>
                <a:gd name="connsiteX1" fmla="*/ 347387 w 352877"/>
                <a:gd name="connsiteY1" fmla="*/ 226011 h 281448"/>
                <a:gd name="connsiteX2" fmla="*/ 49682 w 352877"/>
                <a:gd name="connsiteY2" fmla="*/ 276359 h 281448"/>
                <a:gd name="connsiteX3" fmla="*/ 25678 w 352877"/>
                <a:gd name="connsiteY3" fmla="*/ 182313 h 281448"/>
                <a:gd name="connsiteX4" fmla="*/ -5148 w 352877"/>
                <a:gd name="connsiteY4" fmla="*/ 61392 h 281448"/>
                <a:gd name="connsiteX5" fmla="*/ 3674 w 352877"/>
                <a:gd name="connsiteY5" fmla="*/ 47830 h 281448"/>
                <a:gd name="connsiteX6" fmla="*/ 315691 w 352877"/>
                <a:gd name="connsiteY6" fmla="*/ -4933 h 281448"/>
                <a:gd name="connsiteX7" fmla="*/ 328478 w 352877"/>
                <a:gd name="connsiteY7" fmla="*/ 4967 h 281448"/>
                <a:gd name="connsiteX8" fmla="*/ 339132 w 352877"/>
                <a:gd name="connsiteY8" fmla="*/ 129302 h 281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877" h="281448">
                  <a:moveTo>
                    <a:pt x="339132" y="129302"/>
                  </a:moveTo>
                  <a:lnTo>
                    <a:pt x="347387" y="226011"/>
                  </a:lnTo>
                  <a:lnTo>
                    <a:pt x="49682" y="276359"/>
                  </a:lnTo>
                  <a:lnTo>
                    <a:pt x="25678" y="182313"/>
                  </a:lnTo>
                  <a:lnTo>
                    <a:pt x="-5148" y="61392"/>
                  </a:lnTo>
                  <a:cubicBezTo>
                    <a:pt x="-6733" y="55158"/>
                    <a:pt x="-2661" y="48904"/>
                    <a:pt x="3674" y="47830"/>
                  </a:cubicBezTo>
                  <a:lnTo>
                    <a:pt x="315691" y="-4933"/>
                  </a:lnTo>
                  <a:cubicBezTo>
                    <a:pt x="322026" y="-6007"/>
                    <a:pt x="327931" y="-1434"/>
                    <a:pt x="328478" y="4967"/>
                  </a:cubicBezTo>
                  <a:lnTo>
                    <a:pt x="339132" y="129302"/>
                  </a:lnTo>
                </a:path>
              </a:pathLst>
            </a:custGeom>
            <a:solidFill>
              <a:srgbClr val="4DA5C3">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4" name="Freeform: Shape 413">
              <a:extLst>
                <a:ext uri="{FF2B5EF4-FFF2-40B4-BE49-F238E27FC236}">
                  <a16:creationId xmlns:a16="http://schemas.microsoft.com/office/drawing/2014/main" id="{59B5CA09-8761-5AE0-ACB2-D0EC66F81E58}"/>
                </a:ext>
              </a:extLst>
            </p:cNvPr>
            <p:cNvSpPr/>
            <p:nvPr/>
          </p:nvSpPr>
          <p:spPr>
            <a:xfrm flipV="1">
              <a:off x="4976775" y="3813776"/>
              <a:ext cx="340513" cy="187232"/>
            </a:xfrm>
            <a:custGeom>
              <a:avLst/>
              <a:gdLst>
                <a:gd name="connsiteX0" fmla="*/ 327854 w 340513"/>
                <a:gd name="connsiteY0" fmla="*/ 36760 h 187232"/>
                <a:gd name="connsiteX1" fmla="*/ 334954 w 340513"/>
                <a:gd name="connsiteY1" fmla="*/ 119893 h 187232"/>
                <a:gd name="connsiteX2" fmla="*/ 326030 w 340513"/>
                <a:gd name="connsiteY2" fmla="*/ 131414 h 187232"/>
                <a:gd name="connsiteX3" fmla="*/ 27743 w 340513"/>
                <a:gd name="connsiteY3" fmla="*/ 181858 h 187232"/>
                <a:gd name="connsiteX4" fmla="*/ 15528 w 340513"/>
                <a:gd name="connsiteY4" fmla="*/ 173917 h 187232"/>
                <a:gd name="connsiteX5" fmla="*/ -5103 w 340513"/>
                <a:gd name="connsiteY5" fmla="*/ 93068 h 187232"/>
                <a:gd name="connsiteX6" fmla="*/ 1313 w 340513"/>
                <a:gd name="connsiteY6" fmla="*/ 78078 h 187232"/>
                <a:gd name="connsiteX7" fmla="*/ 149515 w 340513"/>
                <a:gd name="connsiteY7" fmla="*/ -5221 h 187232"/>
                <a:gd name="connsiteX8" fmla="*/ 316870 w 340513"/>
                <a:gd name="connsiteY8" fmla="*/ 24713 h 187232"/>
                <a:gd name="connsiteX9" fmla="*/ 327854 w 340513"/>
                <a:gd name="connsiteY9" fmla="*/ 36760 h 18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0513" h="187232">
                  <a:moveTo>
                    <a:pt x="327854" y="36760"/>
                  </a:moveTo>
                  <a:lnTo>
                    <a:pt x="334954" y="119893"/>
                  </a:lnTo>
                  <a:cubicBezTo>
                    <a:pt x="335430" y="125473"/>
                    <a:pt x="331550" y="130477"/>
                    <a:pt x="326030" y="131414"/>
                  </a:cubicBezTo>
                  <a:lnTo>
                    <a:pt x="27743" y="181858"/>
                  </a:lnTo>
                  <a:cubicBezTo>
                    <a:pt x="22223" y="182795"/>
                    <a:pt x="16911" y="179336"/>
                    <a:pt x="15528" y="173917"/>
                  </a:cubicBezTo>
                  <a:lnTo>
                    <a:pt x="-5103" y="93068"/>
                  </a:lnTo>
                  <a:cubicBezTo>
                    <a:pt x="-6602" y="87194"/>
                    <a:pt x="-3974" y="81051"/>
                    <a:pt x="1313" y="78078"/>
                  </a:cubicBezTo>
                  <a:lnTo>
                    <a:pt x="149515" y="-5221"/>
                  </a:lnTo>
                  <a:lnTo>
                    <a:pt x="316870" y="24713"/>
                  </a:lnTo>
                  <a:cubicBezTo>
                    <a:pt x="322835" y="25781"/>
                    <a:pt x="327342" y="30719"/>
                    <a:pt x="327854" y="36760"/>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5" name="Freeform: Shape 414">
              <a:extLst>
                <a:ext uri="{FF2B5EF4-FFF2-40B4-BE49-F238E27FC236}">
                  <a16:creationId xmlns:a16="http://schemas.microsoft.com/office/drawing/2014/main" id="{6DCC972B-0DEB-F74D-9A2C-2261706E51A6}"/>
                </a:ext>
              </a:extLst>
            </p:cNvPr>
            <p:cNvSpPr/>
            <p:nvPr/>
          </p:nvSpPr>
          <p:spPr>
            <a:xfrm flipV="1">
              <a:off x="5110946" y="3973581"/>
              <a:ext cx="47248" cy="40123"/>
            </a:xfrm>
            <a:custGeom>
              <a:avLst/>
              <a:gdLst>
                <a:gd name="connsiteX0" fmla="*/ 41749 w 47248"/>
                <a:gd name="connsiteY0" fmla="*/ 27640 h 40123"/>
                <a:gd name="connsiteX1" fmla="*/ 39136 w 47248"/>
                <a:gd name="connsiteY1" fmla="*/ 11972 h 40123"/>
                <a:gd name="connsiteX2" fmla="*/ 25721 w 47248"/>
                <a:gd name="connsiteY2" fmla="*/ -5028 h 40123"/>
                <a:gd name="connsiteX3" fmla="*/ 1661 w 47248"/>
                <a:gd name="connsiteY3" fmla="*/ -1008 h 40123"/>
                <a:gd name="connsiteX4" fmla="*/ -5499 w 47248"/>
                <a:gd name="connsiteY4" fmla="*/ 19421 h 40123"/>
                <a:gd name="connsiteX5" fmla="*/ -2886 w 47248"/>
                <a:gd name="connsiteY5" fmla="*/ 35095 h 40123"/>
                <a:gd name="connsiteX6" fmla="*/ 41749 w 47248"/>
                <a:gd name="connsiteY6" fmla="*/ 27640 h 40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48" h="40123">
                  <a:moveTo>
                    <a:pt x="41749" y="27640"/>
                  </a:moveTo>
                  <a:lnTo>
                    <a:pt x="39136" y="11972"/>
                  </a:lnTo>
                  <a:cubicBezTo>
                    <a:pt x="39136" y="11972"/>
                    <a:pt x="27104" y="10453"/>
                    <a:pt x="25721" y="-5028"/>
                  </a:cubicBezTo>
                  <a:lnTo>
                    <a:pt x="1661" y="-1008"/>
                  </a:lnTo>
                  <a:cubicBezTo>
                    <a:pt x="5389" y="14079"/>
                    <a:pt x="-5499" y="19421"/>
                    <a:pt x="-5499" y="19421"/>
                  </a:cubicBezTo>
                  <a:lnTo>
                    <a:pt x="-2886" y="35095"/>
                  </a:lnTo>
                  <a:lnTo>
                    <a:pt x="41749" y="27640"/>
                  </a:ln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6" name="Freeform: Shape 415">
              <a:extLst>
                <a:ext uri="{FF2B5EF4-FFF2-40B4-BE49-F238E27FC236}">
                  <a16:creationId xmlns:a16="http://schemas.microsoft.com/office/drawing/2014/main" id="{15E39918-37CE-8AB2-9026-50B339782273}"/>
                </a:ext>
              </a:extLst>
            </p:cNvPr>
            <p:cNvSpPr/>
            <p:nvPr/>
          </p:nvSpPr>
          <p:spPr>
            <a:xfrm flipV="1">
              <a:off x="5106164" y="3999150"/>
              <a:ext cx="47766" cy="34574"/>
            </a:xfrm>
            <a:custGeom>
              <a:avLst/>
              <a:gdLst>
                <a:gd name="connsiteX0" fmla="*/ -2365 w 47766"/>
                <a:gd name="connsiteY0" fmla="*/ 29597 h 34574"/>
                <a:gd name="connsiteX1" fmla="*/ -5338 w 47766"/>
                <a:gd name="connsiteY1" fmla="*/ 11802 h 34574"/>
                <a:gd name="connsiteX2" fmla="*/ 3828 w 47766"/>
                <a:gd name="connsiteY2" fmla="*/ -1041 h 34574"/>
                <a:gd name="connsiteX3" fmla="*/ 26460 w 47766"/>
                <a:gd name="connsiteY3" fmla="*/ -4824 h 34574"/>
                <a:gd name="connsiteX4" fmla="*/ 39302 w 47766"/>
                <a:gd name="connsiteY4" fmla="*/ 4342 h 34574"/>
                <a:gd name="connsiteX5" fmla="*/ 42275 w 47766"/>
                <a:gd name="connsiteY5" fmla="*/ 22143 h 34574"/>
                <a:gd name="connsiteX6" fmla="*/ -2365 w 47766"/>
                <a:gd name="connsiteY6" fmla="*/ 29597 h 34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66" h="34574">
                  <a:moveTo>
                    <a:pt x="-2365" y="29597"/>
                  </a:moveTo>
                  <a:lnTo>
                    <a:pt x="-5338" y="11802"/>
                  </a:lnTo>
                  <a:cubicBezTo>
                    <a:pt x="-6351" y="5720"/>
                    <a:pt x="-2249" y="-28"/>
                    <a:pt x="3828" y="-1041"/>
                  </a:cubicBezTo>
                  <a:lnTo>
                    <a:pt x="26460" y="-4824"/>
                  </a:lnTo>
                  <a:cubicBezTo>
                    <a:pt x="32537" y="-5837"/>
                    <a:pt x="38290" y="-1735"/>
                    <a:pt x="39302" y="4342"/>
                  </a:cubicBezTo>
                  <a:lnTo>
                    <a:pt x="42275" y="22143"/>
                  </a:lnTo>
                  <a:lnTo>
                    <a:pt x="-2365" y="29597"/>
                  </a:ln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7" name="Freeform: Shape 416">
              <a:extLst>
                <a:ext uri="{FF2B5EF4-FFF2-40B4-BE49-F238E27FC236}">
                  <a16:creationId xmlns:a16="http://schemas.microsoft.com/office/drawing/2014/main" id="{C8C4A20D-CC5E-B1E3-88E3-D44D0FA0D418}"/>
                </a:ext>
              </a:extLst>
            </p:cNvPr>
            <p:cNvSpPr/>
            <p:nvPr/>
          </p:nvSpPr>
          <p:spPr>
            <a:xfrm flipV="1">
              <a:off x="5131322" y="3731785"/>
              <a:ext cx="71237" cy="92774"/>
            </a:xfrm>
            <a:custGeom>
              <a:avLst/>
              <a:gdLst>
                <a:gd name="connsiteX0" fmla="*/ 64622 w 71237"/>
                <a:gd name="connsiteY0" fmla="*/ 26652 h 92774"/>
                <a:gd name="connsiteX1" fmla="*/ 53658 w 71237"/>
                <a:gd name="connsiteY1" fmla="*/ 27128 h 92774"/>
                <a:gd name="connsiteX2" fmla="*/ 54645 w 71237"/>
                <a:gd name="connsiteY2" fmla="*/ 10543 h 92774"/>
                <a:gd name="connsiteX3" fmla="*/ 37265 w 71237"/>
                <a:gd name="connsiteY3" fmla="*/ 1114 h 92774"/>
                <a:gd name="connsiteX4" fmla="*/ 30150 w 71237"/>
                <a:gd name="connsiteY4" fmla="*/ 3939 h 92774"/>
                <a:gd name="connsiteX5" fmla="*/ 16456 w 71237"/>
                <a:gd name="connsiteY5" fmla="*/ 7029 h 92774"/>
                <a:gd name="connsiteX6" fmla="*/ 7701 w 71237"/>
                <a:gd name="connsiteY6" fmla="*/ 9095 h 92774"/>
                <a:gd name="connsiteX7" fmla="*/ 9503 w 71237"/>
                <a:gd name="connsiteY7" fmla="*/ 85401 h 92774"/>
                <a:gd name="connsiteX8" fmla="*/ 47140 w 71237"/>
                <a:gd name="connsiteY8" fmla="*/ 80388 h 92774"/>
                <a:gd name="connsiteX9" fmla="*/ 64622 w 71237"/>
                <a:gd name="connsiteY9" fmla="*/ 26652 h 9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37" h="92774">
                  <a:moveTo>
                    <a:pt x="64622" y="26652"/>
                  </a:moveTo>
                  <a:cubicBezTo>
                    <a:pt x="64196" y="26348"/>
                    <a:pt x="65275" y="26449"/>
                    <a:pt x="53658" y="27128"/>
                  </a:cubicBezTo>
                  <a:cubicBezTo>
                    <a:pt x="50675" y="20327"/>
                    <a:pt x="53845" y="16073"/>
                    <a:pt x="54645" y="10543"/>
                  </a:cubicBezTo>
                  <a:cubicBezTo>
                    <a:pt x="52564" y="-7870"/>
                    <a:pt x="45140" y="-9627"/>
                    <a:pt x="37265" y="1114"/>
                  </a:cubicBezTo>
                  <a:cubicBezTo>
                    <a:pt x="35614" y="3352"/>
                    <a:pt x="32864" y="4486"/>
                    <a:pt x="30150" y="3939"/>
                  </a:cubicBezTo>
                  <a:cubicBezTo>
                    <a:pt x="22103" y="2329"/>
                    <a:pt x="25440" y="10376"/>
                    <a:pt x="16456" y="7029"/>
                  </a:cubicBezTo>
                  <a:cubicBezTo>
                    <a:pt x="13413" y="5899"/>
                    <a:pt x="9914" y="6730"/>
                    <a:pt x="7701" y="9095"/>
                  </a:cubicBezTo>
                  <a:cubicBezTo>
                    <a:pt x="2095" y="14923"/>
                    <a:pt x="-20091" y="-6711"/>
                    <a:pt x="9503" y="85401"/>
                  </a:cubicBezTo>
                  <a:cubicBezTo>
                    <a:pt x="22073" y="89883"/>
                    <a:pt x="34774" y="85507"/>
                    <a:pt x="47140" y="80388"/>
                  </a:cubicBezTo>
                  <a:cubicBezTo>
                    <a:pt x="52701" y="62121"/>
                    <a:pt x="70126" y="36937"/>
                    <a:pt x="64622" y="26652"/>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8" name="Freeform: Shape 417">
              <a:extLst>
                <a:ext uri="{FF2B5EF4-FFF2-40B4-BE49-F238E27FC236}">
                  <a16:creationId xmlns:a16="http://schemas.microsoft.com/office/drawing/2014/main" id="{B8A1C1A2-E597-F644-9465-AA3329FD561B}"/>
                </a:ext>
              </a:extLst>
            </p:cNvPr>
            <p:cNvSpPr/>
            <p:nvPr/>
          </p:nvSpPr>
          <p:spPr>
            <a:xfrm flipV="1">
              <a:off x="5139118" y="3317673"/>
              <a:ext cx="917323" cy="451168"/>
            </a:xfrm>
            <a:custGeom>
              <a:avLst/>
              <a:gdLst>
                <a:gd name="connsiteX0" fmla="*/ 910220 w 917323"/>
                <a:gd name="connsiteY0" fmla="*/ 385227 h 451168"/>
                <a:gd name="connsiteX1" fmla="*/ 675163 w 917323"/>
                <a:gd name="connsiteY1" fmla="*/ 299349 h 451168"/>
                <a:gd name="connsiteX2" fmla="*/ 623215 w 917323"/>
                <a:gd name="connsiteY2" fmla="*/ 295683 h 451168"/>
                <a:gd name="connsiteX3" fmla="*/ 490287 w 917323"/>
                <a:gd name="connsiteY3" fmla="*/ 322867 h 451168"/>
                <a:gd name="connsiteX4" fmla="*/ 505773 w 917323"/>
                <a:gd name="connsiteY4" fmla="*/ 233921 h 451168"/>
                <a:gd name="connsiteX5" fmla="*/ 514549 w 917323"/>
                <a:gd name="connsiteY5" fmla="*/ 95412 h 451168"/>
                <a:gd name="connsiteX6" fmla="*/ 514655 w 917323"/>
                <a:gd name="connsiteY6" fmla="*/ 95630 h 451168"/>
                <a:gd name="connsiteX7" fmla="*/ 517066 w 917323"/>
                <a:gd name="connsiteY7" fmla="*/ 66749 h 451168"/>
                <a:gd name="connsiteX8" fmla="*/ 521239 w 917323"/>
                <a:gd name="connsiteY8" fmla="*/ 45338 h 451168"/>
                <a:gd name="connsiteX9" fmla="*/ 510715 w 917323"/>
                <a:gd name="connsiteY9" fmla="*/ 7250 h 451168"/>
                <a:gd name="connsiteX10" fmla="*/ 511379 w 917323"/>
                <a:gd name="connsiteY10" fmla="*/ -3055 h 451168"/>
                <a:gd name="connsiteX11" fmla="*/ 407681 w 917323"/>
                <a:gd name="connsiteY11" fmla="*/ -4711 h 451168"/>
                <a:gd name="connsiteX12" fmla="*/ 301607 w 917323"/>
                <a:gd name="connsiteY12" fmla="*/ 10633 h 451168"/>
                <a:gd name="connsiteX13" fmla="*/ 302949 w 917323"/>
                <a:gd name="connsiteY13" fmla="*/ 24089 h 451168"/>
                <a:gd name="connsiteX14" fmla="*/ 300407 w 917323"/>
                <a:gd name="connsiteY14" fmla="*/ 27664 h 451168"/>
                <a:gd name="connsiteX15" fmla="*/ 290031 w 917323"/>
                <a:gd name="connsiteY15" fmla="*/ 55228 h 451168"/>
                <a:gd name="connsiteX16" fmla="*/ 295490 w 917323"/>
                <a:gd name="connsiteY16" fmla="*/ 80543 h 451168"/>
                <a:gd name="connsiteX17" fmla="*/ 295535 w 917323"/>
                <a:gd name="connsiteY17" fmla="*/ 80918 h 451168"/>
                <a:gd name="connsiteX18" fmla="*/ 247320 w 917323"/>
                <a:gd name="connsiteY18" fmla="*/ 292199 h 451168"/>
                <a:gd name="connsiteX19" fmla="*/ 97984 w 917323"/>
                <a:gd name="connsiteY19" fmla="*/ 236063 h 451168"/>
                <a:gd name="connsiteX20" fmla="*/ 50588 w 917323"/>
                <a:gd name="connsiteY20" fmla="*/ 19997 h 451168"/>
                <a:gd name="connsiteX21" fmla="*/ -6292 w 917323"/>
                <a:gd name="connsiteY21" fmla="*/ 28570 h 451168"/>
                <a:gd name="connsiteX22" fmla="*/ 28595 w 917323"/>
                <a:gd name="connsiteY22" fmla="*/ 260386 h 451168"/>
                <a:gd name="connsiteX23" fmla="*/ 77803 w 917323"/>
                <a:gd name="connsiteY23" fmla="*/ 322118 h 451168"/>
                <a:gd name="connsiteX24" fmla="*/ 228390 w 917323"/>
                <a:gd name="connsiteY24" fmla="*/ 402880 h 451168"/>
                <a:gd name="connsiteX25" fmla="*/ 229069 w 917323"/>
                <a:gd name="connsiteY25" fmla="*/ 403270 h 451168"/>
                <a:gd name="connsiteX26" fmla="*/ 412497 w 917323"/>
                <a:gd name="connsiteY26" fmla="*/ 444528 h 451168"/>
                <a:gd name="connsiteX27" fmla="*/ 474168 w 917323"/>
                <a:gd name="connsiteY27" fmla="*/ 439276 h 451168"/>
                <a:gd name="connsiteX28" fmla="*/ 654628 w 917323"/>
                <a:gd name="connsiteY28" fmla="*/ 384645 h 451168"/>
                <a:gd name="connsiteX29" fmla="*/ 892181 w 917323"/>
                <a:gd name="connsiteY29" fmla="*/ 439033 h 451168"/>
                <a:gd name="connsiteX30" fmla="*/ 910220 w 917323"/>
                <a:gd name="connsiteY30" fmla="*/ 385227 h 4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7323" h="451168">
                  <a:moveTo>
                    <a:pt x="910220" y="385227"/>
                  </a:moveTo>
                  <a:lnTo>
                    <a:pt x="675163" y="299349"/>
                  </a:lnTo>
                  <a:cubicBezTo>
                    <a:pt x="658391" y="293824"/>
                    <a:pt x="640560" y="292609"/>
                    <a:pt x="623215" y="295683"/>
                  </a:cubicBezTo>
                  <a:lnTo>
                    <a:pt x="490287" y="322867"/>
                  </a:lnTo>
                  <a:cubicBezTo>
                    <a:pt x="499772" y="294371"/>
                    <a:pt x="505013" y="264437"/>
                    <a:pt x="505773" y="233921"/>
                  </a:cubicBezTo>
                  <a:lnTo>
                    <a:pt x="514549" y="95412"/>
                  </a:lnTo>
                  <a:lnTo>
                    <a:pt x="514655" y="95630"/>
                  </a:lnTo>
                  <a:cubicBezTo>
                    <a:pt x="514893" y="86418"/>
                    <a:pt x="516038" y="75261"/>
                    <a:pt x="517066" y="66749"/>
                  </a:cubicBezTo>
                  <a:cubicBezTo>
                    <a:pt x="517942" y="59517"/>
                    <a:pt x="519487" y="52412"/>
                    <a:pt x="521239" y="45338"/>
                  </a:cubicBezTo>
                  <a:cubicBezTo>
                    <a:pt x="529463" y="12066"/>
                    <a:pt x="510715" y="7250"/>
                    <a:pt x="510715" y="7250"/>
                  </a:cubicBezTo>
                  <a:lnTo>
                    <a:pt x="511379" y="-3055"/>
                  </a:lnTo>
                  <a:cubicBezTo>
                    <a:pt x="478568" y="-6276"/>
                    <a:pt x="443666" y="-6980"/>
                    <a:pt x="407681" y="-4711"/>
                  </a:cubicBezTo>
                  <a:cubicBezTo>
                    <a:pt x="370409" y="-2372"/>
                    <a:pt x="334671" y="2951"/>
                    <a:pt x="301607" y="10633"/>
                  </a:cubicBezTo>
                  <a:cubicBezTo>
                    <a:pt x="302089" y="15135"/>
                    <a:pt x="302514" y="19637"/>
                    <a:pt x="302949" y="24089"/>
                  </a:cubicBezTo>
                  <a:lnTo>
                    <a:pt x="300407" y="27664"/>
                  </a:lnTo>
                  <a:cubicBezTo>
                    <a:pt x="294766" y="35766"/>
                    <a:pt x="287580" y="45763"/>
                    <a:pt x="290031" y="55228"/>
                  </a:cubicBezTo>
                  <a:cubicBezTo>
                    <a:pt x="291753" y="61791"/>
                    <a:pt x="293748" y="70395"/>
                    <a:pt x="295490" y="80543"/>
                  </a:cubicBezTo>
                  <a:lnTo>
                    <a:pt x="295535" y="80918"/>
                  </a:lnTo>
                  <a:cubicBezTo>
                    <a:pt x="296305" y="87031"/>
                    <a:pt x="310510" y="168269"/>
                    <a:pt x="247320" y="292199"/>
                  </a:cubicBezTo>
                  <a:lnTo>
                    <a:pt x="97984" y="236063"/>
                  </a:lnTo>
                  <a:lnTo>
                    <a:pt x="50588" y="19997"/>
                  </a:lnTo>
                  <a:cubicBezTo>
                    <a:pt x="18213" y="14274"/>
                    <a:pt x="-6292" y="28570"/>
                    <a:pt x="-6292" y="28570"/>
                  </a:cubicBezTo>
                  <a:lnTo>
                    <a:pt x="28595" y="260386"/>
                  </a:lnTo>
                  <a:cubicBezTo>
                    <a:pt x="33198" y="288087"/>
                    <a:pt x="51849" y="311407"/>
                    <a:pt x="77803" y="322118"/>
                  </a:cubicBezTo>
                  <a:lnTo>
                    <a:pt x="228390" y="402880"/>
                  </a:lnTo>
                  <a:lnTo>
                    <a:pt x="229069" y="403270"/>
                  </a:lnTo>
                  <a:cubicBezTo>
                    <a:pt x="277051" y="428019"/>
                    <a:pt x="370915" y="441110"/>
                    <a:pt x="412497" y="444528"/>
                  </a:cubicBezTo>
                  <a:cubicBezTo>
                    <a:pt x="433204" y="446189"/>
                    <a:pt x="453992" y="444422"/>
                    <a:pt x="474168" y="439276"/>
                  </a:cubicBezTo>
                  <a:lnTo>
                    <a:pt x="654628" y="384645"/>
                  </a:lnTo>
                  <a:lnTo>
                    <a:pt x="892181" y="439033"/>
                  </a:lnTo>
                  <a:cubicBezTo>
                    <a:pt x="892181" y="439033"/>
                    <a:pt x="915633" y="414710"/>
                    <a:pt x="910220" y="385227"/>
                  </a:cubicBezTo>
                </a:path>
              </a:pathLst>
            </a:custGeom>
            <a:solidFill>
              <a:srgbClr val="4DA5C3">
                <a:lumMod val="20000"/>
                <a:lumOff val="8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9" name="Freeform: Shape 418">
              <a:extLst>
                <a:ext uri="{FF2B5EF4-FFF2-40B4-BE49-F238E27FC236}">
                  <a16:creationId xmlns:a16="http://schemas.microsoft.com/office/drawing/2014/main" id="{F5B06556-543A-20FA-9ED1-B0ECC0081B06}"/>
                </a:ext>
              </a:extLst>
            </p:cNvPr>
            <p:cNvSpPr/>
            <p:nvPr/>
          </p:nvSpPr>
          <p:spPr>
            <a:xfrm flipV="1">
              <a:off x="5608115" y="3395182"/>
              <a:ext cx="32373" cy="52058"/>
            </a:xfrm>
            <a:custGeom>
              <a:avLst/>
              <a:gdLst>
                <a:gd name="connsiteX0" fmla="*/ 872 w 32373"/>
                <a:gd name="connsiteY0" fmla="*/ 44156 h 52058"/>
                <a:gd name="connsiteX1" fmla="*/ -4739 w 32373"/>
                <a:gd name="connsiteY1" fmla="*/ 44946 h 52058"/>
                <a:gd name="connsiteX2" fmla="*/ -5529 w 32373"/>
                <a:gd name="connsiteY2" fmla="*/ 39330 h 52058"/>
                <a:gd name="connsiteX3" fmla="*/ 18080 w 32373"/>
                <a:gd name="connsiteY3" fmla="*/ -3017 h 52058"/>
                <a:gd name="connsiteX4" fmla="*/ 22111 w 32373"/>
                <a:gd name="connsiteY4" fmla="*/ -6308 h 52058"/>
                <a:gd name="connsiteX5" fmla="*/ 22719 w 32373"/>
                <a:gd name="connsiteY5" fmla="*/ -6248 h 52058"/>
                <a:gd name="connsiteX6" fmla="*/ 25975 w 32373"/>
                <a:gd name="connsiteY6" fmla="*/ -1609 h 52058"/>
                <a:gd name="connsiteX7" fmla="*/ 872 w 32373"/>
                <a:gd name="connsiteY7" fmla="*/ 44156 h 5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73" h="52058">
                  <a:moveTo>
                    <a:pt x="872" y="44156"/>
                  </a:moveTo>
                  <a:cubicBezTo>
                    <a:pt x="-465" y="45928"/>
                    <a:pt x="-2977" y="46267"/>
                    <a:pt x="-4739" y="44946"/>
                  </a:cubicBezTo>
                  <a:cubicBezTo>
                    <a:pt x="-6512" y="43609"/>
                    <a:pt x="-6861" y="41097"/>
                    <a:pt x="-5529" y="39330"/>
                  </a:cubicBezTo>
                  <a:cubicBezTo>
                    <a:pt x="15041" y="12069"/>
                    <a:pt x="18044" y="-2814"/>
                    <a:pt x="18080" y="-3017"/>
                  </a:cubicBezTo>
                  <a:cubicBezTo>
                    <a:pt x="18439" y="-4987"/>
                    <a:pt x="20171" y="-6354"/>
                    <a:pt x="22111" y="-6308"/>
                  </a:cubicBezTo>
                  <a:lnTo>
                    <a:pt x="22719" y="-6248"/>
                  </a:lnTo>
                  <a:cubicBezTo>
                    <a:pt x="24901" y="-5868"/>
                    <a:pt x="26360" y="-3786"/>
                    <a:pt x="25975" y="-1609"/>
                  </a:cubicBezTo>
                  <a:cubicBezTo>
                    <a:pt x="25863" y="-940"/>
                    <a:pt x="22860" y="15017"/>
                    <a:pt x="872" y="44156"/>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0" name="Freeform: Shape 419">
              <a:extLst>
                <a:ext uri="{FF2B5EF4-FFF2-40B4-BE49-F238E27FC236}">
                  <a16:creationId xmlns:a16="http://schemas.microsoft.com/office/drawing/2014/main" id="{BD987F62-D6B4-508B-C2BB-93B7049B5B5E}"/>
                </a:ext>
              </a:extLst>
            </p:cNvPr>
            <p:cNvSpPr/>
            <p:nvPr/>
          </p:nvSpPr>
          <p:spPr>
            <a:xfrm flipV="1">
              <a:off x="5388684" y="3456227"/>
              <a:ext cx="35579" cy="18380"/>
            </a:xfrm>
            <a:custGeom>
              <a:avLst/>
              <a:gdLst>
                <a:gd name="connsiteX0" fmla="*/ 24192 w 35579"/>
                <a:gd name="connsiteY0" fmla="*/ 11915 h 18380"/>
                <a:gd name="connsiteX1" fmla="*/ -3362 w 35579"/>
                <a:gd name="connsiteY1" fmla="*/ 1554 h 18380"/>
                <a:gd name="connsiteX2" fmla="*/ -5707 w 35579"/>
                <a:gd name="connsiteY2" fmla="*/ -3612 h 18380"/>
                <a:gd name="connsiteX3" fmla="*/ -1858 w 35579"/>
                <a:gd name="connsiteY3" fmla="*/ -6210 h 18380"/>
                <a:gd name="connsiteX4" fmla="*/ -546 w 35579"/>
                <a:gd name="connsiteY4" fmla="*/ -5951 h 18380"/>
                <a:gd name="connsiteX5" fmla="*/ 27013 w 35579"/>
                <a:gd name="connsiteY5" fmla="*/ 4410 h 18380"/>
                <a:gd name="connsiteX6" fmla="*/ 29357 w 35579"/>
                <a:gd name="connsiteY6" fmla="*/ 9575 h 18380"/>
                <a:gd name="connsiteX7" fmla="*/ 24192 w 35579"/>
                <a:gd name="connsiteY7" fmla="*/ 11915 h 18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9" h="18380">
                  <a:moveTo>
                    <a:pt x="24192" y="11915"/>
                  </a:moveTo>
                  <a:lnTo>
                    <a:pt x="-3362" y="1554"/>
                  </a:lnTo>
                  <a:cubicBezTo>
                    <a:pt x="-5438" y="774"/>
                    <a:pt x="-6487" y="-1535"/>
                    <a:pt x="-5707" y="-3612"/>
                  </a:cubicBezTo>
                  <a:cubicBezTo>
                    <a:pt x="-5089" y="-5248"/>
                    <a:pt x="-3519" y="-6245"/>
                    <a:pt x="-1858" y="-6210"/>
                  </a:cubicBezTo>
                  <a:lnTo>
                    <a:pt x="-546" y="-5951"/>
                  </a:lnTo>
                  <a:lnTo>
                    <a:pt x="27013" y="4410"/>
                  </a:lnTo>
                  <a:cubicBezTo>
                    <a:pt x="29089" y="5190"/>
                    <a:pt x="30137" y="7499"/>
                    <a:pt x="29357" y="9575"/>
                  </a:cubicBezTo>
                  <a:cubicBezTo>
                    <a:pt x="28572" y="11641"/>
                    <a:pt x="26268" y="12690"/>
                    <a:pt x="24192" y="11915"/>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1" name="Freeform: Shape 420">
              <a:extLst>
                <a:ext uri="{FF2B5EF4-FFF2-40B4-BE49-F238E27FC236}">
                  <a16:creationId xmlns:a16="http://schemas.microsoft.com/office/drawing/2014/main" id="{198D78E4-CC0C-BDE9-5522-1D9AA5C64C8D}"/>
                </a:ext>
              </a:extLst>
            </p:cNvPr>
            <p:cNvSpPr/>
            <p:nvPr/>
          </p:nvSpPr>
          <p:spPr>
            <a:xfrm flipV="1">
              <a:off x="5440836" y="3250509"/>
              <a:ext cx="90085" cy="72834"/>
            </a:xfrm>
            <a:custGeom>
              <a:avLst/>
              <a:gdLst>
                <a:gd name="connsiteX0" fmla="*/ -1332 w 90085"/>
                <a:gd name="connsiteY0" fmla="*/ -3103 h 72834"/>
                <a:gd name="connsiteX1" fmla="*/ -5930 w 90085"/>
                <a:gd name="connsiteY1" fmla="*/ -2460 h 72834"/>
                <a:gd name="connsiteX2" fmla="*/ -5793 w 90085"/>
                <a:gd name="connsiteY2" fmla="*/ 22668 h 72834"/>
                <a:gd name="connsiteX3" fmla="*/ -5803 w 90085"/>
                <a:gd name="connsiteY3" fmla="*/ 22749 h 72834"/>
                <a:gd name="connsiteX4" fmla="*/ 60734 w 90085"/>
                <a:gd name="connsiteY4" fmla="*/ 43851 h 72834"/>
                <a:gd name="connsiteX5" fmla="*/ 61165 w 90085"/>
                <a:gd name="connsiteY5" fmla="*/ 42216 h 72834"/>
                <a:gd name="connsiteX6" fmla="*/ 83948 w 90085"/>
                <a:gd name="connsiteY6" fmla="*/ -5721 h 72834"/>
                <a:gd name="connsiteX7" fmla="*/ -1332 w 90085"/>
                <a:gd name="connsiteY7" fmla="*/ -3103 h 72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085" h="72834">
                  <a:moveTo>
                    <a:pt x="-1332" y="-3103"/>
                  </a:moveTo>
                  <a:lnTo>
                    <a:pt x="-5930" y="-2460"/>
                  </a:lnTo>
                  <a:lnTo>
                    <a:pt x="-5793" y="22668"/>
                  </a:lnTo>
                  <a:lnTo>
                    <a:pt x="-5803" y="22749"/>
                  </a:lnTo>
                  <a:cubicBezTo>
                    <a:pt x="-11278" y="106191"/>
                    <a:pt x="60734" y="43851"/>
                    <a:pt x="60734" y="43851"/>
                  </a:cubicBezTo>
                  <a:cubicBezTo>
                    <a:pt x="60876" y="43305"/>
                    <a:pt x="61023" y="42763"/>
                    <a:pt x="61165" y="42216"/>
                  </a:cubicBezTo>
                  <a:cubicBezTo>
                    <a:pt x="66659" y="23068"/>
                    <a:pt x="75476" y="6772"/>
                    <a:pt x="83948" y="-5721"/>
                  </a:cubicBezTo>
                  <a:cubicBezTo>
                    <a:pt x="86030" y="-8739"/>
                    <a:pt x="-1332" y="-3103"/>
                    <a:pt x="-1332" y="-3103"/>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2" name="Freeform: Shape 421">
              <a:extLst>
                <a:ext uri="{FF2B5EF4-FFF2-40B4-BE49-F238E27FC236}">
                  <a16:creationId xmlns:a16="http://schemas.microsoft.com/office/drawing/2014/main" id="{C204BF09-E1EC-5F4B-2AE3-401AE10E8F16}"/>
                </a:ext>
              </a:extLst>
            </p:cNvPr>
            <p:cNvSpPr/>
            <p:nvPr/>
          </p:nvSpPr>
          <p:spPr>
            <a:xfrm flipV="1">
              <a:off x="5471335" y="3274498"/>
              <a:ext cx="59554" cy="47972"/>
            </a:xfrm>
            <a:custGeom>
              <a:avLst/>
              <a:gdLst>
                <a:gd name="connsiteX0" fmla="*/ -6127 w 59554"/>
                <a:gd name="connsiteY0" fmla="*/ 32470 h 47972"/>
                <a:gd name="connsiteX1" fmla="*/ 53428 w 59554"/>
                <a:gd name="connsiteY1" fmla="*/ -6584 h 47972"/>
                <a:gd name="connsiteX2" fmla="*/ 30649 w 59554"/>
                <a:gd name="connsiteY2" fmla="*/ 41388 h 47972"/>
                <a:gd name="connsiteX3" fmla="*/ -6127 w 59554"/>
                <a:gd name="connsiteY3" fmla="*/ 32470 h 47972"/>
              </a:gdLst>
              <a:ahLst/>
              <a:cxnLst>
                <a:cxn ang="0">
                  <a:pos x="connsiteX0" y="connsiteY0"/>
                </a:cxn>
                <a:cxn ang="0">
                  <a:pos x="connsiteX1" y="connsiteY1"/>
                </a:cxn>
                <a:cxn ang="0">
                  <a:pos x="connsiteX2" y="connsiteY2"/>
                </a:cxn>
                <a:cxn ang="0">
                  <a:pos x="connsiteX3" y="connsiteY3"/>
                </a:cxn>
              </a:cxnLst>
              <a:rect l="l" t="t" r="r" b="b"/>
              <a:pathLst>
                <a:path w="59554" h="47972">
                  <a:moveTo>
                    <a:pt x="-6127" y="32470"/>
                  </a:moveTo>
                  <a:lnTo>
                    <a:pt x="53428" y="-6584"/>
                  </a:lnTo>
                  <a:cubicBezTo>
                    <a:pt x="44966" y="5929"/>
                    <a:pt x="36124" y="22205"/>
                    <a:pt x="30649" y="41388"/>
                  </a:cubicBezTo>
                  <a:lnTo>
                    <a:pt x="-6127" y="32470"/>
                  </a:ln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3" name="Freeform: Shape 422">
              <a:extLst>
                <a:ext uri="{FF2B5EF4-FFF2-40B4-BE49-F238E27FC236}">
                  <a16:creationId xmlns:a16="http://schemas.microsoft.com/office/drawing/2014/main" id="{4911CDFE-F2D4-5DDB-336B-F17F44F986DC}"/>
                </a:ext>
              </a:extLst>
            </p:cNvPr>
            <p:cNvSpPr/>
            <p:nvPr/>
          </p:nvSpPr>
          <p:spPr>
            <a:xfrm flipV="1">
              <a:off x="5395105" y="3144430"/>
              <a:ext cx="159030" cy="146358"/>
            </a:xfrm>
            <a:custGeom>
              <a:avLst/>
              <a:gdLst>
                <a:gd name="connsiteX0" fmla="*/ 141290 w 159030"/>
                <a:gd name="connsiteY0" fmla="*/ 6655 h 146358"/>
                <a:gd name="connsiteX1" fmla="*/ 139472 w 159030"/>
                <a:gd name="connsiteY1" fmla="*/ 5040 h 146358"/>
                <a:gd name="connsiteX2" fmla="*/ 114607 w 159030"/>
                <a:gd name="connsiteY2" fmla="*/ -5636 h 146358"/>
                <a:gd name="connsiteX3" fmla="*/ 68959 w 159030"/>
                <a:gd name="connsiteY3" fmla="*/ 168 h 146358"/>
                <a:gd name="connsiteX4" fmla="*/ 64801 w 159030"/>
                <a:gd name="connsiteY4" fmla="*/ 4082 h 146358"/>
                <a:gd name="connsiteX5" fmla="*/ 43436 w 159030"/>
                <a:gd name="connsiteY5" fmla="*/ 19108 h 146358"/>
                <a:gd name="connsiteX6" fmla="*/ -6081 w 159030"/>
                <a:gd name="connsiteY6" fmla="*/ 82116 h 146358"/>
                <a:gd name="connsiteX7" fmla="*/ 56917 w 159030"/>
                <a:gd name="connsiteY7" fmla="*/ 120249 h 146358"/>
                <a:gd name="connsiteX8" fmla="*/ 89965 w 159030"/>
                <a:gd name="connsiteY8" fmla="*/ 139594 h 146358"/>
                <a:gd name="connsiteX9" fmla="*/ 101334 w 159030"/>
                <a:gd name="connsiteY9" fmla="*/ 130265 h 146358"/>
                <a:gd name="connsiteX10" fmla="*/ 110693 w 159030"/>
                <a:gd name="connsiteY10" fmla="*/ 117737 h 146358"/>
                <a:gd name="connsiteX11" fmla="*/ 122659 w 159030"/>
                <a:gd name="connsiteY11" fmla="*/ 87230 h 146358"/>
                <a:gd name="connsiteX12" fmla="*/ 122644 w 159030"/>
                <a:gd name="connsiteY12" fmla="*/ 87175 h 146358"/>
                <a:gd name="connsiteX13" fmla="*/ 122694 w 159030"/>
                <a:gd name="connsiteY13" fmla="*/ 87165 h 146358"/>
                <a:gd name="connsiteX14" fmla="*/ 147696 w 159030"/>
                <a:gd name="connsiteY14" fmla="*/ 65698 h 146358"/>
                <a:gd name="connsiteX15" fmla="*/ 148061 w 159030"/>
                <a:gd name="connsiteY15" fmla="*/ 60071 h 146358"/>
                <a:gd name="connsiteX16" fmla="*/ 141346 w 159030"/>
                <a:gd name="connsiteY16" fmla="*/ 53959 h 146358"/>
                <a:gd name="connsiteX17" fmla="*/ 141290 w 159030"/>
                <a:gd name="connsiteY17" fmla="*/ 6655 h 146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9030" h="146358">
                  <a:moveTo>
                    <a:pt x="141290" y="6655"/>
                  </a:moveTo>
                  <a:cubicBezTo>
                    <a:pt x="140758" y="6098"/>
                    <a:pt x="140115" y="5571"/>
                    <a:pt x="139472" y="5040"/>
                  </a:cubicBezTo>
                  <a:cubicBezTo>
                    <a:pt x="132448" y="-804"/>
                    <a:pt x="123586" y="-4030"/>
                    <a:pt x="114607" y="-5636"/>
                  </a:cubicBezTo>
                  <a:cubicBezTo>
                    <a:pt x="99283" y="-8335"/>
                    <a:pt x="83199" y="-6117"/>
                    <a:pt x="68959" y="168"/>
                  </a:cubicBezTo>
                  <a:cubicBezTo>
                    <a:pt x="67531" y="1373"/>
                    <a:pt x="66123" y="2680"/>
                    <a:pt x="64801" y="4082"/>
                  </a:cubicBezTo>
                  <a:cubicBezTo>
                    <a:pt x="57342" y="8564"/>
                    <a:pt x="50186" y="13598"/>
                    <a:pt x="43436" y="19108"/>
                  </a:cubicBezTo>
                  <a:cubicBezTo>
                    <a:pt x="22480" y="36083"/>
                    <a:pt x="5348" y="57732"/>
                    <a:pt x="-6081" y="82116"/>
                  </a:cubicBezTo>
                  <a:cubicBezTo>
                    <a:pt x="12124" y="98220"/>
                    <a:pt x="33794" y="111321"/>
                    <a:pt x="56917" y="120249"/>
                  </a:cubicBezTo>
                  <a:cubicBezTo>
                    <a:pt x="69987" y="125262"/>
                    <a:pt x="89965" y="139594"/>
                    <a:pt x="89965" y="139594"/>
                  </a:cubicBezTo>
                  <a:cubicBezTo>
                    <a:pt x="91621" y="138849"/>
                    <a:pt x="99810" y="131547"/>
                    <a:pt x="101334" y="130265"/>
                  </a:cubicBezTo>
                  <a:cubicBezTo>
                    <a:pt x="104823" y="127141"/>
                    <a:pt x="107983" y="122669"/>
                    <a:pt x="110693" y="117737"/>
                  </a:cubicBezTo>
                  <a:cubicBezTo>
                    <a:pt x="118111" y="104529"/>
                    <a:pt x="122375" y="88208"/>
                    <a:pt x="122659" y="87230"/>
                  </a:cubicBezTo>
                  <a:lnTo>
                    <a:pt x="122644" y="87175"/>
                  </a:lnTo>
                  <a:lnTo>
                    <a:pt x="122694" y="87165"/>
                  </a:lnTo>
                  <a:lnTo>
                    <a:pt x="147696" y="65698"/>
                  </a:lnTo>
                  <a:cubicBezTo>
                    <a:pt x="149225" y="64189"/>
                    <a:pt x="149327" y="61768"/>
                    <a:pt x="148061" y="60071"/>
                  </a:cubicBezTo>
                  <a:lnTo>
                    <a:pt x="141346" y="53959"/>
                  </a:lnTo>
                  <a:cubicBezTo>
                    <a:pt x="141346" y="53959"/>
                    <a:pt x="167492" y="30482"/>
                    <a:pt x="141290" y="6655"/>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4" name="Freeform: Shape 423">
              <a:extLst>
                <a:ext uri="{FF2B5EF4-FFF2-40B4-BE49-F238E27FC236}">
                  <a16:creationId xmlns:a16="http://schemas.microsoft.com/office/drawing/2014/main" id="{3CBC893B-E099-5D68-F318-028FD1D8905C}"/>
                </a:ext>
              </a:extLst>
            </p:cNvPr>
            <p:cNvSpPr/>
            <p:nvPr/>
          </p:nvSpPr>
          <p:spPr>
            <a:xfrm flipV="1">
              <a:off x="5503223" y="3188822"/>
              <a:ext cx="10594" cy="14913"/>
            </a:xfrm>
            <a:custGeom>
              <a:avLst/>
              <a:gdLst>
                <a:gd name="connsiteX0" fmla="*/ -5227 w 10594"/>
                <a:gd name="connsiteY0" fmla="*/ -1157 h 14913"/>
                <a:gd name="connsiteX1" fmla="*/ 2131 w 10594"/>
                <a:gd name="connsiteY1" fmla="*/ -6591 h 14913"/>
                <a:gd name="connsiteX2" fmla="*/ 3539 w 10594"/>
                <a:gd name="connsiteY2" fmla="*/ 2444 h 14913"/>
                <a:gd name="connsiteX3" fmla="*/ -3819 w 10594"/>
                <a:gd name="connsiteY3" fmla="*/ 7877 h 14913"/>
                <a:gd name="connsiteX4" fmla="*/ -5227 w 10594"/>
                <a:gd name="connsiteY4" fmla="*/ -1157 h 1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4" h="14913">
                  <a:moveTo>
                    <a:pt x="-5227" y="-1157"/>
                  </a:moveTo>
                  <a:cubicBezTo>
                    <a:pt x="-3586" y="-5153"/>
                    <a:pt x="-289" y="-7584"/>
                    <a:pt x="2131" y="-6591"/>
                  </a:cubicBezTo>
                  <a:cubicBezTo>
                    <a:pt x="4552" y="-5593"/>
                    <a:pt x="5185" y="-1547"/>
                    <a:pt x="3539" y="2444"/>
                  </a:cubicBezTo>
                  <a:cubicBezTo>
                    <a:pt x="1899" y="6439"/>
                    <a:pt x="-1393" y="8875"/>
                    <a:pt x="-3819" y="7877"/>
                  </a:cubicBezTo>
                  <a:cubicBezTo>
                    <a:pt x="-6234" y="6885"/>
                    <a:pt x="-6867" y="2838"/>
                    <a:pt x="-5227" y="-1157"/>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5" name="Freeform: Shape 424">
              <a:extLst>
                <a:ext uri="{FF2B5EF4-FFF2-40B4-BE49-F238E27FC236}">
                  <a16:creationId xmlns:a16="http://schemas.microsoft.com/office/drawing/2014/main" id="{219D4D04-D17C-66F9-8241-44374590B4A6}"/>
                </a:ext>
              </a:extLst>
            </p:cNvPr>
            <p:cNvSpPr/>
            <p:nvPr/>
          </p:nvSpPr>
          <p:spPr>
            <a:xfrm flipV="1">
              <a:off x="5488472" y="3167499"/>
              <a:ext cx="14234" cy="24828"/>
            </a:xfrm>
            <a:custGeom>
              <a:avLst/>
              <a:gdLst>
                <a:gd name="connsiteX0" fmla="*/ -5934 w 14234"/>
                <a:gd name="connsiteY0" fmla="*/ -3881 h 24828"/>
                <a:gd name="connsiteX1" fmla="*/ 3278 w 14234"/>
                <a:gd name="connsiteY1" fmla="*/ 17333 h 24828"/>
                <a:gd name="connsiteX2" fmla="*/ 6777 w 14234"/>
                <a:gd name="connsiteY2" fmla="*/ 11869 h 24828"/>
                <a:gd name="connsiteX3" fmla="*/ 553 w 14234"/>
                <a:gd name="connsiteY3" fmla="*/ -3618 h 24828"/>
                <a:gd name="connsiteX4" fmla="*/ -5934 w 14234"/>
                <a:gd name="connsiteY4" fmla="*/ -3881 h 2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34" h="24828">
                  <a:moveTo>
                    <a:pt x="-5934" y="-3881"/>
                  </a:moveTo>
                  <a:cubicBezTo>
                    <a:pt x="-7003" y="4404"/>
                    <a:pt x="-3326" y="12355"/>
                    <a:pt x="3278" y="17333"/>
                  </a:cubicBezTo>
                  <a:cubicBezTo>
                    <a:pt x="6615" y="19850"/>
                    <a:pt x="10094" y="14375"/>
                    <a:pt x="6777" y="11869"/>
                  </a:cubicBezTo>
                  <a:cubicBezTo>
                    <a:pt x="1926" y="8212"/>
                    <a:pt x="-217" y="2328"/>
                    <a:pt x="553" y="-3618"/>
                  </a:cubicBezTo>
                  <a:cubicBezTo>
                    <a:pt x="1085" y="-7755"/>
                    <a:pt x="-5402" y="-8003"/>
                    <a:pt x="-5934" y="-3881"/>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6" name="Freeform: Shape 425">
              <a:extLst>
                <a:ext uri="{FF2B5EF4-FFF2-40B4-BE49-F238E27FC236}">
                  <a16:creationId xmlns:a16="http://schemas.microsoft.com/office/drawing/2014/main" id="{BA3778D3-471E-CF80-9D72-F82DC4E717E1}"/>
                </a:ext>
              </a:extLst>
            </p:cNvPr>
            <p:cNvSpPr/>
            <p:nvPr/>
          </p:nvSpPr>
          <p:spPr>
            <a:xfrm flipV="1">
              <a:off x="5446519" y="3224755"/>
              <a:ext cx="22186" cy="17705"/>
            </a:xfrm>
            <a:custGeom>
              <a:avLst/>
              <a:gdLst>
                <a:gd name="connsiteX0" fmla="*/ 15837 w 22186"/>
                <a:gd name="connsiteY0" fmla="*/ -6290 h 17705"/>
                <a:gd name="connsiteX1" fmla="*/ 14647 w 22186"/>
                <a:gd name="connsiteY1" fmla="*/ -6705 h 17705"/>
                <a:gd name="connsiteX2" fmla="*/ 7785 w 22186"/>
                <a:gd name="connsiteY2" fmla="*/ -2705 h 17705"/>
                <a:gd name="connsiteX3" fmla="*/ 10697 w 22186"/>
                <a:gd name="connsiteY3" fmla="*/ 1848 h 17705"/>
                <a:gd name="connsiteX4" fmla="*/ -4328 w 22186"/>
                <a:gd name="connsiteY4" fmla="*/ 7945 h 17705"/>
                <a:gd name="connsiteX5" fmla="*/ -5954 w 22186"/>
                <a:gd name="connsiteY5" fmla="*/ 8619 h 17705"/>
                <a:gd name="connsiteX6" fmla="*/ -5280 w 22186"/>
                <a:gd name="connsiteY6" fmla="*/ 10250 h 17705"/>
                <a:gd name="connsiteX7" fmla="*/ 12718 w 22186"/>
                <a:gd name="connsiteY7" fmla="*/ 3241 h 17705"/>
                <a:gd name="connsiteX8" fmla="*/ 13138 w 22186"/>
                <a:gd name="connsiteY8" fmla="*/ 1372 h 17705"/>
                <a:gd name="connsiteX9" fmla="*/ 12069 w 22186"/>
                <a:gd name="connsiteY9" fmla="*/ -243 h 17705"/>
                <a:gd name="connsiteX10" fmla="*/ 10241 w 22186"/>
                <a:gd name="connsiteY10" fmla="*/ -2223 h 17705"/>
                <a:gd name="connsiteX11" fmla="*/ 15128 w 22186"/>
                <a:gd name="connsiteY11" fmla="*/ -4259 h 17705"/>
                <a:gd name="connsiteX12" fmla="*/ 16111 w 22186"/>
                <a:gd name="connsiteY12" fmla="*/ -5723 h 17705"/>
                <a:gd name="connsiteX13" fmla="*/ 15837 w 22186"/>
                <a:gd name="connsiteY13" fmla="*/ -6290 h 1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186" h="17705">
                  <a:moveTo>
                    <a:pt x="15837" y="-6290"/>
                  </a:moveTo>
                  <a:cubicBezTo>
                    <a:pt x="15559" y="-6624"/>
                    <a:pt x="15108" y="-6796"/>
                    <a:pt x="14647" y="-6705"/>
                  </a:cubicBezTo>
                  <a:cubicBezTo>
                    <a:pt x="10338" y="-5864"/>
                    <a:pt x="8160" y="-4593"/>
                    <a:pt x="7785" y="-2705"/>
                  </a:cubicBezTo>
                  <a:cubicBezTo>
                    <a:pt x="7578" y="-1641"/>
                    <a:pt x="7917" y="10"/>
                    <a:pt x="10697" y="1848"/>
                  </a:cubicBezTo>
                  <a:cubicBezTo>
                    <a:pt x="3906" y="11202"/>
                    <a:pt x="-4247" y="7976"/>
                    <a:pt x="-4328" y="7945"/>
                  </a:cubicBezTo>
                  <a:cubicBezTo>
                    <a:pt x="-4966" y="7677"/>
                    <a:pt x="-5695" y="7981"/>
                    <a:pt x="-5954" y="8619"/>
                  </a:cubicBezTo>
                  <a:cubicBezTo>
                    <a:pt x="-6222" y="9257"/>
                    <a:pt x="-5923" y="9986"/>
                    <a:pt x="-5280" y="10250"/>
                  </a:cubicBezTo>
                  <a:cubicBezTo>
                    <a:pt x="-5179" y="10295"/>
                    <a:pt x="4797" y="14245"/>
                    <a:pt x="12718" y="3241"/>
                  </a:cubicBezTo>
                  <a:cubicBezTo>
                    <a:pt x="13103" y="2709"/>
                    <a:pt x="13255" y="2025"/>
                    <a:pt x="13138" y="1372"/>
                  </a:cubicBezTo>
                  <a:cubicBezTo>
                    <a:pt x="13017" y="709"/>
                    <a:pt x="12627" y="131"/>
                    <a:pt x="12069" y="-243"/>
                  </a:cubicBezTo>
                  <a:cubicBezTo>
                    <a:pt x="10631" y="-1190"/>
                    <a:pt x="10186" y="-1955"/>
                    <a:pt x="10241" y="-2223"/>
                  </a:cubicBezTo>
                  <a:cubicBezTo>
                    <a:pt x="10252" y="-2269"/>
                    <a:pt x="10510" y="-3353"/>
                    <a:pt x="15128" y="-4259"/>
                  </a:cubicBezTo>
                  <a:cubicBezTo>
                    <a:pt x="15802" y="-4391"/>
                    <a:pt x="16242" y="-5044"/>
                    <a:pt x="16111" y="-5723"/>
                  </a:cubicBezTo>
                  <a:lnTo>
                    <a:pt x="15837" y="-6290"/>
                  </a:lnTo>
                </a:path>
              </a:pathLst>
            </a:custGeom>
            <a:solidFill>
              <a:srgbClr val="E8E4E2">
                <a:lumMod val="5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7" name="Freeform: Shape 426">
              <a:extLst>
                <a:ext uri="{FF2B5EF4-FFF2-40B4-BE49-F238E27FC236}">
                  <a16:creationId xmlns:a16="http://schemas.microsoft.com/office/drawing/2014/main" id="{A815255C-587A-C9D7-8A9A-AD58951EF85B}"/>
                </a:ext>
              </a:extLst>
            </p:cNvPr>
            <p:cNvSpPr/>
            <p:nvPr/>
          </p:nvSpPr>
          <p:spPr>
            <a:xfrm flipV="1">
              <a:off x="5454629" y="3254560"/>
              <a:ext cx="21588" cy="8618"/>
            </a:xfrm>
            <a:custGeom>
              <a:avLst/>
              <a:gdLst>
                <a:gd name="connsiteX0" fmla="*/ 15523 w 21588"/>
                <a:gd name="connsiteY0" fmla="*/ 1945 h 8618"/>
                <a:gd name="connsiteX1" fmla="*/ -6065 w 21588"/>
                <a:gd name="connsiteY1" fmla="*/ -4912 h 8618"/>
                <a:gd name="connsiteX2" fmla="*/ -733 w 21588"/>
                <a:gd name="connsiteY2" fmla="*/ 56 h 8618"/>
                <a:gd name="connsiteX3" fmla="*/ 15523 w 21588"/>
                <a:gd name="connsiteY3" fmla="*/ 1945 h 8618"/>
              </a:gdLst>
              <a:ahLst/>
              <a:cxnLst>
                <a:cxn ang="0">
                  <a:pos x="connsiteX0" y="connsiteY0"/>
                </a:cxn>
                <a:cxn ang="0">
                  <a:pos x="connsiteX1" y="connsiteY1"/>
                </a:cxn>
                <a:cxn ang="0">
                  <a:pos x="connsiteX2" y="connsiteY2"/>
                </a:cxn>
                <a:cxn ang="0">
                  <a:pos x="connsiteX3" y="connsiteY3"/>
                </a:cxn>
              </a:cxnLst>
              <a:rect l="l" t="t" r="r" b="b"/>
              <a:pathLst>
                <a:path w="21588" h="8618">
                  <a:moveTo>
                    <a:pt x="15523" y="1945"/>
                  </a:moveTo>
                  <a:cubicBezTo>
                    <a:pt x="14328" y="-2526"/>
                    <a:pt x="7856" y="-10128"/>
                    <a:pt x="-6065" y="-4912"/>
                  </a:cubicBezTo>
                  <a:cubicBezTo>
                    <a:pt x="-6065" y="-4912"/>
                    <a:pt x="-5372" y="522"/>
                    <a:pt x="-733" y="56"/>
                  </a:cubicBezTo>
                  <a:cubicBezTo>
                    <a:pt x="-733" y="56"/>
                    <a:pt x="13356" y="-2405"/>
                    <a:pt x="15523" y="1945"/>
                  </a:cubicBezTo>
                </a:path>
              </a:pathLst>
            </a:custGeom>
            <a:solidFill>
              <a:srgbClr val="E8E4E2">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8" name="Freeform: Shape 427">
              <a:extLst>
                <a:ext uri="{FF2B5EF4-FFF2-40B4-BE49-F238E27FC236}">
                  <a16:creationId xmlns:a16="http://schemas.microsoft.com/office/drawing/2014/main" id="{A3E170E2-E2B4-1E89-4C66-8379941C920E}"/>
                </a:ext>
              </a:extLst>
            </p:cNvPr>
            <p:cNvSpPr/>
            <p:nvPr/>
          </p:nvSpPr>
          <p:spPr>
            <a:xfrm flipV="1">
              <a:off x="5513051" y="3244779"/>
              <a:ext cx="24947" cy="19270"/>
            </a:xfrm>
            <a:custGeom>
              <a:avLst/>
              <a:gdLst>
                <a:gd name="connsiteX0" fmla="*/ -3436 w 24947"/>
                <a:gd name="connsiteY0" fmla="*/ 10873 h 19270"/>
                <a:gd name="connsiteX1" fmla="*/ 16031 w 24947"/>
                <a:gd name="connsiteY1" fmla="*/ 12159 h 19270"/>
                <a:gd name="connsiteX2" fmla="*/ 18472 w 24947"/>
                <a:gd name="connsiteY2" fmla="*/ 9885 h 19270"/>
                <a:gd name="connsiteX3" fmla="*/ -5983 w 24947"/>
                <a:gd name="connsiteY3" fmla="*/ 8295 h 19270"/>
                <a:gd name="connsiteX4" fmla="*/ -3436 w 24947"/>
                <a:gd name="connsiteY4" fmla="*/ 10873 h 19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7" h="19270">
                  <a:moveTo>
                    <a:pt x="-3436" y="10873"/>
                  </a:moveTo>
                  <a:cubicBezTo>
                    <a:pt x="924" y="8523"/>
                    <a:pt x="8576" y="6118"/>
                    <a:pt x="16031" y="12159"/>
                  </a:cubicBezTo>
                  <a:cubicBezTo>
                    <a:pt x="17509" y="13359"/>
                    <a:pt x="18031" y="11855"/>
                    <a:pt x="18472" y="9885"/>
                  </a:cubicBezTo>
                  <a:cubicBezTo>
                    <a:pt x="20791" y="-516"/>
                    <a:pt x="9716" y="-20682"/>
                    <a:pt x="-5983" y="8295"/>
                  </a:cubicBezTo>
                  <a:cubicBezTo>
                    <a:pt x="-6788" y="9779"/>
                    <a:pt x="-4788" y="11602"/>
                    <a:pt x="-3436" y="10873"/>
                  </a:cubicBezTo>
                </a:path>
              </a:pathLst>
            </a:custGeom>
            <a:solidFill>
              <a:srgbClr val="FFFFFF"/>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9" name="Freeform: Shape 428">
              <a:extLst>
                <a:ext uri="{FF2B5EF4-FFF2-40B4-BE49-F238E27FC236}">
                  <a16:creationId xmlns:a16="http://schemas.microsoft.com/office/drawing/2014/main" id="{24DB1792-9ECB-D952-81E9-6B20593943AB}"/>
                </a:ext>
              </a:extLst>
            </p:cNvPr>
            <p:cNvSpPr/>
            <p:nvPr/>
          </p:nvSpPr>
          <p:spPr>
            <a:xfrm flipV="1">
              <a:off x="5378443" y="3103466"/>
              <a:ext cx="124880" cy="186714"/>
            </a:xfrm>
            <a:custGeom>
              <a:avLst/>
              <a:gdLst>
                <a:gd name="connsiteX0" fmla="*/ 108269 w 124880"/>
                <a:gd name="connsiteY0" fmla="*/ 178703 h 186714"/>
                <a:gd name="connsiteX1" fmla="*/ 100527 w 124880"/>
                <a:gd name="connsiteY1" fmla="*/ 178530 h 186714"/>
                <a:gd name="connsiteX2" fmla="*/ 78016 w 124880"/>
                <a:gd name="connsiteY2" fmla="*/ 169096 h 186714"/>
                <a:gd name="connsiteX3" fmla="*/ 49277 w 124880"/>
                <a:gd name="connsiteY3" fmla="*/ 164513 h 186714"/>
                <a:gd name="connsiteX4" fmla="*/ 24843 w 124880"/>
                <a:gd name="connsiteY4" fmla="*/ 149812 h 186714"/>
                <a:gd name="connsiteX5" fmla="*/ 22442 w 124880"/>
                <a:gd name="connsiteY5" fmla="*/ 145689 h 186714"/>
                <a:gd name="connsiteX6" fmla="*/ 20002 w 124880"/>
                <a:gd name="connsiteY6" fmla="*/ 150101 h 186714"/>
                <a:gd name="connsiteX7" fmla="*/ 14791 w 124880"/>
                <a:gd name="connsiteY7" fmla="*/ 149640 h 186714"/>
                <a:gd name="connsiteX8" fmla="*/ 16477 w 124880"/>
                <a:gd name="connsiteY8" fmla="*/ 114029 h 186714"/>
                <a:gd name="connsiteX9" fmla="*/ -3298 w 124880"/>
                <a:gd name="connsiteY9" fmla="*/ 92481 h 186714"/>
                <a:gd name="connsiteX10" fmla="*/ -67 w 124880"/>
                <a:gd name="connsiteY10" fmla="*/ 88612 h 186714"/>
                <a:gd name="connsiteX11" fmla="*/ 2738 w 124880"/>
                <a:gd name="connsiteY11" fmla="*/ 89331 h 186714"/>
                <a:gd name="connsiteX12" fmla="*/ 1477 w 124880"/>
                <a:gd name="connsiteY12" fmla="*/ 87766 h 186714"/>
                <a:gd name="connsiteX13" fmla="*/ -5750 w 124880"/>
                <a:gd name="connsiteY13" fmla="*/ 63585 h 186714"/>
                <a:gd name="connsiteX14" fmla="*/ 11342 w 124880"/>
                <a:gd name="connsiteY14" fmla="*/ 37489 h 186714"/>
                <a:gd name="connsiteX15" fmla="*/ 56443 w 124880"/>
                <a:gd name="connsiteY15" fmla="*/ -6812 h 186714"/>
                <a:gd name="connsiteX16" fmla="*/ 75819 w 124880"/>
                <a:gd name="connsiteY16" fmla="*/ 26814 h 186714"/>
                <a:gd name="connsiteX17" fmla="*/ 61284 w 124880"/>
                <a:gd name="connsiteY17" fmla="*/ 35459 h 186714"/>
                <a:gd name="connsiteX18" fmla="*/ 54934 w 124880"/>
                <a:gd name="connsiteY18" fmla="*/ 50489 h 186714"/>
                <a:gd name="connsiteX19" fmla="*/ 63867 w 124880"/>
                <a:gd name="connsiteY19" fmla="*/ 63534 h 186714"/>
                <a:gd name="connsiteX20" fmla="*/ 80949 w 124880"/>
                <a:gd name="connsiteY20" fmla="*/ 62000 h 186714"/>
                <a:gd name="connsiteX21" fmla="*/ 73925 w 124880"/>
                <a:gd name="connsiteY21" fmla="*/ 113051 h 186714"/>
                <a:gd name="connsiteX22" fmla="*/ 103296 w 124880"/>
                <a:gd name="connsiteY22" fmla="*/ 127180 h 186714"/>
                <a:gd name="connsiteX23" fmla="*/ 118798 w 124880"/>
                <a:gd name="connsiteY23" fmla="*/ 154744 h 186714"/>
                <a:gd name="connsiteX24" fmla="*/ 108269 w 124880"/>
                <a:gd name="connsiteY24" fmla="*/ 178703 h 1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4880" h="186714">
                  <a:moveTo>
                    <a:pt x="108269" y="178703"/>
                  </a:moveTo>
                  <a:cubicBezTo>
                    <a:pt x="106001" y="180399"/>
                    <a:pt x="102780" y="180257"/>
                    <a:pt x="100527" y="178530"/>
                  </a:cubicBezTo>
                  <a:cubicBezTo>
                    <a:pt x="94024" y="173542"/>
                    <a:pt x="86160" y="170585"/>
                    <a:pt x="78016" y="169096"/>
                  </a:cubicBezTo>
                  <a:cubicBezTo>
                    <a:pt x="68470" y="167354"/>
                    <a:pt x="58697" y="166848"/>
                    <a:pt x="49277" y="164513"/>
                  </a:cubicBezTo>
                  <a:cubicBezTo>
                    <a:pt x="39853" y="162173"/>
                    <a:pt x="30500" y="157697"/>
                    <a:pt x="24843" y="149812"/>
                  </a:cubicBezTo>
                  <a:cubicBezTo>
                    <a:pt x="23911" y="148510"/>
                    <a:pt x="23146" y="147113"/>
                    <a:pt x="22442" y="145689"/>
                  </a:cubicBezTo>
                  <a:lnTo>
                    <a:pt x="20002" y="150101"/>
                  </a:lnTo>
                  <a:cubicBezTo>
                    <a:pt x="18812" y="152258"/>
                    <a:pt x="15566" y="151979"/>
                    <a:pt x="14791" y="149640"/>
                  </a:cubicBezTo>
                  <a:cubicBezTo>
                    <a:pt x="9635" y="134052"/>
                    <a:pt x="13130" y="121356"/>
                    <a:pt x="16477" y="114029"/>
                  </a:cubicBezTo>
                  <a:cubicBezTo>
                    <a:pt x="16477" y="114029"/>
                    <a:pt x="3882" y="108261"/>
                    <a:pt x="-3298" y="92481"/>
                  </a:cubicBezTo>
                  <a:cubicBezTo>
                    <a:pt x="-4266" y="90359"/>
                    <a:pt x="-2321" y="88034"/>
                    <a:pt x="-67" y="88612"/>
                  </a:cubicBezTo>
                  <a:lnTo>
                    <a:pt x="2738" y="89331"/>
                  </a:lnTo>
                  <a:cubicBezTo>
                    <a:pt x="2328" y="88809"/>
                    <a:pt x="1862" y="88283"/>
                    <a:pt x="1477" y="87766"/>
                  </a:cubicBezTo>
                  <a:cubicBezTo>
                    <a:pt x="-3683" y="80838"/>
                    <a:pt x="-7031" y="72123"/>
                    <a:pt x="-5750" y="63585"/>
                  </a:cubicBezTo>
                  <a:cubicBezTo>
                    <a:pt x="-4180" y="53107"/>
                    <a:pt x="3786" y="44913"/>
                    <a:pt x="11342" y="37489"/>
                  </a:cubicBezTo>
                  <a:cubicBezTo>
                    <a:pt x="26377" y="22722"/>
                    <a:pt x="41408" y="7955"/>
                    <a:pt x="56443" y="-6812"/>
                  </a:cubicBezTo>
                  <a:cubicBezTo>
                    <a:pt x="59132" y="6254"/>
                    <a:pt x="65716" y="18099"/>
                    <a:pt x="75819" y="26814"/>
                  </a:cubicBezTo>
                  <a:cubicBezTo>
                    <a:pt x="70562" y="28723"/>
                    <a:pt x="65199" y="31463"/>
                    <a:pt x="61284" y="35459"/>
                  </a:cubicBezTo>
                  <a:cubicBezTo>
                    <a:pt x="57365" y="39449"/>
                    <a:pt x="54716" y="44898"/>
                    <a:pt x="54934" y="50489"/>
                  </a:cubicBezTo>
                  <a:cubicBezTo>
                    <a:pt x="55157" y="56075"/>
                    <a:pt x="58606" y="61635"/>
                    <a:pt x="63867" y="63534"/>
                  </a:cubicBezTo>
                  <a:cubicBezTo>
                    <a:pt x="69256" y="65484"/>
                    <a:pt x="75581" y="63990"/>
                    <a:pt x="80949" y="62000"/>
                  </a:cubicBezTo>
                  <a:cubicBezTo>
                    <a:pt x="80949" y="62000"/>
                    <a:pt x="95052" y="90673"/>
                    <a:pt x="73925" y="113051"/>
                  </a:cubicBezTo>
                  <a:cubicBezTo>
                    <a:pt x="84387" y="115897"/>
                    <a:pt x="94870" y="120354"/>
                    <a:pt x="103296" y="127180"/>
                  </a:cubicBezTo>
                  <a:cubicBezTo>
                    <a:pt x="111728" y="134012"/>
                    <a:pt x="118079" y="143922"/>
                    <a:pt x="118798" y="154744"/>
                  </a:cubicBezTo>
                  <a:cubicBezTo>
                    <a:pt x="119395" y="163819"/>
                    <a:pt x="115440" y="173340"/>
                    <a:pt x="108269" y="178703"/>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0" name="Freeform: Shape 429">
              <a:extLst>
                <a:ext uri="{FF2B5EF4-FFF2-40B4-BE49-F238E27FC236}">
                  <a16:creationId xmlns:a16="http://schemas.microsoft.com/office/drawing/2014/main" id="{18C935CE-03BF-8FBE-902A-A383685C54B2}"/>
                </a:ext>
              </a:extLst>
            </p:cNvPr>
            <p:cNvSpPr/>
            <p:nvPr/>
          </p:nvSpPr>
          <p:spPr>
            <a:xfrm flipV="1">
              <a:off x="5460665" y="3175217"/>
              <a:ext cx="65655" cy="46036"/>
            </a:xfrm>
            <a:custGeom>
              <a:avLst/>
              <a:gdLst>
                <a:gd name="connsiteX0" fmla="*/ 56834 w 65655"/>
                <a:gd name="connsiteY0" fmla="*/ 8966 h 46036"/>
                <a:gd name="connsiteX1" fmla="*/ 48103 w 65655"/>
                <a:gd name="connsiteY1" fmla="*/ -2717 h 46036"/>
                <a:gd name="connsiteX2" fmla="*/ 33534 w 65655"/>
                <a:gd name="connsiteY2" fmla="*/ -3405 h 46036"/>
                <a:gd name="connsiteX3" fmla="*/ 21521 w 65655"/>
                <a:gd name="connsiteY3" fmla="*/ 7432 h 46036"/>
                <a:gd name="connsiteX4" fmla="*/ 19278 w 65655"/>
                <a:gd name="connsiteY4" fmla="*/ 23450 h 46036"/>
                <a:gd name="connsiteX5" fmla="*/ 28003 w 65655"/>
                <a:gd name="connsiteY5" fmla="*/ 35133 h 46036"/>
                <a:gd name="connsiteX6" fmla="*/ 35473 w 65655"/>
                <a:gd name="connsiteY6" fmla="*/ 37077 h 46036"/>
                <a:gd name="connsiteX7" fmla="*/ 42568 w 65655"/>
                <a:gd name="connsiteY7" fmla="*/ 35826 h 46036"/>
                <a:gd name="connsiteX8" fmla="*/ 54585 w 65655"/>
                <a:gd name="connsiteY8" fmla="*/ 24984 h 46036"/>
                <a:gd name="connsiteX9" fmla="*/ 56834 w 65655"/>
                <a:gd name="connsiteY9" fmla="*/ 8966 h 46036"/>
                <a:gd name="connsiteX10" fmla="*/ 56469 w 65655"/>
                <a:gd name="connsiteY10" fmla="*/ 25987 h 46036"/>
                <a:gd name="connsiteX11" fmla="*/ 43328 w 65655"/>
                <a:gd name="connsiteY11" fmla="*/ 37822 h 46036"/>
                <a:gd name="connsiteX12" fmla="*/ 27001 w 65655"/>
                <a:gd name="connsiteY12" fmla="*/ 37022 h 46036"/>
                <a:gd name="connsiteX13" fmla="*/ 17192 w 65655"/>
                <a:gd name="connsiteY13" fmla="*/ 23946 h 46036"/>
                <a:gd name="connsiteX14" fmla="*/ 17293 w 65655"/>
                <a:gd name="connsiteY14" fmla="*/ 12962 h 46036"/>
                <a:gd name="connsiteX15" fmla="*/ -6113 w 65655"/>
                <a:gd name="connsiteY15" fmla="*/ -5507 h 46036"/>
                <a:gd name="connsiteX16" fmla="*/ -4017 w 65655"/>
                <a:gd name="connsiteY16" fmla="*/ -5917 h 46036"/>
                <a:gd name="connsiteX17" fmla="*/ 17774 w 65655"/>
                <a:gd name="connsiteY17" fmla="*/ 10881 h 46036"/>
                <a:gd name="connsiteX18" fmla="*/ 19632 w 65655"/>
                <a:gd name="connsiteY18" fmla="*/ 6429 h 46036"/>
                <a:gd name="connsiteX19" fmla="*/ 32779 w 65655"/>
                <a:gd name="connsiteY19" fmla="*/ -5401 h 46036"/>
                <a:gd name="connsiteX20" fmla="*/ 40684 w 65655"/>
                <a:gd name="connsiteY20" fmla="*/ -6803 h 46036"/>
                <a:gd name="connsiteX21" fmla="*/ 49106 w 65655"/>
                <a:gd name="connsiteY21" fmla="*/ -4605 h 46036"/>
                <a:gd name="connsiteX22" fmla="*/ 58910 w 65655"/>
                <a:gd name="connsiteY22" fmla="*/ 8475 h 46036"/>
                <a:gd name="connsiteX23" fmla="*/ 56469 w 65655"/>
                <a:gd name="connsiteY23" fmla="*/ 25987 h 4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655" h="46036">
                  <a:moveTo>
                    <a:pt x="56834" y="8966"/>
                  </a:moveTo>
                  <a:cubicBezTo>
                    <a:pt x="55593" y="3765"/>
                    <a:pt x="52494" y="-387"/>
                    <a:pt x="48103" y="-2717"/>
                  </a:cubicBezTo>
                  <a:cubicBezTo>
                    <a:pt x="43718" y="-5051"/>
                    <a:pt x="38532" y="-5294"/>
                    <a:pt x="33534" y="-3405"/>
                  </a:cubicBezTo>
                  <a:cubicBezTo>
                    <a:pt x="28485" y="-1496"/>
                    <a:pt x="24215" y="2353"/>
                    <a:pt x="21521" y="7432"/>
                  </a:cubicBezTo>
                  <a:cubicBezTo>
                    <a:pt x="18827" y="12511"/>
                    <a:pt x="18032" y="18198"/>
                    <a:pt x="19278" y="23450"/>
                  </a:cubicBezTo>
                  <a:cubicBezTo>
                    <a:pt x="20514" y="28656"/>
                    <a:pt x="23613" y="32803"/>
                    <a:pt x="28003" y="35133"/>
                  </a:cubicBezTo>
                  <a:cubicBezTo>
                    <a:pt x="30323" y="36368"/>
                    <a:pt x="32855" y="37017"/>
                    <a:pt x="35473" y="37077"/>
                  </a:cubicBezTo>
                  <a:cubicBezTo>
                    <a:pt x="37808" y="37133"/>
                    <a:pt x="40208" y="36713"/>
                    <a:pt x="42568" y="35826"/>
                  </a:cubicBezTo>
                  <a:cubicBezTo>
                    <a:pt x="47622" y="33912"/>
                    <a:pt x="51886" y="30064"/>
                    <a:pt x="54585" y="24984"/>
                  </a:cubicBezTo>
                  <a:cubicBezTo>
                    <a:pt x="57279" y="19910"/>
                    <a:pt x="58079" y="14218"/>
                    <a:pt x="56834" y="8966"/>
                  </a:cubicBezTo>
                  <a:close/>
                  <a:moveTo>
                    <a:pt x="56469" y="25987"/>
                  </a:moveTo>
                  <a:cubicBezTo>
                    <a:pt x="53532" y="31527"/>
                    <a:pt x="48863" y="35730"/>
                    <a:pt x="43328" y="37822"/>
                  </a:cubicBezTo>
                  <a:cubicBezTo>
                    <a:pt x="37737" y="39944"/>
                    <a:pt x="31943" y="39655"/>
                    <a:pt x="27001" y="37022"/>
                  </a:cubicBezTo>
                  <a:cubicBezTo>
                    <a:pt x="22053" y="34403"/>
                    <a:pt x="18574" y="29755"/>
                    <a:pt x="17192" y="23946"/>
                  </a:cubicBezTo>
                  <a:cubicBezTo>
                    <a:pt x="16341" y="20371"/>
                    <a:pt x="16457" y="16623"/>
                    <a:pt x="17293" y="12962"/>
                  </a:cubicBezTo>
                  <a:cubicBezTo>
                    <a:pt x="12857" y="12228"/>
                    <a:pt x="-3369" y="8586"/>
                    <a:pt x="-6113" y="-5507"/>
                  </a:cubicBezTo>
                  <a:lnTo>
                    <a:pt x="-4017" y="-5917"/>
                  </a:lnTo>
                  <a:cubicBezTo>
                    <a:pt x="-1495" y="7012"/>
                    <a:pt x="13930" y="10268"/>
                    <a:pt x="17774" y="10881"/>
                  </a:cubicBezTo>
                  <a:cubicBezTo>
                    <a:pt x="18255" y="9366"/>
                    <a:pt x="18868" y="7873"/>
                    <a:pt x="19632" y="6429"/>
                  </a:cubicBezTo>
                  <a:cubicBezTo>
                    <a:pt x="22575" y="889"/>
                    <a:pt x="27239" y="-3309"/>
                    <a:pt x="32779" y="-5401"/>
                  </a:cubicBezTo>
                  <a:cubicBezTo>
                    <a:pt x="35402" y="-6398"/>
                    <a:pt x="38076" y="-6864"/>
                    <a:pt x="40684" y="-6803"/>
                  </a:cubicBezTo>
                  <a:cubicBezTo>
                    <a:pt x="43626" y="-6733"/>
                    <a:pt x="46487" y="-5998"/>
                    <a:pt x="49106" y="-4605"/>
                  </a:cubicBezTo>
                  <a:cubicBezTo>
                    <a:pt x="54048" y="-1987"/>
                    <a:pt x="57527" y="2662"/>
                    <a:pt x="58910" y="8475"/>
                  </a:cubicBezTo>
                  <a:cubicBezTo>
                    <a:pt x="60277" y="14228"/>
                    <a:pt x="59411" y="20452"/>
                    <a:pt x="56469" y="25987"/>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1" name="Freeform: Shape 430">
              <a:extLst>
                <a:ext uri="{FF2B5EF4-FFF2-40B4-BE49-F238E27FC236}">
                  <a16:creationId xmlns:a16="http://schemas.microsoft.com/office/drawing/2014/main" id="{1C39C105-FF27-C5E5-4CB7-25125E2D9696}"/>
                </a:ext>
              </a:extLst>
            </p:cNvPr>
            <p:cNvSpPr/>
            <p:nvPr/>
          </p:nvSpPr>
          <p:spPr>
            <a:xfrm flipV="1">
              <a:off x="5530918" y="3323098"/>
              <a:ext cx="97679" cy="370861"/>
            </a:xfrm>
            <a:custGeom>
              <a:avLst/>
              <a:gdLst>
                <a:gd name="connsiteX0" fmla="*/ 821 w 97679"/>
                <a:gd name="connsiteY0" fmla="*/ 364748 h 370861"/>
                <a:gd name="connsiteX1" fmla="*/ 12296 w 97679"/>
                <a:gd name="connsiteY1" fmla="*/ 323809 h 370861"/>
                <a:gd name="connsiteX2" fmla="*/ 91307 w 97679"/>
                <a:gd name="connsiteY2" fmla="*/ 29882 h 370861"/>
                <a:gd name="connsiteX3" fmla="*/ 66741 w 97679"/>
                <a:gd name="connsiteY3" fmla="*/ -6114 h 370861"/>
                <a:gd name="connsiteX4" fmla="*/ 26390 w 97679"/>
                <a:gd name="connsiteY4" fmla="*/ 27041 h 370861"/>
                <a:gd name="connsiteX5" fmla="*/ 3540 w 97679"/>
                <a:gd name="connsiteY5" fmla="*/ 320477 h 370861"/>
                <a:gd name="connsiteX6" fmla="*/ 821 w 97679"/>
                <a:gd name="connsiteY6" fmla="*/ 364748 h 370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79" h="370861">
                  <a:moveTo>
                    <a:pt x="821" y="364748"/>
                  </a:moveTo>
                  <a:cubicBezTo>
                    <a:pt x="821" y="364748"/>
                    <a:pt x="20323" y="352386"/>
                    <a:pt x="12296" y="323809"/>
                  </a:cubicBezTo>
                  <a:cubicBezTo>
                    <a:pt x="12296" y="323809"/>
                    <a:pt x="94862" y="222476"/>
                    <a:pt x="91307" y="29882"/>
                  </a:cubicBezTo>
                  <a:lnTo>
                    <a:pt x="66741" y="-6114"/>
                  </a:lnTo>
                  <a:lnTo>
                    <a:pt x="26390" y="27041"/>
                  </a:lnTo>
                  <a:cubicBezTo>
                    <a:pt x="26390" y="27041"/>
                    <a:pt x="71096" y="225651"/>
                    <a:pt x="3540" y="320477"/>
                  </a:cubicBezTo>
                  <a:cubicBezTo>
                    <a:pt x="3540" y="320477"/>
                    <a:pt x="-16570" y="343706"/>
                    <a:pt x="821" y="364748"/>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2" name="Freeform: Shape 431">
              <a:extLst>
                <a:ext uri="{FF2B5EF4-FFF2-40B4-BE49-F238E27FC236}">
                  <a16:creationId xmlns:a16="http://schemas.microsoft.com/office/drawing/2014/main" id="{C75F792F-78B3-36ED-5154-BFDD29BD5442}"/>
                </a:ext>
              </a:extLst>
            </p:cNvPr>
            <p:cNvSpPr/>
            <p:nvPr/>
          </p:nvSpPr>
          <p:spPr>
            <a:xfrm flipV="1">
              <a:off x="5436605" y="3314818"/>
              <a:ext cx="101201" cy="47007"/>
            </a:xfrm>
            <a:custGeom>
              <a:avLst/>
              <a:gdLst>
                <a:gd name="connsiteX0" fmla="*/ -6103 w 101201"/>
                <a:gd name="connsiteY0" fmla="*/ 39753 h 47007"/>
                <a:gd name="connsiteX1" fmla="*/ 95099 w 101201"/>
                <a:gd name="connsiteY1" fmla="*/ 40513 h 47007"/>
                <a:gd name="connsiteX2" fmla="*/ 90060 w 101201"/>
                <a:gd name="connsiteY2" fmla="*/ -6472 h 47007"/>
                <a:gd name="connsiteX3" fmla="*/ -5257 w 101201"/>
                <a:gd name="connsiteY3" fmla="*/ 17592 h 47007"/>
                <a:gd name="connsiteX4" fmla="*/ -6103 w 101201"/>
                <a:gd name="connsiteY4" fmla="*/ 39753 h 47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01" h="47007">
                  <a:moveTo>
                    <a:pt x="-6103" y="39753"/>
                  </a:moveTo>
                  <a:lnTo>
                    <a:pt x="95099" y="40513"/>
                  </a:lnTo>
                  <a:cubicBezTo>
                    <a:pt x="95099" y="40513"/>
                    <a:pt x="90080" y="-7688"/>
                    <a:pt x="90060" y="-6472"/>
                  </a:cubicBezTo>
                  <a:cubicBezTo>
                    <a:pt x="90045" y="-5257"/>
                    <a:pt x="-5257" y="17592"/>
                    <a:pt x="-5257" y="17592"/>
                  </a:cubicBezTo>
                  <a:lnTo>
                    <a:pt x="-6103" y="39753"/>
                  </a:ln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3" name="Freeform: Shape 432">
              <a:extLst>
                <a:ext uri="{FF2B5EF4-FFF2-40B4-BE49-F238E27FC236}">
                  <a16:creationId xmlns:a16="http://schemas.microsoft.com/office/drawing/2014/main" id="{FC85D7A5-02CD-58C2-2099-92A8BF81BB9E}"/>
                </a:ext>
              </a:extLst>
            </p:cNvPr>
            <p:cNvSpPr/>
            <p:nvPr/>
          </p:nvSpPr>
          <p:spPr>
            <a:xfrm flipV="1">
              <a:off x="5188577" y="4701418"/>
              <a:ext cx="133866" cy="170084"/>
            </a:xfrm>
            <a:custGeom>
              <a:avLst/>
              <a:gdLst>
                <a:gd name="connsiteX0" fmla="*/ 115314 w 133866"/>
                <a:gd name="connsiteY0" fmla="*/ 113 h 170084"/>
                <a:gd name="connsiteX1" fmla="*/ 23152 w 133866"/>
                <a:gd name="connsiteY1" fmla="*/ -3254 h 170084"/>
                <a:gd name="connsiteX2" fmla="*/ -5415 w 133866"/>
                <a:gd name="connsiteY2" fmla="*/ 29450 h 170084"/>
                <a:gd name="connsiteX3" fmla="*/ -1 w 133866"/>
                <a:gd name="connsiteY3" fmla="*/ 51925 h 170084"/>
                <a:gd name="connsiteX4" fmla="*/ 29396 w 133866"/>
                <a:gd name="connsiteY4" fmla="*/ 165336 h 170084"/>
                <a:gd name="connsiteX5" fmla="*/ 94121 w 133866"/>
                <a:gd name="connsiteY5" fmla="*/ 166830 h 170084"/>
                <a:gd name="connsiteX6" fmla="*/ 116722 w 133866"/>
                <a:gd name="connsiteY6" fmla="*/ 36185 h 170084"/>
                <a:gd name="connsiteX7" fmla="*/ 127630 w 133866"/>
                <a:gd name="connsiteY7" fmla="*/ 15635 h 170084"/>
                <a:gd name="connsiteX8" fmla="*/ 127686 w 133866"/>
                <a:gd name="connsiteY8" fmla="*/ 15478 h 170084"/>
                <a:gd name="connsiteX9" fmla="*/ 115314 w 133866"/>
                <a:gd name="connsiteY9" fmla="*/ 113 h 170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866" h="170084">
                  <a:moveTo>
                    <a:pt x="115314" y="113"/>
                  </a:moveTo>
                  <a:lnTo>
                    <a:pt x="23152" y="-3254"/>
                  </a:lnTo>
                  <a:cubicBezTo>
                    <a:pt x="5919" y="-2854"/>
                    <a:pt x="-7907" y="12333"/>
                    <a:pt x="-5415" y="29450"/>
                  </a:cubicBezTo>
                  <a:cubicBezTo>
                    <a:pt x="-4311" y="37066"/>
                    <a:pt x="-2245" y="44759"/>
                    <a:pt x="-1" y="51925"/>
                  </a:cubicBezTo>
                  <a:cubicBezTo>
                    <a:pt x="12046" y="90387"/>
                    <a:pt x="18974" y="128140"/>
                    <a:pt x="29396" y="165336"/>
                  </a:cubicBezTo>
                  <a:lnTo>
                    <a:pt x="94121" y="166830"/>
                  </a:lnTo>
                  <a:cubicBezTo>
                    <a:pt x="76138" y="126205"/>
                    <a:pt x="92404" y="77012"/>
                    <a:pt x="116722" y="36185"/>
                  </a:cubicBezTo>
                  <a:cubicBezTo>
                    <a:pt x="120672" y="29485"/>
                    <a:pt x="125316" y="23069"/>
                    <a:pt x="127630" y="15635"/>
                  </a:cubicBezTo>
                  <a:lnTo>
                    <a:pt x="127686" y="15478"/>
                  </a:lnTo>
                  <a:cubicBezTo>
                    <a:pt x="130005" y="7619"/>
                    <a:pt x="123503" y="-125"/>
                    <a:pt x="115314" y="113"/>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4" name="Freeform: Shape 433">
              <a:extLst>
                <a:ext uri="{FF2B5EF4-FFF2-40B4-BE49-F238E27FC236}">
                  <a16:creationId xmlns:a16="http://schemas.microsoft.com/office/drawing/2014/main" id="{5D9D3695-F396-E324-E2D4-EEFC634A1D74}"/>
                </a:ext>
              </a:extLst>
            </p:cNvPr>
            <p:cNvSpPr/>
            <p:nvPr/>
          </p:nvSpPr>
          <p:spPr>
            <a:xfrm flipV="1">
              <a:off x="5726569" y="4502600"/>
              <a:ext cx="209357" cy="128442"/>
            </a:xfrm>
            <a:custGeom>
              <a:avLst/>
              <a:gdLst>
                <a:gd name="connsiteX0" fmla="*/ 201949 w 209357"/>
                <a:gd name="connsiteY0" fmla="*/ 23480 h 128442"/>
                <a:gd name="connsiteX1" fmla="*/ 185830 w 209357"/>
                <a:gd name="connsiteY1" fmla="*/ 36616 h 128442"/>
                <a:gd name="connsiteX2" fmla="*/ 75913 w 209357"/>
                <a:gd name="connsiteY2" fmla="*/ 124697 h 128442"/>
                <a:gd name="connsiteX3" fmla="*/ 22471 w 209357"/>
                <a:gd name="connsiteY3" fmla="*/ 123461 h 128442"/>
                <a:gd name="connsiteX4" fmla="*/ -5650 w 209357"/>
                <a:gd name="connsiteY4" fmla="*/ 22766 h 128442"/>
                <a:gd name="connsiteX5" fmla="*/ 13954 w 209357"/>
                <a:gd name="connsiteY5" fmla="*/ -3740 h 128442"/>
                <a:gd name="connsiteX6" fmla="*/ 184853 w 209357"/>
                <a:gd name="connsiteY6" fmla="*/ 225 h 128442"/>
                <a:gd name="connsiteX7" fmla="*/ 201949 w 209357"/>
                <a:gd name="connsiteY7" fmla="*/ 23480 h 12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357" h="128442">
                  <a:moveTo>
                    <a:pt x="201949" y="23480"/>
                  </a:moveTo>
                  <a:cubicBezTo>
                    <a:pt x="199843" y="30797"/>
                    <a:pt x="193432" y="36074"/>
                    <a:pt x="185830" y="36616"/>
                  </a:cubicBezTo>
                  <a:cubicBezTo>
                    <a:pt x="155886" y="38738"/>
                    <a:pt x="81874" y="51413"/>
                    <a:pt x="75913" y="124697"/>
                  </a:cubicBezTo>
                  <a:lnTo>
                    <a:pt x="22471" y="123461"/>
                  </a:lnTo>
                  <a:lnTo>
                    <a:pt x="-5650" y="22766"/>
                  </a:lnTo>
                  <a:cubicBezTo>
                    <a:pt x="-10040" y="9528"/>
                    <a:pt x="7" y="-4064"/>
                    <a:pt x="13954" y="-3740"/>
                  </a:cubicBezTo>
                  <a:lnTo>
                    <a:pt x="184853" y="225"/>
                  </a:lnTo>
                  <a:cubicBezTo>
                    <a:pt x="196789" y="504"/>
                    <a:pt x="205241" y="11994"/>
                    <a:pt x="201949" y="23480"/>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5" name="Freeform: Shape 434">
              <a:extLst>
                <a:ext uri="{FF2B5EF4-FFF2-40B4-BE49-F238E27FC236}">
                  <a16:creationId xmlns:a16="http://schemas.microsoft.com/office/drawing/2014/main" id="{3ABCC4CE-279F-3A59-E797-59B0C895D71B}"/>
                </a:ext>
              </a:extLst>
            </p:cNvPr>
            <p:cNvSpPr/>
            <p:nvPr/>
          </p:nvSpPr>
          <p:spPr>
            <a:xfrm flipV="1">
              <a:off x="5209064" y="3761757"/>
              <a:ext cx="765181" cy="960075"/>
            </a:xfrm>
            <a:custGeom>
              <a:avLst/>
              <a:gdLst>
                <a:gd name="connsiteX0" fmla="*/ 730433 w 765181"/>
                <a:gd name="connsiteY0" fmla="*/ 728272 h 960075"/>
                <a:gd name="connsiteX1" fmla="*/ 441636 w 765181"/>
                <a:gd name="connsiteY1" fmla="*/ 932276 h 960075"/>
                <a:gd name="connsiteX2" fmla="*/ 230077 w 765181"/>
                <a:gd name="connsiteY2" fmla="*/ 951940 h 960075"/>
                <a:gd name="connsiteX3" fmla="*/ 205612 w 765181"/>
                <a:gd name="connsiteY3" fmla="*/ 893920 h 960075"/>
                <a:gd name="connsiteX4" fmla="*/ 176205 w 765181"/>
                <a:gd name="connsiteY4" fmla="*/ 783258 h 960075"/>
                <a:gd name="connsiteX5" fmla="*/ 125644 w 765181"/>
                <a:gd name="connsiteY5" fmla="*/ 466993 h 960075"/>
                <a:gd name="connsiteX6" fmla="*/ -6281 w 765181"/>
                <a:gd name="connsiteY6" fmla="*/ 7985 h 960075"/>
                <a:gd name="connsiteX7" fmla="*/ 79930 w 765181"/>
                <a:gd name="connsiteY7" fmla="*/ 4638 h 960075"/>
                <a:gd name="connsiteX8" fmla="*/ 236873 w 765181"/>
                <a:gd name="connsiteY8" fmla="*/ 428698 h 960075"/>
                <a:gd name="connsiteX9" fmla="*/ 376177 w 765181"/>
                <a:gd name="connsiteY9" fmla="*/ 744077 h 960075"/>
                <a:gd name="connsiteX10" fmla="*/ 622603 w 765181"/>
                <a:gd name="connsiteY10" fmla="*/ 627901 h 960075"/>
                <a:gd name="connsiteX11" fmla="*/ 529818 w 765181"/>
                <a:gd name="connsiteY11" fmla="*/ 207790 h 960075"/>
                <a:gd name="connsiteX12" fmla="*/ 616536 w 765181"/>
                <a:gd name="connsiteY12" fmla="*/ 197141 h 960075"/>
                <a:gd name="connsiteX13" fmla="*/ 750128 w 765181"/>
                <a:gd name="connsiteY13" fmla="*/ 610531 h 960075"/>
                <a:gd name="connsiteX14" fmla="*/ 730433 w 765181"/>
                <a:gd name="connsiteY14" fmla="*/ 728272 h 96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5181" h="960075">
                  <a:moveTo>
                    <a:pt x="730433" y="728272"/>
                  </a:moveTo>
                  <a:cubicBezTo>
                    <a:pt x="614880" y="856273"/>
                    <a:pt x="441636" y="932276"/>
                    <a:pt x="441636" y="932276"/>
                  </a:cubicBezTo>
                  <a:cubicBezTo>
                    <a:pt x="441636" y="932276"/>
                    <a:pt x="285083" y="966656"/>
                    <a:pt x="230077" y="951940"/>
                  </a:cubicBezTo>
                  <a:lnTo>
                    <a:pt x="205612" y="893920"/>
                  </a:lnTo>
                  <a:cubicBezTo>
                    <a:pt x="191984" y="858157"/>
                    <a:pt x="182125" y="821067"/>
                    <a:pt x="176205" y="783258"/>
                  </a:cubicBezTo>
                  <a:lnTo>
                    <a:pt x="125644" y="466993"/>
                  </a:lnTo>
                  <a:cubicBezTo>
                    <a:pt x="125644" y="466993"/>
                    <a:pt x="35989" y="283408"/>
                    <a:pt x="-6281" y="7985"/>
                  </a:cubicBezTo>
                  <a:cubicBezTo>
                    <a:pt x="-6281" y="7985"/>
                    <a:pt x="41524" y="-17660"/>
                    <a:pt x="79930" y="4638"/>
                  </a:cubicBezTo>
                  <a:cubicBezTo>
                    <a:pt x="79930" y="4638"/>
                    <a:pt x="149365" y="294311"/>
                    <a:pt x="236873" y="428698"/>
                  </a:cubicBezTo>
                  <a:cubicBezTo>
                    <a:pt x="236873" y="428698"/>
                    <a:pt x="315752" y="596058"/>
                    <a:pt x="376177" y="744077"/>
                  </a:cubicBezTo>
                  <a:cubicBezTo>
                    <a:pt x="482301" y="699108"/>
                    <a:pt x="622603" y="627901"/>
                    <a:pt x="622603" y="627901"/>
                  </a:cubicBezTo>
                  <a:lnTo>
                    <a:pt x="529818" y="207790"/>
                  </a:lnTo>
                  <a:cubicBezTo>
                    <a:pt x="558617" y="167586"/>
                    <a:pt x="616536" y="197141"/>
                    <a:pt x="616536" y="197141"/>
                  </a:cubicBezTo>
                  <a:lnTo>
                    <a:pt x="750128" y="610531"/>
                  </a:lnTo>
                  <a:cubicBezTo>
                    <a:pt x="766849" y="650274"/>
                    <a:pt x="759329" y="696261"/>
                    <a:pt x="730433" y="728272"/>
                  </a:cubicBezTo>
                </a:path>
              </a:pathLst>
            </a:custGeom>
            <a:solidFill>
              <a:srgbClr val="74B6D6"/>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6" name="Freeform: Shape 435">
              <a:extLst>
                <a:ext uri="{FF2B5EF4-FFF2-40B4-BE49-F238E27FC236}">
                  <a16:creationId xmlns:a16="http://schemas.microsoft.com/office/drawing/2014/main" id="{BD193F55-F0C7-8786-CFE8-199222D40F1E}"/>
                </a:ext>
              </a:extLst>
            </p:cNvPr>
            <p:cNvSpPr/>
            <p:nvPr/>
          </p:nvSpPr>
          <p:spPr>
            <a:xfrm flipV="1">
              <a:off x="5445453" y="3738767"/>
              <a:ext cx="214811" cy="46306"/>
            </a:xfrm>
            <a:custGeom>
              <a:avLst/>
              <a:gdLst>
                <a:gd name="connsiteX0" fmla="*/ 206889 w 214811"/>
                <a:gd name="connsiteY0" fmla="*/ 94 h 46306"/>
                <a:gd name="connsiteX1" fmla="*/ 205324 w 214811"/>
                <a:gd name="connsiteY1" fmla="*/ -5547 h 46306"/>
                <a:gd name="connsiteX2" fmla="*/ 184784 w 214811"/>
                <a:gd name="connsiteY2" fmla="*/ -3511 h 46306"/>
                <a:gd name="connsiteX3" fmla="*/ 89092 w 214811"/>
                <a:gd name="connsiteY3" fmla="*/ 1097 h 46306"/>
                <a:gd name="connsiteX4" fmla="*/ 73869 w 214811"/>
                <a:gd name="connsiteY4" fmla="*/ 2789 h 46306"/>
                <a:gd name="connsiteX5" fmla="*/ -6215 w 214811"/>
                <a:gd name="connsiteY5" fmla="*/ 14127 h 46306"/>
                <a:gd name="connsiteX6" fmla="*/ -3329 w 214811"/>
                <a:gd name="connsiteY6" fmla="*/ 40759 h 46306"/>
                <a:gd name="connsiteX7" fmla="*/ 75404 w 214811"/>
                <a:gd name="connsiteY7" fmla="*/ 29856 h 46306"/>
                <a:gd name="connsiteX8" fmla="*/ 90682 w 214811"/>
                <a:gd name="connsiteY8" fmla="*/ 28286 h 46306"/>
                <a:gd name="connsiteX9" fmla="*/ 206129 w 214811"/>
                <a:gd name="connsiteY9" fmla="*/ 27871 h 46306"/>
                <a:gd name="connsiteX10" fmla="*/ 206185 w 214811"/>
                <a:gd name="connsiteY10" fmla="*/ 27871 h 46306"/>
                <a:gd name="connsiteX11" fmla="*/ 206479 w 214811"/>
                <a:gd name="connsiteY11" fmla="*/ 27937 h 46306"/>
                <a:gd name="connsiteX12" fmla="*/ 206889 w 214811"/>
                <a:gd name="connsiteY12" fmla="*/ 94 h 46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4811" h="46306">
                  <a:moveTo>
                    <a:pt x="206889" y="94"/>
                  </a:moveTo>
                  <a:cubicBezTo>
                    <a:pt x="206463" y="-1724"/>
                    <a:pt x="205982" y="-3602"/>
                    <a:pt x="205324" y="-5547"/>
                  </a:cubicBezTo>
                  <a:lnTo>
                    <a:pt x="184784" y="-3511"/>
                  </a:lnTo>
                  <a:cubicBezTo>
                    <a:pt x="159833" y="-5203"/>
                    <a:pt x="123452" y="-2600"/>
                    <a:pt x="89092" y="1097"/>
                  </a:cubicBezTo>
                  <a:cubicBezTo>
                    <a:pt x="83942" y="1680"/>
                    <a:pt x="78847" y="2262"/>
                    <a:pt x="73869" y="2789"/>
                  </a:cubicBezTo>
                  <a:cubicBezTo>
                    <a:pt x="30368" y="7969"/>
                    <a:pt x="-6215" y="14127"/>
                    <a:pt x="-6215" y="14127"/>
                  </a:cubicBezTo>
                  <a:cubicBezTo>
                    <a:pt x="-5076" y="22969"/>
                    <a:pt x="-4174" y="31867"/>
                    <a:pt x="-3329" y="40759"/>
                  </a:cubicBezTo>
                  <a:cubicBezTo>
                    <a:pt x="-3329" y="40759"/>
                    <a:pt x="32373" y="34703"/>
                    <a:pt x="75404" y="29856"/>
                  </a:cubicBezTo>
                  <a:cubicBezTo>
                    <a:pt x="80437" y="29335"/>
                    <a:pt x="85527" y="28752"/>
                    <a:pt x="90682" y="28286"/>
                  </a:cubicBezTo>
                  <a:cubicBezTo>
                    <a:pt x="134284" y="23866"/>
                    <a:pt x="181811" y="21409"/>
                    <a:pt x="206129" y="27871"/>
                  </a:cubicBezTo>
                  <a:lnTo>
                    <a:pt x="206185" y="27871"/>
                  </a:lnTo>
                  <a:lnTo>
                    <a:pt x="206479" y="27937"/>
                  </a:lnTo>
                  <a:cubicBezTo>
                    <a:pt x="207096" y="26372"/>
                    <a:pt x="210661" y="16122"/>
                    <a:pt x="206889" y="94"/>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7" name="Freeform: Shape 436">
              <a:extLst>
                <a:ext uri="{FF2B5EF4-FFF2-40B4-BE49-F238E27FC236}">
                  <a16:creationId xmlns:a16="http://schemas.microsoft.com/office/drawing/2014/main" id="{7C541B89-7CE6-A725-76B5-BE22E2563181}"/>
                </a:ext>
              </a:extLst>
            </p:cNvPr>
            <p:cNvSpPr/>
            <p:nvPr/>
          </p:nvSpPr>
          <p:spPr>
            <a:xfrm flipV="1">
              <a:off x="5629640" y="3746202"/>
              <a:ext cx="33706" cy="40518"/>
            </a:xfrm>
            <a:custGeom>
              <a:avLst/>
              <a:gdLst>
                <a:gd name="connsiteX0" fmla="*/ 19710 w 33706"/>
                <a:gd name="connsiteY0" fmla="*/ 34967 h 40518"/>
                <a:gd name="connsiteX1" fmla="*/ -3063 w 33706"/>
                <a:gd name="connsiteY1" fmla="*/ 32941 h 40518"/>
                <a:gd name="connsiteX2" fmla="*/ -6350 w 33706"/>
                <a:gd name="connsiteY2" fmla="*/ 28662 h 40518"/>
                <a:gd name="connsiteX3" fmla="*/ -2572 w 33706"/>
                <a:gd name="connsiteY3" fmla="*/ -2250 h 40518"/>
                <a:gd name="connsiteX4" fmla="*/ 1707 w 33706"/>
                <a:gd name="connsiteY4" fmla="*/ -5536 h 40518"/>
                <a:gd name="connsiteX5" fmla="*/ 24126 w 33706"/>
                <a:gd name="connsiteY5" fmla="*/ -5009 h 40518"/>
                <a:gd name="connsiteX6" fmla="*/ 23134 w 33706"/>
                <a:gd name="connsiteY6" fmla="*/ 2556 h 40518"/>
                <a:gd name="connsiteX7" fmla="*/ 4599 w 33706"/>
                <a:gd name="connsiteY7" fmla="*/ 2085 h 40518"/>
                <a:gd name="connsiteX8" fmla="*/ 1687 w 33706"/>
                <a:gd name="connsiteY8" fmla="*/ 25674 h 40518"/>
                <a:gd name="connsiteX9" fmla="*/ 20703 w 33706"/>
                <a:gd name="connsiteY9" fmla="*/ 27396 h 40518"/>
                <a:gd name="connsiteX10" fmla="*/ 19710 w 33706"/>
                <a:gd name="connsiteY10" fmla="*/ 34967 h 4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06" h="40518">
                  <a:moveTo>
                    <a:pt x="19710" y="34967"/>
                  </a:moveTo>
                  <a:cubicBezTo>
                    <a:pt x="9749" y="34167"/>
                    <a:pt x="6903" y="33736"/>
                    <a:pt x="-3063" y="32941"/>
                  </a:cubicBezTo>
                  <a:cubicBezTo>
                    <a:pt x="-5135" y="32774"/>
                    <a:pt x="-6588" y="30632"/>
                    <a:pt x="-6350" y="28662"/>
                  </a:cubicBezTo>
                  <a:cubicBezTo>
                    <a:pt x="-4967" y="17004"/>
                    <a:pt x="-3955" y="9413"/>
                    <a:pt x="-2572" y="-2250"/>
                  </a:cubicBezTo>
                  <a:cubicBezTo>
                    <a:pt x="-2303" y="-4468"/>
                    <a:pt x="-339" y="-5572"/>
                    <a:pt x="1707" y="-5536"/>
                  </a:cubicBezTo>
                  <a:cubicBezTo>
                    <a:pt x="11532" y="-5394"/>
                    <a:pt x="14297" y="-5156"/>
                    <a:pt x="24126" y="-5009"/>
                  </a:cubicBezTo>
                  <a:cubicBezTo>
                    <a:pt x="29033" y="-4939"/>
                    <a:pt x="27990" y="2627"/>
                    <a:pt x="23134" y="2556"/>
                  </a:cubicBezTo>
                  <a:cubicBezTo>
                    <a:pt x="14605" y="2435"/>
                    <a:pt x="13137" y="2212"/>
                    <a:pt x="4599" y="2085"/>
                  </a:cubicBezTo>
                  <a:cubicBezTo>
                    <a:pt x="3505" y="11307"/>
                    <a:pt x="2786" y="16457"/>
                    <a:pt x="1687" y="25674"/>
                  </a:cubicBezTo>
                  <a:cubicBezTo>
                    <a:pt x="10402" y="26373"/>
                    <a:pt x="11987" y="26697"/>
                    <a:pt x="20703" y="27396"/>
                  </a:cubicBezTo>
                  <a:cubicBezTo>
                    <a:pt x="25610" y="27791"/>
                    <a:pt x="24592" y="35357"/>
                    <a:pt x="19710" y="34967"/>
                  </a:cubicBezTo>
                </a:path>
              </a:pathLst>
            </a:custGeom>
            <a:solidFill>
              <a:srgbClr val="6BB4DA"/>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8" name="Freeform: Shape 437">
              <a:extLst>
                <a:ext uri="{FF2B5EF4-FFF2-40B4-BE49-F238E27FC236}">
                  <a16:creationId xmlns:a16="http://schemas.microsoft.com/office/drawing/2014/main" id="{ECA448D7-2539-CC7E-26FE-05817E24EA20}"/>
                </a:ext>
              </a:extLst>
            </p:cNvPr>
            <p:cNvSpPr/>
            <p:nvPr/>
          </p:nvSpPr>
          <p:spPr>
            <a:xfrm flipV="1">
              <a:off x="5525020" y="3749645"/>
              <a:ext cx="17349" cy="36360"/>
            </a:xfrm>
            <a:custGeom>
              <a:avLst/>
              <a:gdLst>
                <a:gd name="connsiteX0" fmla="*/ 11168 w 17349"/>
                <a:gd name="connsiteY0" fmla="*/ 29222 h 36360"/>
                <a:gd name="connsiteX1" fmla="*/ 9547 w 17349"/>
                <a:gd name="connsiteY1" fmla="*/ 2073 h 36360"/>
                <a:gd name="connsiteX2" fmla="*/ 9111 w 17349"/>
                <a:gd name="connsiteY2" fmla="*/ -5534 h 36360"/>
                <a:gd name="connsiteX3" fmla="*/ -6182 w 17349"/>
                <a:gd name="connsiteY3" fmla="*/ -4663 h 36360"/>
                <a:gd name="connsiteX4" fmla="*/ -5681 w 17349"/>
                <a:gd name="connsiteY4" fmla="*/ 3759 h 36360"/>
                <a:gd name="connsiteX5" fmla="*/ -4106 w 17349"/>
                <a:gd name="connsiteY5" fmla="*/ 30827 h 36360"/>
                <a:gd name="connsiteX6" fmla="*/ 11168 w 17349"/>
                <a:gd name="connsiteY6" fmla="*/ 29222 h 3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49" h="36360">
                  <a:moveTo>
                    <a:pt x="11168" y="29222"/>
                  </a:moveTo>
                  <a:lnTo>
                    <a:pt x="9547" y="2073"/>
                  </a:lnTo>
                  <a:lnTo>
                    <a:pt x="9111" y="-5534"/>
                  </a:lnTo>
                  <a:lnTo>
                    <a:pt x="-6182" y="-4663"/>
                  </a:lnTo>
                  <a:lnTo>
                    <a:pt x="-5681" y="3759"/>
                  </a:lnTo>
                  <a:lnTo>
                    <a:pt x="-4106" y="30827"/>
                  </a:lnTo>
                  <a:cubicBezTo>
                    <a:pt x="887" y="30290"/>
                    <a:pt x="6007" y="29718"/>
                    <a:pt x="11168" y="29222"/>
                  </a:cubicBezTo>
                </a:path>
              </a:pathLst>
            </a:custGeom>
            <a:solidFill>
              <a:srgbClr val="6BB4DA"/>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9" name="Freeform: Shape 438">
              <a:extLst>
                <a:ext uri="{FF2B5EF4-FFF2-40B4-BE49-F238E27FC236}">
                  <a16:creationId xmlns:a16="http://schemas.microsoft.com/office/drawing/2014/main" id="{04FDA7F3-19A9-739E-A788-8176DF00E56D}"/>
                </a:ext>
              </a:extLst>
            </p:cNvPr>
            <p:cNvSpPr/>
            <p:nvPr/>
          </p:nvSpPr>
          <p:spPr>
            <a:xfrm flipV="1">
              <a:off x="6505700" y="2806465"/>
              <a:ext cx="285526" cy="478425"/>
            </a:xfrm>
            <a:custGeom>
              <a:avLst/>
              <a:gdLst>
                <a:gd name="connsiteX0" fmla="*/ 277436 w 285526"/>
                <a:gd name="connsiteY0" fmla="*/ 19813 h 478425"/>
                <a:gd name="connsiteX1" fmla="*/ 222546 w 285526"/>
                <a:gd name="connsiteY1" fmla="*/ -611 h 478425"/>
                <a:gd name="connsiteX2" fmla="*/ 106861 w 285526"/>
                <a:gd name="connsiteY2" fmla="*/ -2540 h 478425"/>
                <a:gd name="connsiteX3" fmla="*/ 79185 w 285526"/>
                <a:gd name="connsiteY3" fmla="*/ 3572 h 478425"/>
                <a:gd name="connsiteX4" fmla="*/ 47276 w 285526"/>
                <a:gd name="connsiteY4" fmla="*/ 136784 h 478425"/>
                <a:gd name="connsiteX5" fmla="*/ -8090 w 285526"/>
                <a:gd name="connsiteY5" fmla="*/ 380177 h 478425"/>
                <a:gd name="connsiteX6" fmla="*/ 6029 w 285526"/>
                <a:gd name="connsiteY6" fmla="*/ 393895 h 478425"/>
                <a:gd name="connsiteX7" fmla="*/ 22366 w 285526"/>
                <a:gd name="connsiteY7" fmla="*/ 407543 h 478425"/>
                <a:gd name="connsiteX8" fmla="*/ 87404 w 285526"/>
                <a:gd name="connsiteY8" fmla="*/ 462145 h 478425"/>
                <a:gd name="connsiteX9" fmla="*/ 90372 w 285526"/>
                <a:gd name="connsiteY9" fmla="*/ 462332 h 478425"/>
                <a:gd name="connsiteX10" fmla="*/ 200086 w 285526"/>
                <a:gd name="connsiteY10" fmla="*/ 470759 h 478425"/>
                <a:gd name="connsiteX11" fmla="*/ 209966 w 285526"/>
                <a:gd name="connsiteY11" fmla="*/ 471275 h 478425"/>
                <a:gd name="connsiteX12" fmla="*/ 277436 w 285526"/>
                <a:gd name="connsiteY12" fmla="*/ 19813 h 47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526" h="478425">
                  <a:moveTo>
                    <a:pt x="277436" y="19813"/>
                  </a:moveTo>
                  <a:cubicBezTo>
                    <a:pt x="259499" y="10085"/>
                    <a:pt x="240904" y="3598"/>
                    <a:pt x="222546" y="-611"/>
                  </a:cubicBezTo>
                  <a:cubicBezTo>
                    <a:pt x="177318" y="-10916"/>
                    <a:pt x="133857" y="-7037"/>
                    <a:pt x="106861" y="-2540"/>
                  </a:cubicBezTo>
                  <a:cubicBezTo>
                    <a:pt x="89739" y="382"/>
                    <a:pt x="79185" y="3572"/>
                    <a:pt x="79185" y="3572"/>
                  </a:cubicBezTo>
                  <a:cubicBezTo>
                    <a:pt x="71088" y="51408"/>
                    <a:pt x="59739" y="96322"/>
                    <a:pt x="47276" y="136784"/>
                  </a:cubicBezTo>
                  <a:lnTo>
                    <a:pt x="-8090" y="380177"/>
                  </a:lnTo>
                  <a:lnTo>
                    <a:pt x="6029" y="393895"/>
                  </a:lnTo>
                  <a:lnTo>
                    <a:pt x="22366" y="407543"/>
                  </a:lnTo>
                  <a:lnTo>
                    <a:pt x="87404" y="462145"/>
                  </a:lnTo>
                  <a:lnTo>
                    <a:pt x="90372" y="462332"/>
                  </a:lnTo>
                  <a:lnTo>
                    <a:pt x="200086" y="470759"/>
                  </a:lnTo>
                  <a:cubicBezTo>
                    <a:pt x="203398" y="471012"/>
                    <a:pt x="206654" y="471144"/>
                    <a:pt x="209966" y="471275"/>
                  </a:cubicBezTo>
                  <a:lnTo>
                    <a:pt x="277436" y="19813"/>
                  </a:lnTo>
                </a:path>
              </a:pathLst>
            </a:custGeom>
            <a:solidFill>
              <a:srgbClr val="4DA5C3">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0" name="Freeform: Shape 439">
              <a:extLst>
                <a:ext uri="{FF2B5EF4-FFF2-40B4-BE49-F238E27FC236}">
                  <a16:creationId xmlns:a16="http://schemas.microsoft.com/office/drawing/2014/main" id="{4AC4F11B-C355-6529-A1B6-527F99EE95FA}"/>
                </a:ext>
              </a:extLst>
            </p:cNvPr>
            <p:cNvSpPr/>
            <p:nvPr/>
          </p:nvSpPr>
          <p:spPr>
            <a:xfrm flipV="1">
              <a:off x="6471640" y="4103349"/>
              <a:ext cx="191336" cy="135084"/>
            </a:xfrm>
            <a:custGeom>
              <a:avLst/>
              <a:gdLst>
                <a:gd name="connsiteX0" fmla="*/ -630 w 191336"/>
                <a:gd name="connsiteY0" fmla="*/ -2825 h 135084"/>
                <a:gd name="connsiteX1" fmla="*/ 12461 w 191336"/>
                <a:gd name="connsiteY1" fmla="*/ -4613 h 135084"/>
                <a:gd name="connsiteX2" fmla="*/ 183386 w 191336"/>
                <a:gd name="connsiteY2" fmla="*/ 13826 h 135084"/>
                <a:gd name="connsiteX3" fmla="*/ 159341 w 191336"/>
                <a:gd name="connsiteY3" fmla="*/ 130453 h 135084"/>
                <a:gd name="connsiteX4" fmla="*/ 99832 w 191336"/>
                <a:gd name="connsiteY4" fmla="*/ 117185 h 135084"/>
                <a:gd name="connsiteX5" fmla="*/ 5604 w 191336"/>
                <a:gd name="connsiteY5" fmla="*/ 27838 h 135084"/>
                <a:gd name="connsiteX6" fmla="*/ -7831 w 191336"/>
                <a:gd name="connsiteY6" fmla="*/ 18029 h 135084"/>
                <a:gd name="connsiteX7" fmla="*/ -630 w 191336"/>
                <a:gd name="connsiteY7" fmla="*/ -2825 h 13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336" h="135084">
                  <a:moveTo>
                    <a:pt x="-630" y="-2825"/>
                  </a:moveTo>
                  <a:cubicBezTo>
                    <a:pt x="3381" y="-4699"/>
                    <a:pt x="8025" y="-4674"/>
                    <a:pt x="12461" y="-4613"/>
                  </a:cubicBezTo>
                  <a:cubicBezTo>
                    <a:pt x="60844" y="-3823"/>
                    <a:pt x="135950" y="4330"/>
                    <a:pt x="183386" y="13826"/>
                  </a:cubicBezTo>
                  <a:cubicBezTo>
                    <a:pt x="183386" y="13826"/>
                    <a:pt x="166466" y="85736"/>
                    <a:pt x="159341" y="130453"/>
                  </a:cubicBezTo>
                  <a:lnTo>
                    <a:pt x="99832" y="117185"/>
                  </a:lnTo>
                  <a:cubicBezTo>
                    <a:pt x="92910" y="71911"/>
                    <a:pt x="49404" y="41202"/>
                    <a:pt x="5604" y="27838"/>
                  </a:cubicBezTo>
                  <a:cubicBezTo>
                    <a:pt x="-2" y="26137"/>
                    <a:pt x="-6752" y="23792"/>
                    <a:pt x="-7831" y="18029"/>
                  </a:cubicBezTo>
                  <a:cubicBezTo>
                    <a:pt x="-8702" y="13679"/>
                    <a:pt x="-4691" y="-952"/>
                    <a:pt x="-630" y="-2825"/>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1" name="Freeform: Shape 440">
              <a:extLst>
                <a:ext uri="{FF2B5EF4-FFF2-40B4-BE49-F238E27FC236}">
                  <a16:creationId xmlns:a16="http://schemas.microsoft.com/office/drawing/2014/main" id="{72F3EC65-46BD-3F5B-92ED-1F59D3FE47C3}"/>
                </a:ext>
              </a:extLst>
            </p:cNvPr>
            <p:cNvSpPr/>
            <p:nvPr/>
          </p:nvSpPr>
          <p:spPr>
            <a:xfrm flipV="1">
              <a:off x="7015658" y="4021077"/>
              <a:ext cx="135726" cy="161938"/>
            </a:xfrm>
            <a:custGeom>
              <a:avLst/>
              <a:gdLst>
                <a:gd name="connsiteX0" fmla="*/ -8835 w 135726"/>
                <a:gd name="connsiteY0" fmla="*/ 147161 h 161938"/>
                <a:gd name="connsiteX1" fmla="*/ 10308 w 135726"/>
                <a:gd name="connsiteY1" fmla="*/ 12896 h 161938"/>
                <a:gd name="connsiteX2" fmla="*/ 9295 w 135726"/>
                <a:gd name="connsiteY2" fmla="*/ -1324 h 161938"/>
                <a:gd name="connsiteX3" fmla="*/ 17347 w 135726"/>
                <a:gd name="connsiteY3" fmla="*/ -3897 h 161938"/>
                <a:gd name="connsiteX4" fmla="*/ 112401 w 135726"/>
                <a:gd name="connsiteY4" fmla="*/ 2135 h 161938"/>
                <a:gd name="connsiteX5" fmla="*/ 125365 w 135726"/>
                <a:gd name="connsiteY5" fmla="*/ 8931 h 161938"/>
                <a:gd name="connsiteX6" fmla="*/ 124960 w 135726"/>
                <a:gd name="connsiteY6" fmla="*/ 23925 h 161938"/>
                <a:gd name="connsiteX7" fmla="*/ 48441 w 135726"/>
                <a:gd name="connsiteY7" fmla="*/ 157153 h 161938"/>
                <a:gd name="connsiteX8" fmla="*/ -8835 w 135726"/>
                <a:gd name="connsiteY8" fmla="*/ 147161 h 16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726" h="161938">
                  <a:moveTo>
                    <a:pt x="-8835" y="147161"/>
                  </a:moveTo>
                  <a:cubicBezTo>
                    <a:pt x="8080" y="100531"/>
                    <a:pt x="33249" y="57648"/>
                    <a:pt x="10308" y="12896"/>
                  </a:cubicBezTo>
                  <a:cubicBezTo>
                    <a:pt x="7928" y="8308"/>
                    <a:pt x="5598" y="2282"/>
                    <a:pt x="9295" y="-1324"/>
                  </a:cubicBezTo>
                  <a:cubicBezTo>
                    <a:pt x="11321" y="-3279"/>
                    <a:pt x="14460" y="-3664"/>
                    <a:pt x="17347" y="-3897"/>
                  </a:cubicBezTo>
                  <a:cubicBezTo>
                    <a:pt x="45808" y="-6191"/>
                    <a:pt x="84396" y="-3998"/>
                    <a:pt x="112401" y="2135"/>
                  </a:cubicBezTo>
                  <a:cubicBezTo>
                    <a:pt x="117313" y="3223"/>
                    <a:pt x="122731" y="4783"/>
                    <a:pt x="125365" y="8931"/>
                  </a:cubicBezTo>
                  <a:cubicBezTo>
                    <a:pt x="128150" y="13392"/>
                    <a:pt x="126580" y="19018"/>
                    <a:pt x="124960" y="23925"/>
                  </a:cubicBezTo>
                  <a:cubicBezTo>
                    <a:pt x="109058" y="71777"/>
                    <a:pt x="64393" y="109302"/>
                    <a:pt x="48441" y="157153"/>
                  </a:cubicBezTo>
                  <a:cubicBezTo>
                    <a:pt x="30311" y="154960"/>
                    <a:pt x="7624" y="154925"/>
                    <a:pt x="-8835" y="147161"/>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2" name="Freeform: Shape 441">
              <a:extLst>
                <a:ext uri="{FF2B5EF4-FFF2-40B4-BE49-F238E27FC236}">
                  <a16:creationId xmlns:a16="http://schemas.microsoft.com/office/drawing/2014/main" id="{4C46E23C-7D68-C577-D2FB-ACD1F2477BCB}"/>
                </a:ext>
              </a:extLst>
            </p:cNvPr>
            <p:cNvSpPr/>
            <p:nvPr/>
          </p:nvSpPr>
          <p:spPr>
            <a:xfrm flipV="1">
              <a:off x="6447209" y="3225062"/>
              <a:ext cx="665375" cy="897044"/>
            </a:xfrm>
            <a:custGeom>
              <a:avLst/>
              <a:gdLst>
                <a:gd name="connsiteX0" fmla="*/ 657061 w 665375"/>
                <a:gd name="connsiteY0" fmla="*/ 81910 h 897044"/>
                <a:gd name="connsiteX1" fmla="*/ 632855 w 665375"/>
                <a:gd name="connsiteY1" fmla="*/ 62777 h 897044"/>
                <a:gd name="connsiteX2" fmla="*/ 575832 w 665375"/>
                <a:gd name="connsiteY2" fmla="*/ 44805 h 897044"/>
                <a:gd name="connsiteX3" fmla="*/ 561349 w 665375"/>
                <a:gd name="connsiteY3" fmla="*/ 43478 h 897044"/>
                <a:gd name="connsiteX4" fmla="*/ 321992 w 665375"/>
                <a:gd name="connsiteY4" fmla="*/ 395537 h 897044"/>
                <a:gd name="connsiteX5" fmla="*/ 293932 w 665375"/>
                <a:gd name="connsiteY5" fmla="*/ 463234 h 897044"/>
                <a:gd name="connsiteX6" fmla="*/ 248811 w 665375"/>
                <a:gd name="connsiteY6" fmla="*/ 732068 h 897044"/>
                <a:gd name="connsiteX7" fmla="*/ 248132 w 665375"/>
                <a:gd name="connsiteY7" fmla="*/ 736013 h 897044"/>
                <a:gd name="connsiteX8" fmla="*/ 246648 w 665375"/>
                <a:gd name="connsiteY8" fmla="*/ 732311 h 897044"/>
                <a:gd name="connsiteX9" fmla="*/ 129480 w 665375"/>
                <a:gd name="connsiteY9" fmla="*/ 437878 h 897044"/>
                <a:gd name="connsiteX10" fmla="*/ 202555 w 665375"/>
                <a:gd name="connsiteY10" fmla="*/ 15823 h 897044"/>
                <a:gd name="connsiteX11" fmla="*/ 184633 w 665375"/>
                <a:gd name="connsiteY11" fmla="*/ 5335 h 897044"/>
                <a:gd name="connsiteX12" fmla="*/ 122886 w 665375"/>
                <a:gd name="connsiteY12" fmla="*/ -5350 h 897044"/>
                <a:gd name="connsiteX13" fmla="*/ 106058 w 665375"/>
                <a:gd name="connsiteY13" fmla="*/ -2834 h 897044"/>
                <a:gd name="connsiteX14" fmla="*/ -2634 w 665375"/>
                <a:gd name="connsiteY14" fmla="*/ 411524 h 897044"/>
                <a:gd name="connsiteX15" fmla="*/ 668 w 665375"/>
                <a:gd name="connsiteY15" fmla="*/ 497351 h 897044"/>
                <a:gd name="connsiteX16" fmla="*/ 137506 w 665375"/>
                <a:gd name="connsiteY16" fmla="*/ 842193 h 897044"/>
                <a:gd name="connsiteX17" fmla="*/ 153919 w 665375"/>
                <a:gd name="connsiteY17" fmla="*/ 857532 h 897044"/>
                <a:gd name="connsiteX18" fmla="*/ 199537 w 665375"/>
                <a:gd name="connsiteY18" fmla="*/ 853238 h 897044"/>
                <a:gd name="connsiteX19" fmla="*/ 201162 w 665375"/>
                <a:gd name="connsiteY19" fmla="*/ 856241 h 897044"/>
                <a:gd name="connsiteX20" fmla="*/ 206520 w 665375"/>
                <a:gd name="connsiteY20" fmla="*/ 858408 h 897044"/>
                <a:gd name="connsiteX21" fmla="*/ 232606 w 665375"/>
                <a:gd name="connsiteY21" fmla="*/ 858312 h 897044"/>
                <a:gd name="connsiteX22" fmla="*/ 239092 w 665375"/>
                <a:gd name="connsiteY22" fmla="*/ 854737 h 897044"/>
                <a:gd name="connsiteX23" fmla="*/ 343940 w 665375"/>
                <a:gd name="connsiteY23" fmla="*/ 889770 h 897044"/>
                <a:gd name="connsiteX24" fmla="*/ 379820 w 665375"/>
                <a:gd name="connsiteY24" fmla="*/ 891300 h 897044"/>
                <a:gd name="connsiteX25" fmla="*/ 433429 w 665375"/>
                <a:gd name="connsiteY25" fmla="*/ 455293 h 897044"/>
                <a:gd name="connsiteX26" fmla="*/ 657061 w 665375"/>
                <a:gd name="connsiteY26" fmla="*/ 81910 h 89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5375" h="897044">
                  <a:moveTo>
                    <a:pt x="657061" y="81910"/>
                  </a:moveTo>
                  <a:cubicBezTo>
                    <a:pt x="650022" y="74004"/>
                    <a:pt x="641666" y="67755"/>
                    <a:pt x="632855" y="62777"/>
                  </a:cubicBezTo>
                  <a:cubicBezTo>
                    <a:pt x="612648" y="51423"/>
                    <a:pt x="590113" y="46704"/>
                    <a:pt x="575832" y="44805"/>
                  </a:cubicBezTo>
                  <a:cubicBezTo>
                    <a:pt x="567021" y="43609"/>
                    <a:pt x="561349" y="43478"/>
                    <a:pt x="561349" y="43478"/>
                  </a:cubicBezTo>
                  <a:lnTo>
                    <a:pt x="321992" y="395537"/>
                  </a:lnTo>
                  <a:cubicBezTo>
                    <a:pt x="306805" y="415216"/>
                    <a:pt x="297128" y="438566"/>
                    <a:pt x="293932" y="463234"/>
                  </a:cubicBezTo>
                  <a:lnTo>
                    <a:pt x="248811" y="732068"/>
                  </a:lnTo>
                  <a:lnTo>
                    <a:pt x="248132" y="736013"/>
                  </a:lnTo>
                  <a:lnTo>
                    <a:pt x="246648" y="732311"/>
                  </a:lnTo>
                  <a:lnTo>
                    <a:pt x="129480" y="437878"/>
                  </a:lnTo>
                  <a:lnTo>
                    <a:pt x="202555" y="15823"/>
                  </a:lnTo>
                  <a:cubicBezTo>
                    <a:pt x="196660" y="11554"/>
                    <a:pt x="190629" y="8095"/>
                    <a:pt x="184633" y="5335"/>
                  </a:cubicBezTo>
                  <a:cubicBezTo>
                    <a:pt x="161135" y="-5685"/>
                    <a:pt x="137931" y="-6515"/>
                    <a:pt x="122886" y="-5350"/>
                  </a:cubicBezTo>
                  <a:cubicBezTo>
                    <a:pt x="112504" y="-4601"/>
                    <a:pt x="106058" y="-2834"/>
                    <a:pt x="106058" y="-2834"/>
                  </a:cubicBezTo>
                  <a:lnTo>
                    <a:pt x="-2634" y="411524"/>
                  </a:lnTo>
                  <a:cubicBezTo>
                    <a:pt x="-11212" y="439736"/>
                    <a:pt x="-10048" y="469974"/>
                    <a:pt x="668" y="497351"/>
                  </a:cubicBezTo>
                  <a:lnTo>
                    <a:pt x="137506" y="842193"/>
                  </a:lnTo>
                  <a:cubicBezTo>
                    <a:pt x="139704" y="847951"/>
                    <a:pt x="145462" y="853086"/>
                    <a:pt x="153919" y="857532"/>
                  </a:cubicBezTo>
                  <a:cubicBezTo>
                    <a:pt x="165369" y="855648"/>
                    <a:pt x="181134" y="853684"/>
                    <a:pt x="199537" y="853238"/>
                  </a:cubicBezTo>
                  <a:cubicBezTo>
                    <a:pt x="199805" y="854347"/>
                    <a:pt x="200367" y="855410"/>
                    <a:pt x="201162" y="856241"/>
                  </a:cubicBezTo>
                  <a:cubicBezTo>
                    <a:pt x="202580" y="857730"/>
                    <a:pt x="204484" y="858535"/>
                    <a:pt x="206520" y="858408"/>
                  </a:cubicBezTo>
                  <a:cubicBezTo>
                    <a:pt x="212699" y="858140"/>
                    <a:pt x="224290" y="857826"/>
                    <a:pt x="232606" y="858312"/>
                  </a:cubicBezTo>
                  <a:cubicBezTo>
                    <a:pt x="235396" y="858434"/>
                    <a:pt x="237817" y="856975"/>
                    <a:pt x="239092" y="854737"/>
                  </a:cubicBezTo>
                  <a:cubicBezTo>
                    <a:pt x="272430" y="858130"/>
                    <a:pt x="309520" y="867838"/>
                    <a:pt x="343940" y="889770"/>
                  </a:cubicBezTo>
                  <a:cubicBezTo>
                    <a:pt x="365569" y="890971"/>
                    <a:pt x="379820" y="891300"/>
                    <a:pt x="379820" y="891300"/>
                  </a:cubicBezTo>
                  <a:cubicBezTo>
                    <a:pt x="451331" y="827704"/>
                    <a:pt x="433429" y="455293"/>
                    <a:pt x="433429" y="455293"/>
                  </a:cubicBezTo>
                  <a:lnTo>
                    <a:pt x="657061" y="81910"/>
                  </a:ln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3" name="Freeform: Shape 442">
              <a:extLst>
                <a:ext uri="{FF2B5EF4-FFF2-40B4-BE49-F238E27FC236}">
                  <a16:creationId xmlns:a16="http://schemas.microsoft.com/office/drawing/2014/main" id="{6F512936-6BCB-258B-0DBE-857EC56E148C}"/>
                </a:ext>
              </a:extLst>
            </p:cNvPr>
            <p:cNvSpPr/>
            <p:nvPr/>
          </p:nvSpPr>
          <p:spPr>
            <a:xfrm flipV="1">
              <a:off x="6589430" y="3201746"/>
              <a:ext cx="245914" cy="83113"/>
            </a:xfrm>
            <a:custGeom>
              <a:avLst/>
              <a:gdLst>
                <a:gd name="connsiteX0" fmla="*/ 237715 w 245914"/>
                <a:gd name="connsiteY0" fmla="*/ 53091 h 83113"/>
                <a:gd name="connsiteX1" fmla="*/ 99252 w 245914"/>
                <a:gd name="connsiteY1" fmla="*/ -5891 h 83113"/>
                <a:gd name="connsiteX2" fmla="*/ 59209 w 245914"/>
                <a:gd name="connsiteY2" fmla="*/ -6180 h 83113"/>
                <a:gd name="connsiteX3" fmla="*/ -4599 w 245914"/>
                <a:gd name="connsiteY3" fmla="*/ 3984 h 83113"/>
                <a:gd name="connsiteX4" fmla="*/ -4655 w 245914"/>
                <a:gd name="connsiteY4" fmla="*/ 3979 h 83113"/>
                <a:gd name="connsiteX5" fmla="*/ -8199 w 245914"/>
                <a:gd name="connsiteY5" fmla="*/ 23517 h 83113"/>
                <a:gd name="connsiteX6" fmla="*/ -8199 w 245914"/>
                <a:gd name="connsiteY6" fmla="*/ 23577 h 83113"/>
                <a:gd name="connsiteX7" fmla="*/ 11814 w 245914"/>
                <a:gd name="connsiteY7" fmla="*/ 19323 h 83113"/>
                <a:gd name="connsiteX8" fmla="*/ 57432 w 245914"/>
                <a:gd name="connsiteY8" fmla="*/ 15029 h 83113"/>
                <a:gd name="connsiteX9" fmla="*/ 96988 w 245914"/>
                <a:gd name="connsiteY9" fmla="*/ 16528 h 83113"/>
                <a:gd name="connsiteX10" fmla="*/ 201835 w 245914"/>
                <a:gd name="connsiteY10" fmla="*/ 51562 h 83113"/>
                <a:gd name="connsiteX11" fmla="*/ 233800 w 245914"/>
                <a:gd name="connsiteY11" fmla="*/ 76406 h 83113"/>
                <a:gd name="connsiteX12" fmla="*/ 237715 w 245914"/>
                <a:gd name="connsiteY12" fmla="*/ 53091 h 8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914" h="83113">
                  <a:moveTo>
                    <a:pt x="237715" y="53091"/>
                  </a:moveTo>
                  <a:cubicBezTo>
                    <a:pt x="196179" y="11783"/>
                    <a:pt x="144353" y="-2690"/>
                    <a:pt x="99252" y="-5891"/>
                  </a:cubicBezTo>
                  <a:cubicBezTo>
                    <a:pt x="85072" y="-6975"/>
                    <a:pt x="71510" y="-6884"/>
                    <a:pt x="59209" y="-6180"/>
                  </a:cubicBezTo>
                  <a:cubicBezTo>
                    <a:pt x="22778" y="-4053"/>
                    <a:pt x="-3135" y="3493"/>
                    <a:pt x="-4599" y="3984"/>
                  </a:cubicBezTo>
                  <a:lnTo>
                    <a:pt x="-4655" y="3979"/>
                  </a:lnTo>
                  <a:cubicBezTo>
                    <a:pt x="-5738" y="10537"/>
                    <a:pt x="-6938" y="17085"/>
                    <a:pt x="-8199" y="23517"/>
                  </a:cubicBezTo>
                  <a:lnTo>
                    <a:pt x="-8199" y="23577"/>
                  </a:lnTo>
                  <a:cubicBezTo>
                    <a:pt x="-8199" y="23577"/>
                    <a:pt x="-816" y="21481"/>
                    <a:pt x="11814" y="19323"/>
                  </a:cubicBezTo>
                  <a:cubicBezTo>
                    <a:pt x="23264" y="17440"/>
                    <a:pt x="39029" y="15475"/>
                    <a:pt x="57432" y="15029"/>
                  </a:cubicBezTo>
                  <a:cubicBezTo>
                    <a:pt x="69611" y="14669"/>
                    <a:pt x="82991" y="15039"/>
                    <a:pt x="96988" y="16528"/>
                  </a:cubicBezTo>
                  <a:cubicBezTo>
                    <a:pt x="130325" y="19921"/>
                    <a:pt x="167415" y="29629"/>
                    <a:pt x="201835" y="51562"/>
                  </a:cubicBezTo>
                  <a:cubicBezTo>
                    <a:pt x="212850" y="58515"/>
                    <a:pt x="223545" y="66739"/>
                    <a:pt x="233800" y="76406"/>
                  </a:cubicBezTo>
                  <a:lnTo>
                    <a:pt x="237715" y="53091"/>
                  </a:ln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4" name="Freeform: Shape 443">
              <a:extLst>
                <a:ext uri="{FF2B5EF4-FFF2-40B4-BE49-F238E27FC236}">
                  <a16:creationId xmlns:a16="http://schemas.microsoft.com/office/drawing/2014/main" id="{13D2E733-4AAE-8B44-5B10-DCE56F689627}"/>
                </a:ext>
              </a:extLst>
            </p:cNvPr>
            <p:cNvSpPr/>
            <p:nvPr/>
          </p:nvSpPr>
          <p:spPr>
            <a:xfrm flipV="1">
              <a:off x="6647978" y="3257940"/>
              <a:ext cx="49022" cy="32819"/>
            </a:xfrm>
            <a:custGeom>
              <a:avLst/>
              <a:gdLst>
                <a:gd name="connsiteX0" fmla="*/ 10513 w 49022"/>
                <a:gd name="connsiteY0" fmla="*/ 12181 h 32819"/>
                <a:gd name="connsiteX1" fmla="*/ 5449 w 49022"/>
                <a:gd name="connsiteY1" fmla="*/ 12125 h 32819"/>
                <a:gd name="connsiteX2" fmla="*/ 4704 w 49022"/>
                <a:gd name="connsiteY2" fmla="*/ 19149 h 32819"/>
                <a:gd name="connsiteX3" fmla="*/ 4978 w 49022"/>
                <a:gd name="connsiteY3" fmla="*/ 19914 h 32819"/>
                <a:gd name="connsiteX4" fmla="*/ 5490 w 49022"/>
                <a:gd name="connsiteY4" fmla="*/ 20218 h 32819"/>
                <a:gd name="connsiteX5" fmla="*/ 5672 w 49022"/>
                <a:gd name="connsiteY5" fmla="*/ 20223 h 32819"/>
                <a:gd name="connsiteX6" fmla="*/ 32395 w 49022"/>
                <a:gd name="connsiteY6" fmla="*/ 20086 h 32819"/>
                <a:gd name="connsiteX7" fmla="*/ 33403 w 49022"/>
                <a:gd name="connsiteY7" fmla="*/ 19235 h 32819"/>
                <a:gd name="connsiteX8" fmla="*/ 34867 w 49022"/>
                <a:gd name="connsiteY8" fmla="*/ 1106 h 32819"/>
                <a:gd name="connsiteX9" fmla="*/ 34076 w 49022"/>
                <a:gd name="connsiteY9" fmla="*/ 98 h 32819"/>
                <a:gd name="connsiteX10" fmla="*/ 7303 w 49022"/>
                <a:gd name="connsiteY10" fmla="*/ 58 h 32819"/>
                <a:gd name="connsiteX11" fmla="*/ 6583 w 49022"/>
                <a:gd name="connsiteY11" fmla="*/ 913 h 32819"/>
                <a:gd name="connsiteX12" fmla="*/ 6056 w 49022"/>
                <a:gd name="connsiteY12" fmla="*/ 6145 h 32819"/>
                <a:gd name="connsiteX13" fmla="*/ 10943 w 49022"/>
                <a:gd name="connsiteY13" fmla="*/ 6195 h 32819"/>
                <a:gd name="connsiteX14" fmla="*/ 11060 w 49022"/>
                <a:gd name="connsiteY14" fmla="*/ 6200 h 32819"/>
                <a:gd name="connsiteX15" fmla="*/ 13719 w 49022"/>
                <a:gd name="connsiteY15" fmla="*/ 9345 h 32819"/>
                <a:gd name="connsiteX16" fmla="*/ 10513 w 49022"/>
                <a:gd name="connsiteY16" fmla="*/ 12181 h 32819"/>
                <a:gd name="connsiteX17" fmla="*/ 39328 w 49022"/>
                <a:gd name="connsiteY17" fmla="*/ 19721 h 32819"/>
                <a:gd name="connsiteX18" fmla="*/ 38507 w 49022"/>
                <a:gd name="connsiteY18" fmla="*/ 22497 h 32819"/>
                <a:gd name="connsiteX19" fmla="*/ 32020 w 49022"/>
                <a:gd name="connsiteY19" fmla="*/ 26072 h 32819"/>
                <a:gd name="connsiteX20" fmla="*/ 5935 w 49022"/>
                <a:gd name="connsiteY20" fmla="*/ 26168 h 32819"/>
                <a:gd name="connsiteX21" fmla="*/ 577 w 49022"/>
                <a:gd name="connsiteY21" fmla="*/ 24001 h 32819"/>
                <a:gd name="connsiteX22" fmla="*/ -1048 w 49022"/>
                <a:gd name="connsiteY22" fmla="*/ 20998 h 32819"/>
                <a:gd name="connsiteX23" fmla="*/ -1276 w 49022"/>
                <a:gd name="connsiteY23" fmla="*/ 18491 h 32819"/>
                <a:gd name="connsiteX24" fmla="*/ -623 w 49022"/>
                <a:gd name="connsiteY24" fmla="*/ 12738 h 32819"/>
                <a:gd name="connsiteX25" fmla="*/ -4193 w 49022"/>
                <a:gd name="connsiteY25" fmla="*/ 13589 h 32819"/>
                <a:gd name="connsiteX26" fmla="*/ -7991 w 49022"/>
                <a:gd name="connsiteY26" fmla="*/ 11695 h 32819"/>
                <a:gd name="connsiteX27" fmla="*/ -6098 w 49022"/>
                <a:gd name="connsiteY27" fmla="*/ 7897 h 32819"/>
                <a:gd name="connsiteX28" fmla="*/ -10 w 49022"/>
                <a:gd name="connsiteY28" fmla="*/ 6585 h 32819"/>
                <a:gd name="connsiteX29" fmla="*/ 658 w 49022"/>
                <a:gd name="connsiteY29" fmla="*/ 311 h 32819"/>
                <a:gd name="connsiteX30" fmla="*/ 729 w 49022"/>
                <a:gd name="connsiteY30" fmla="*/ -211 h 32819"/>
                <a:gd name="connsiteX31" fmla="*/ 6447 w 49022"/>
                <a:gd name="connsiteY31" fmla="*/ -5842 h 32819"/>
                <a:gd name="connsiteX32" fmla="*/ 34623 w 49022"/>
                <a:gd name="connsiteY32" fmla="*/ -5883 h 32819"/>
                <a:gd name="connsiteX33" fmla="*/ 34684 w 49022"/>
                <a:gd name="connsiteY33" fmla="*/ -5883 h 32819"/>
                <a:gd name="connsiteX34" fmla="*/ 40771 w 49022"/>
                <a:gd name="connsiteY34" fmla="*/ 78 h 32819"/>
                <a:gd name="connsiteX35" fmla="*/ 40857 w 49022"/>
                <a:gd name="connsiteY35" fmla="*/ 1597 h 32819"/>
                <a:gd name="connsiteX36" fmla="*/ 39328 w 49022"/>
                <a:gd name="connsiteY36" fmla="*/ 19721 h 32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9022" h="32819">
                  <a:moveTo>
                    <a:pt x="10513" y="12181"/>
                  </a:moveTo>
                  <a:cubicBezTo>
                    <a:pt x="10513" y="12181"/>
                    <a:pt x="8300" y="12014"/>
                    <a:pt x="5449" y="12125"/>
                  </a:cubicBezTo>
                  <a:lnTo>
                    <a:pt x="4704" y="19149"/>
                  </a:lnTo>
                  <a:lnTo>
                    <a:pt x="4978" y="19914"/>
                  </a:lnTo>
                  <a:lnTo>
                    <a:pt x="5490" y="20218"/>
                  </a:lnTo>
                  <a:lnTo>
                    <a:pt x="5672" y="20223"/>
                  </a:lnTo>
                  <a:cubicBezTo>
                    <a:pt x="11961" y="19960"/>
                    <a:pt x="23791" y="19595"/>
                    <a:pt x="32395" y="20086"/>
                  </a:cubicBezTo>
                  <a:cubicBezTo>
                    <a:pt x="32912" y="20096"/>
                    <a:pt x="33332" y="19757"/>
                    <a:pt x="33403" y="19235"/>
                  </a:cubicBezTo>
                  <a:lnTo>
                    <a:pt x="34867" y="1106"/>
                  </a:lnTo>
                  <a:cubicBezTo>
                    <a:pt x="34942" y="584"/>
                    <a:pt x="34664" y="-3"/>
                    <a:pt x="34076" y="98"/>
                  </a:cubicBezTo>
                  <a:cubicBezTo>
                    <a:pt x="28040" y="-505"/>
                    <a:pt x="16590" y="-1239"/>
                    <a:pt x="7303" y="58"/>
                  </a:cubicBezTo>
                  <a:lnTo>
                    <a:pt x="6583" y="913"/>
                  </a:lnTo>
                  <a:lnTo>
                    <a:pt x="6056" y="6145"/>
                  </a:lnTo>
                  <a:cubicBezTo>
                    <a:pt x="8730" y="6089"/>
                    <a:pt x="10711" y="6190"/>
                    <a:pt x="10943" y="6195"/>
                  </a:cubicBezTo>
                  <a:lnTo>
                    <a:pt x="11060" y="6200"/>
                  </a:lnTo>
                  <a:cubicBezTo>
                    <a:pt x="12630" y="6352"/>
                    <a:pt x="13815" y="7775"/>
                    <a:pt x="13719" y="9345"/>
                  </a:cubicBezTo>
                  <a:cubicBezTo>
                    <a:pt x="13622" y="11032"/>
                    <a:pt x="12200" y="12282"/>
                    <a:pt x="10513" y="12181"/>
                  </a:cubicBezTo>
                  <a:close/>
                  <a:moveTo>
                    <a:pt x="39328" y="19721"/>
                  </a:moveTo>
                  <a:cubicBezTo>
                    <a:pt x="39247" y="20709"/>
                    <a:pt x="38933" y="21691"/>
                    <a:pt x="38507" y="22497"/>
                  </a:cubicBezTo>
                  <a:cubicBezTo>
                    <a:pt x="37231" y="24735"/>
                    <a:pt x="34811" y="26194"/>
                    <a:pt x="32020" y="26072"/>
                  </a:cubicBezTo>
                  <a:cubicBezTo>
                    <a:pt x="23705" y="25586"/>
                    <a:pt x="12114" y="25900"/>
                    <a:pt x="5935" y="26168"/>
                  </a:cubicBezTo>
                  <a:cubicBezTo>
                    <a:pt x="3899" y="26295"/>
                    <a:pt x="1995" y="25490"/>
                    <a:pt x="577" y="24001"/>
                  </a:cubicBezTo>
                  <a:cubicBezTo>
                    <a:pt x="-218" y="23170"/>
                    <a:pt x="-780" y="22107"/>
                    <a:pt x="-1048" y="20998"/>
                  </a:cubicBezTo>
                  <a:cubicBezTo>
                    <a:pt x="-1261" y="20177"/>
                    <a:pt x="-1357" y="19357"/>
                    <a:pt x="-1276" y="18491"/>
                  </a:cubicBezTo>
                  <a:lnTo>
                    <a:pt x="-623" y="12738"/>
                  </a:lnTo>
                  <a:cubicBezTo>
                    <a:pt x="-1848" y="12946"/>
                    <a:pt x="-3074" y="13209"/>
                    <a:pt x="-4193" y="13589"/>
                  </a:cubicBezTo>
                  <a:cubicBezTo>
                    <a:pt x="-5712" y="14136"/>
                    <a:pt x="-7444" y="13280"/>
                    <a:pt x="-7991" y="11695"/>
                  </a:cubicBezTo>
                  <a:cubicBezTo>
                    <a:pt x="-8472" y="10115"/>
                    <a:pt x="-7683" y="8444"/>
                    <a:pt x="-6098" y="7897"/>
                  </a:cubicBezTo>
                  <a:cubicBezTo>
                    <a:pt x="-4218" y="7244"/>
                    <a:pt x="-2056" y="6884"/>
                    <a:pt x="-10" y="6585"/>
                  </a:cubicBezTo>
                  <a:lnTo>
                    <a:pt x="658" y="311"/>
                  </a:lnTo>
                  <a:lnTo>
                    <a:pt x="729" y="-211"/>
                  </a:lnTo>
                  <a:cubicBezTo>
                    <a:pt x="1261" y="-3168"/>
                    <a:pt x="3585" y="-5442"/>
                    <a:pt x="6447" y="-5842"/>
                  </a:cubicBezTo>
                  <a:cubicBezTo>
                    <a:pt x="16378" y="-7240"/>
                    <a:pt x="28349" y="-6496"/>
                    <a:pt x="34623" y="-5883"/>
                  </a:cubicBezTo>
                  <a:lnTo>
                    <a:pt x="34684" y="-5883"/>
                  </a:lnTo>
                  <a:cubicBezTo>
                    <a:pt x="37880" y="-5579"/>
                    <a:pt x="40381" y="-3016"/>
                    <a:pt x="40771" y="78"/>
                  </a:cubicBezTo>
                  <a:cubicBezTo>
                    <a:pt x="40883" y="549"/>
                    <a:pt x="40928" y="1070"/>
                    <a:pt x="40857" y="1597"/>
                  </a:cubicBezTo>
                  <a:lnTo>
                    <a:pt x="39328" y="19721"/>
                  </a:lnTo>
                </a:path>
              </a:pathLst>
            </a:custGeom>
            <a:solidFill>
              <a:srgbClr val="FFFFFF"/>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5" name="Freeform: Shape 444">
              <a:extLst>
                <a:ext uri="{FF2B5EF4-FFF2-40B4-BE49-F238E27FC236}">
                  <a16:creationId xmlns:a16="http://schemas.microsoft.com/office/drawing/2014/main" id="{35B5E6FB-AE09-A2C1-420A-72F563B9F25B}"/>
                </a:ext>
              </a:extLst>
            </p:cNvPr>
            <p:cNvSpPr/>
            <p:nvPr/>
          </p:nvSpPr>
          <p:spPr>
            <a:xfrm flipV="1">
              <a:off x="6122721" y="2870208"/>
              <a:ext cx="518084" cy="481797"/>
            </a:xfrm>
            <a:custGeom>
              <a:avLst/>
              <a:gdLst>
                <a:gd name="connsiteX0" fmla="*/ 510451 w 518084"/>
                <a:gd name="connsiteY0" fmla="*/ -3352 h 481797"/>
                <a:gd name="connsiteX1" fmla="*/ 439973 w 518084"/>
                <a:gd name="connsiteY1" fmla="*/ 12747 h 481797"/>
                <a:gd name="connsiteX2" fmla="*/ 387650 w 518084"/>
                <a:gd name="connsiteY2" fmla="*/ 293827 h 481797"/>
                <a:gd name="connsiteX3" fmla="*/ 275080 w 518084"/>
                <a:gd name="connsiteY3" fmla="*/ 155753 h 481797"/>
                <a:gd name="connsiteX4" fmla="*/ 229255 w 518084"/>
                <a:gd name="connsiteY4" fmla="*/ 125657 h 481797"/>
                <a:gd name="connsiteX5" fmla="*/ 18759 w 518084"/>
                <a:gd name="connsiteY5" fmla="*/ 21999 h 481797"/>
                <a:gd name="connsiteX6" fmla="*/ -6618 w 518084"/>
                <a:gd name="connsiteY6" fmla="*/ 74555 h 481797"/>
                <a:gd name="connsiteX7" fmla="*/ 208153 w 518084"/>
                <a:gd name="connsiteY7" fmla="*/ 212613 h 481797"/>
                <a:gd name="connsiteX8" fmla="*/ 327119 w 518084"/>
                <a:gd name="connsiteY8" fmla="*/ 395616 h 481797"/>
                <a:gd name="connsiteX9" fmla="*/ 361120 w 518084"/>
                <a:gd name="connsiteY9" fmla="*/ 433658 h 481797"/>
                <a:gd name="connsiteX10" fmla="*/ 389469 w 518084"/>
                <a:gd name="connsiteY10" fmla="*/ 461125 h 481797"/>
                <a:gd name="connsiteX11" fmla="*/ 405775 w 518084"/>
                <a:gd name="connsiteY11" fmla="*/ 474794 h 481797"/>
                <a:gd name="connsiteX12" fmla="*/ 490316 w 518084"/>
                <a:gd name="connsiteY12" fmla="*/ 64741 h 481797"/>
                <a:gd name="connsiteX13" fmla="*/ 510451 w 518084"/>
                <a:gd name="connsiteY13" fmla="*/ -3352 h 48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084" h="481797">
                  <a:moveTo>
                    <a:pt x="510451" y="-3352"/>
                  </a:moveTo>
                  <a:cubicBezTo>
                    <a:pt x="510451" y="-3352"/>
                    <a:pt x="482396" y="-18448"/>
                    <a:pt x="439973" y="12747"/>
                  </a:cubicBezTo>
                  <a:cubicBezTo>
                    <a:pt x="439973" y="12747"/>
                    <a:pt x="430609" y="193461"/>
                    <a:pt x="387650" y="293827"/>
                  </a:cubicBezTo>
                  <a:lnTo>
                    <a:pt x="275080" y="155753"/>
                  </a:lnTo>
                  <a:cubicBezTo>
                    <a:pt x="261802" y="142987"/>
                    <a:pt x="246290" y="132767"/>
                    <a:pt x="229255" y="125657"/>
                  </a:cubicBezTo>
                  <a:lnTo>
                    <a:pt x="18759" y="21999"/>
                  </a:lnTo>
                  <a:cubicBezTo>
                    <a:pt x="-15414" y="37298"/>
                    <a:pt x="-6618" y="74555"/>
                    <a:pt x="-6618" y="74555"/>
                  </a:cubicBezTo>
                  <a:lnTo>
                    <a:pt x="208153" y="212613"/>
                  </a:lnTo>
                  <a:lnTo>
                    <a:pt x="327119" y="395616"/>
                  </a:lnTo>
                  <a:cubicBezTo>
                    <a:pt x="337531" y="409097"/>
                    <a:pt x="348884" y="421828"/>
                    <a:pt x="361120" y="433658"/>
                  </a:cubicBezTo>
                  <a:lnTo>
                    <a:pt x="389469" y="461125"/>
                  </a:lnTo>
                  <a:lnTo>
                    <a:pt x="405775" y="474794"/>
                  </a:lnTo>
                  <a:cubicBezTo>
                    <a:pt x="407158" y="463227"/>
                    <a:pt x="429136" y="282032"/>
                    <a:pt x="490316" y="64741"/>
                  </a:cubicBezTo>
                  <a:cubicBezTo>
                    <a:pt x="496590" y="42367"/>
                    <a:pt x="503300" y="19624"/>
                    <a:pt x="510451" y="-3352"/>
                  </a:cubicBezTo>
                </a:path>
              </a:pathLst>
            </a:custGeom>
            <a:solidFill>
              <a:srgbClr val="4DA5C3">
                <a:lumMod val="60000"/>
                <a:lumOff val="4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6" name="Freeform: Shape 445">
              <a:extLst>
                <a:ext uri="{FF2B5EF4-FFF2-40B4-BE49-F238E27FC236}">
                  <a16:creationId xmlns:a16="http://schemas.microsoft.com/office/drawing/2014/main" id="{54F200DB-82FC-AD55-43A3-EF8A733D51EC}"/>
                </a:ext>
              </a:extLst>
            </p:cNvPr>
            <p:cNvSpPr/>
            <p:nvPr/>
          </p:nvSpPr>
          <p:spPr>
            <a:xfrm flipV="1">
              <a:off x="6496918" y="2978975"/>
              <a:ext cx="25114" cy="76363"/>
            </a:xfrm>
            <a:custGeom>
              <a:avLst/>
              <a:gdLst>
                <a:gd name="connsiteX0" fmla="*/ 13341 w 25114"/>
                <a:gd name="connsiteY0" fmla="*/ -7213 h 76363"/>
                <a:gd name="connsiteX1" fmla="*/ 9554 w 25114"/>
                <a:gd name="connsiteY1" fmla="*/ -4746 h 76363"/>
                <a:gd name="connsiteX2" fmla="*/ -7826 w 25114"/>
                <a:gd name="connsiteY2" fmla="*/ 64678 h 76363"/>
                <a:gd name="connsiteX3" fmla="*/ -4302 w 25114"/>
                <a:gd name="connsiteY3" fmla="*/ 69124 h 76363"/>
                <a:gd name="connsiteX4" fmla="*/ 140 w 25114"/>
                <a:gd name="connsiteY4" fmla="*/ 65594 h 76363"/>
                <a:gd name="connsiteX5" fmla="*/ 16947 w 25114"/>
                <a:gd name="connsiteY5" fmla="*/ -1663 h 76363"/>
                <a:gd name="connsiteX6" fmla="*/ 14800 w 25114"/>
                <a:gd name="connsiteY6" fmla="*/ -6904 h 76363"/>
                <a:gd name="connsiteX7" fmla="*/ 13341 w 25114"/>
                <a:gd name="connsiteY7" fmla="*/ -7213 h 76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14" h="76363">
                  <a:moveTo>
                    <a:pt x="13341" y="-7213"/>
                  </a:moveTo>
                  <a:cubicBezTo>
                    <a:pt x="11742" y="-7248"/>
                    <a:pt x="10207" y="-6321"/>
                    <a:pt x="9554" y="-4746"/>
                  </a:cubicBezTo>
                  <a:cubicBezTo>
                    <a:pt x="9027" y="-3480"/>
                    <a:pt x="-3491" y="26808"/>
                    <a:pt x="-7826" y="64678"/>
                  </a:cubicBezTo>
                  <a:cubicBezTo>
                    <a:pt x="-8075" y="66881"/>
                    <a:pt x="-6500" y="68866"/>
                    <a:pt x="-4302" y="69124"/>
                  </a:cubicBezTo>
                  <a:cubicBezTo>
                    <a:pt x="-2064" y="69372"/>
                    <a:pt x="-109" y="67787"/>
                    <a:pt x="140" y="65594"/>
                  </a:cubicBezTo>
                  <a:cubicBezTo>
                    <a:pt x="4343" y="28900"/>
                    <a:pt x="16831" y="-1364"/>
                    <a:pt x="16947" y="-1663"/>
                  </a:cubicBezTo>
                  <a:cubicBezTo>
                    <a:pt x="17808" y="-3703"/>
                    <a:pt x="16841" y="-6053"/>
                    <a:pt x="14800" y="-6904"/>
                  </a:cubicBezTo>
                  <a:cubicBezTo>
                    <a:pt x="14319" y="-7101"/>
                    <a:pt x="13833" y="-7203"/>
                    <a:pt x="13341" y="-7213"/>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7" name="Freeform: Shape 446">
              <a:extLst>
                <a:ext uri="{FF2B5EF4-FFF2-40B4-BE49-F238E27FC236}">
                  <a16:creationId xmlns:a16="http://schemas.microsoft.com/office/drawing/2014/main" id="{BB338C71-9B20-5C22-A23E-E476BAD95088}"/>
                </a:ext>
              </a:extLst>
            </p:cNvPr>
            <p:cNvSpPr/>
            <p:nvPr/>
          </p:nvSpPr>
          <p:spPr>
            <a:xfrm flipV="1">
              <a:off x="6613257" y="2731714"/>
              <a:ext cx="601365" cy="604687"/>
            </a:xfrm>
            <a:custGeom>
              <a:avLst/>
              <a:gdLst>
                <a:gd name="connsiteX0" fmla="*/ 592522 w 601365"/>
                <a:gd name="connsiteY0" fmla="*/ 532245 h 604687"/>
                <a:gd name="connsiteX1" fmla="*/ 391122 w 601365"/>
                <a:gd name="connsiteY1" fmla="*/ 364516 h 604687"/>
                <a:gd name="connsiteX2" fmla="*/ 338571 w 601365"/>
                <a:gd name="connsiteY2" fmla="*/ 350737 h 604687"/>
                <a:gd name="connsiteX3" fmla="*/ 167201 w 601365"/>
                <a:gd name="connsiteY3" fmla="*/ 379855 h 604687"/>
                <a:gd name="connsiteX4" fmla="*/ 249594 w 601365"/>
                <a:gd name="connsiteY4" fmla="*/ 43764 h 604687"/>
                <a:gd name="connsiteX5" fmla="*/ 136421 w 601365"/>
                <a:gd name="connsiteY5" fmla="*/ -7176 h 604687"/>
                <a:gd name="connsiteX6" fmla="*/ 136370 w 601365"/>
                <a:gd name="connsiteY6" fmla="*/ -7080 h 604687"/>
                <a:gd name="connsiteX7" fmla="*/ -8544 w 601365"/>
                <a:gd name="connsiteY7" fmla="*/ 514531 h 604687"/>
                <a:gd name="connsiteX8" fmla="*/ 92054 w 601365"/>
                <a:gd name="connsiteY8" fmla="*/ 522228 h 604687"/>
                <a:gd name="connsiteX9" fmla="*/ 182399 w 601365"/>
                <a:gd name="connsiteY9" fmla="*/ 509877 h 604687"/>
                <a:gd name="connsiteX10" fmla="*/ 352928 w 601365"/>
                <a:gd name="connsiteY10" fmla="*/ 447983 h 604687"/>
                <a:gd name="connsiteX11" fmla="*/ 569278 w 601365"/>
                <a:gd name="connsiteY11" fmla="*/ 597512 h 604687"/>
                <a:gd name="connsiteX12" fmla="*/ 592522 w 601365"/>
                <a:gd name="connsiteY12" fmla="*/ 532245 h 60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1365" h="604687">
                  <a:moveTo>
                    <a:pt x="592522" y="532245"/>
                  </a:moveTo>
                  <a:lnTo>
                    <a:pt x="391122" y="364516"/>
                  </a:lnTo>
                  <a:cubicBezTo>
                    <a:pt x="376030" y="353198"/>
                    <a:pt x="357222" y="348271"/>
                    <a:pt x="338571" y="350737"/>
                  </a:cubicBezTo>
                  <a:lnTo>
                    <a:pt x="167201" y="379855"/>
                  </a:lnTo>
                  <a:cubicBezTo>
                    <a:pt x="201733" y="188801"/>
                    <a:pt x="249594" y="43764"/>
                    <a:pt x="249594" y="43764"/>
                  </a:cubicBezTo>
                  <a:cubicBezTo>
                    <a:pt x="207142" y="-699"/>
                    <a:pt x="136421" y="-7176"/>
                    <a:pt x="136421" y="-7176"/>
                  </a:cubicBezTo>
                  <a:lnTo>
                    <a:pt x="136370" y="-7080"/>
                  </a:lnTo>
                  <a:cubicBezTo>
                    <a:pt x="133509" y="-572"/>
                    <a:pt x="-6266" y="337129"/>
                    <a:pt x="-8544" y="514531"/>
                  </a:cubicBezTo>
                  <a:lnTo>
                    <a:pt x="92054" y="522228"/>
                  </a:lnTo>
                  <a:cubicBezTo>
                    <a:pt x="122682" y="524583"/>
                    <a:pt x="153508" y="520370"/>
                    <a:pt x="182399" y="509877"/>
                  </a:cubicBezTo>
                  <a:lnTo>
                    <a:pt x="352928" y="447983"/>
                  </a:lnTo>
                  <a:lnTo>
                    <a:pt x="569278" y="597512"/>
                  </a:lnTo>
                  <a:cubicBezTo>
                    <a:pt x="569278" y="597512"/>
                    <a:pt x="595915" y="594119"/>
                    <a:pt x="592522" y="532245"/>
                  </a:cubicBezTo>
                </a:path>
              </a:pathLst>
            </a:custGeom>
            <a:solidFill>
              <a:srgbClr val="4DA5C3">
                <a:lumMod val="60000"/>
                <a:lumOff val="4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8" name="Freeform: Shape 447">
              <a:extLst>
                <a:ext uri="{FF2B5EF4-FFF2-40B4-BE49-F238E27FC236}">
                  <a16:creationId xmlns:a16="http://schemas.microsoft.com/office/drawing/2014/main" id="{ECB0082E-AC07-4600-29F1-EC586A39A11D}"/>
                </a:ext>
              </a:extLst>
            </p:cNvPr>
            <p:cNvSpPr/>
            <p:nvPr/>
          </p:nvSpPr>
          <p:spPr>
            <a:xfrm flipV="1">
              <a:off x="6764988" y="3225513"/>
              <a:ext cx="80637" cy="29178"/>
            </a:xfrm>
            <a:custGeom>
              <a:avLst/>
              <a:gdLst>
                <a:gd name="connsiteX0" fmla="*/ 55906 w 80637"/>
                <a:gd name="connsiteY0" fmla="*/ -6690 h 29178"/>
                <a:gd name="connsiteX1" fmla="*/ -6940 w 80637"/>
                <a:gd name="connsiteY1" fmla="*/ 15395 h 29178"/>
                <a:gd name="connsiteX2" fmla="*/ -7406 w 80637"/>
                <a:gd name="connsiteY2" fmla="*/ 21046 h 29178"/>
                <a:gd name="connsiteX3" fmla="*/ -1760 w 80637"/>
                <a:gd name="connsiteY3" fmla="*/ 21512 h 29178"/>
                <a:gd name="connsiteX4" fmla="*/ 67599 w 80637"/>
                <a:gd name="connsiteY4" fmla="*/ 2456 h 29178"/>
                <a:gd name="connsiteX5" fmla="*/ 72222 w 80637"/>
                <a:gd name="connsiteY5" fmla="*/ -831 h 29178"/>
                <a:gd name="connsiteX6" fmla="*/ 68930 w 80637"/>
                <a:gd name="connsiteY6" fmla="*/ -5449 h 29178"/>
                <a:gd name="connsiteX7" fmla="*/ 55906 w 80637"/>
                <a:gd name="connsiteY7" fmla="*/ -6690 h 29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637" h="29178">
                  <a:moveTo>
                    <a:pt x="55906" y="-6690"/>
                  </a:moveTo>
                  <a:cubicBezTo>
                    <a:pt x="33203" y="-7217"/>
                    <a:pt x="10440" y="643"/>
                    <a:pt x="-6940" y="15395"/>
                  </a:cubicBezTo>
                  <a:cubicBezTo>
                    <a:pt x="-8632" y="16828"/>
                    <a:pt x="-8839" y="19360"/>
                    <a:pt x="-7406" y="21046"/>
                  </a:cubicBezTo>
                  <a:cubicBezTo>
                    <a:pt x="-5968" y="22748"/>
                    <a:pt x="-3441" y="22935"/>
                    <a:pt x="-1760" y="21512"/>
                  </a:cubicBezTo>
                  <a:cubicBezTo>
                    <a:pt x="17185" y="5434"/>
                    <a:pt x="43114" y="-1671"/>
                    <a:pt x="67599" y="2456"/>
                  </a:cubicBezTo>
                  <a:cubicBezTo>
                    <a:pt x="69746" y="2785"/>
                    <a:pt x="71848" y="1357"/>
                    <a:pt x="72222" y="-831"/>
                  </a:cubicBezTo>
                  <a:cubicBezTo>
                    <a:pt x="72592" y="-3008"/>
                    <a:pt x="71118" y="-5079"/>
                    <a:pt x="68930" y="-5449"/>
                  </a:cubicBezTo>
                  <a:cubicBezTo>
                    <a:pt x="64621" y="-6184"/>
                    <a:pt x="60266" y="-6589"/>
                    <a:pt x="55906" y="-6690"/>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9" name="Freeform: Shape 448">
              <a:extLst>
                <a:ext uri="{FF2B5EF4-FFF2-40B4-BE49-F238E27FC236}">
                  <a16:creationId xmlns:a16="http://schemas.microsoft.com/office/drawing/2014/main" id="{5632AE76-F682-F465-BBBD-C3535A37EF16}"/>
                </a:ext>
              </a:extLst>
            </p:cNvPr>
            <p:cNvSpPr/>
            <p:nvPr/>
          </p:nvSpPr>
          <p:spPr>
            <a:xfrm flipV="1">
              <a:off x="6624968" y="2831413"/>
              <a:ext cx="96793" cy="357906"/>
            </a:xfrm>
            <a:custGeom>
              <a:avLst/>
              <a:gdLst>
                <a:gd name="connsiteX0" fmla="*/ 84736 w 96793"/>
                <a:gd name="connsiteY0" fmla="*/ -7228 h 357906"/>
                <a:gd name="connsiteX1" fmla="*/ 80775 w 96793"/>
                <a:gd name="connsiteY1" fmla="*/ -4245 h 357906"/>
                <a:gd name="connsiteX2" fmla="*/ 53151 w 96793"/>
                <a:gd name="connsiteY2" fmla="*/ 242079 h 357906"/>
                <a:gd name="connsiteX3" fmla="*/ 33643 w 96793"/>
                <a:gd name="connsiteY3" fmla="*/ 250541 h 357906"/>
                <a:gd name="connsiteX4" fmla="*/ 11609 w 96793"/>
                <a:gd name="connsiteY4" fmla="*/ 260097 h 357906"/>
                <a:gd name="connsiteX5" fmla="*/ 7989 w 96793"/>
                <a:gd name="connsiteY5" fmla="*/ 261682 h 357906"/>
                <a:gd name="connsiteX6" fmla="*/ 34722 w 96793"/>
                <a:gd name="connsiteY6" fmla="*/ 325075 h 357906"/>
                <a:gd name="connsiteX7" fmla="*/ -5740 w 96793"/>
                <a:gd name="connsiteY7" fmla="*/ 342997 h 357906"/>
                <a:gd name="connsiteX8" fmla="*/ -7791 w 96793"/>
                <a:gd name="connsiteY8" fmla="*/ 348284 h 357906"/>
                <a:gd name="connsiteX9" fmla="*/ -2499 w 96793"/>
                <a:gd name="connsiteY9" fmla="*/ 350330 h 357906"/>
                <a:gd name="connsiteX10" fmla="*/ 45175 w 96793"/>
                <a:gd name="connsiteY10" fmla="*/ 329213 h 357906"/>
                <a:gd name="connsiteX11" fmla="*/ 18451 w 96793"/>
                <a:gd name="connsiteY11" fmla="*/ 265860 h 357906"/>
                <a:gd name="connsiteX12" fmla="*/ 36819 w 96793"/>
                <a:gd name="connsiteY12" fmla="*/ 257900 h 357906"/>
                <a:gd name="connsiteX13" fmla="*/ 58848 w 96793"/>
                <a:gd name="connsiteY13" fmla="*/ 248344 h 357906"/>
                <a:gd name="connsiteX14" fmla="*/ 61334 w 96793"/>
                <a:gd name="connsiteY14" fmla="*/ 247255 h 357906"/>
                <a:gd name="connsiteX15" fmla="*/ 61248 w 96793"/>
                <a:gd name="connsiteY15" fmla="*/ 244546 h 357906"/>
                <a:gd name="connsiteX16" fmla="*/ 88529 w 96793"/>
                <a:gd name="connsiteY16" fmla="*/ -2199 h 357906"/>
                <a:gd name="connsiteX17" fmla="*/ 85672 w 96793"/>
                <a:gd name="connsiteY17" fmla="*/ -7096 h 357906"/>
                <a:gd name="connsiteX18" fmla="*/ 84736 w 96793"/>
                <a:gd name="connsiteY18" fmla="*/ -7228 h 35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6793" h="357906">
                  <a:moveTo>
                    <a:pt x="84736" y="-7228"/>
                  </a:moveTo>
                  <a:cubicBezTo>
                    <a:pt x="82928" y="-7269"/>
                    <a:pt x="81252" y="-6073"/>
                    <a:pt x="80775" y="-4245"/>
                  </a:cubicBezTo>
                  <a:cubicBezTo>
                    <a:pt x="60007" y="74401"/>
                    <a:pt x="50714" y="157265"/>
                    <a:pt x="53151" y="242079"/>
                  </a:cubicBezTo>
                  <a:cubicBezTo>
                    <a:pt x="46663" y="244915"/>
                    <a:pt x="40151" y="247726"/>
                    <a:pt x="33643" y="250541"/>
                  </a:cubicBezTo>
                  <a:cubicBezTo>
                    <a:pt x="26290" y="253717"/>
                    <a:pt x="18932" y="256892"/>
                    <a:pt x="11609" y="260097"/>
                  </a:cubicBezTo>
                  <a:lnTo>
                    <a:pt x="7989" y="261682"/>
                  </a:lnTo>
                  <a:lnTo>
                    <a:pt x="34722" y="325075"/>
                  </a:lnTo>
                  <a:lnTo>
                    <a:pt x="-5740" y="342997"/>
                  </a:lnTo>
                  <a:cubicBezTo>
                    <a:pt x="-7771" y="343894"/>
                    <a:pt x="-8682" y="346264"/>
                    <a:pt x="-7791" y="348284"/>
                  </a:cubicBezTo>
                  <a:cubicBezTo>
                    <a:pt x="-6895" y="350305"/>
                    <a:pt x="-4540" y="351237"/>
                    <a:pt x="-2499" y="350330"/>
                  </a:cubicBezTo>
                  <a:lnTo>
                    <a:pt x="45175" y="329213"/>
                  </a:lnTo>
                  <a:lnTo>
                    <a:pt x="18451" y="265860"/>
                  </a:lnTo>
                  <a:cubicBezTo>
                    <a:pt x="24558" y="263197"/>
                    <a:pt x="30691" y="260548"/>
                    <a:pt x="36819" y="257900"/>
                  </a:cubicBezTo>
                  <a:cubicBezTo>
                    <a:pt x="44172" y="254719"/>
                    <a:pt x="51530" y="251544"/>
                    <a:pt x="58848" y="248344"/>
                  </a:cubicBezTo>
                  <a:lnTo>
                    <a:pt x="61334" y="247255"/>
                  </a:lnTo>
                  <a:lnTo>
                    <a:pt x="61248" y="244546"/>
                  </a:lnTo>
                  <a:cubicBezTo>
                    <a:pt x="58559" y="159559"/>
                    <a:pt x="67735" y="76543"/>
                    <a:pt x="88529" y="-2199"/>
                  </a:cubicBezTo>
                  <a:cubicBezTo>
                    <a:pt x="89091" y="-4341"/>
                    <a:pt x="87809" y="-6529"/>
                    <a:pt x="85672" y="-7096"/>
                  </a:cubicBezTo>
                  <a:lnTo>
                    <a:pt x="84736" y="-7228"/>
                  </a:ln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0" name="Freeform: Shape 449">
              <a:extLst>
                <a:ext uri="{FF2B5EF4-FFF2-40B4-BE49-F238E27FC236}">
                  <a16:creationId xmlns:a16="http://schemas.microsoft.com/office/drawing/2014/main" id="{4281A29F-227F-D9B0-5CEB-C48F2DF7E464}"/>
                </a:ext>
              </a:extLst>
            </p:cNvPr>
            <p:cNvSpPr/>
            <p:nvPr/>
          </p:nvSpPr>
          <p:spPr>
            <a:xfrm flipV="1">
              <a:off x="5866242" y="1836052"/>
              <a:ext cx="1519199" cy="460634"/>
            </a:xfrm>
            <a:custGeom>
              <a:avLst/>
              <a:gdLst>
                <a:gd name="connsiteX0" fmla="*/ 1443339 w 1519199"/>
                <a:gd name="connsiteY0" fmla="*/ 31710 h 460634"/>
                <a:gd name="connsiteX1" fmla="*/ 1511148 w 1519199"/>
                <a:gd name="connsiteY1" fmla="*/ 385080 h 460634"/>
                <a:gd name="connsiteX2" fmla="*/ 1276375 w 1519199"/>
                <a:gd name="connsiteY2" fmla="*/ 447754 h 460634"/>
                <a:gd name="connsiteX3" fmla="*/ 1045273 w 1519199"/>
                <a:gd name="connsiteY3" fmla="*/ 367204 h 460634"/>
                <a:gd name="connsiteX4" fmla="*/ 810920 w 1519199"/>
                <a:gd name="connsiteY4" fmla="*/ 299264 h 460634"/>
                <a:gd name="connsiteX5" fmla="*/ 521829 w 1519199"/>
                <a:gd name="connsiteY5" fmla="*/ 337660 h 460634"/>
                <a:gd name="connsiteX6" fmla="*/ 237412 w 1519199"/>
                <a:gd name="connsiteY6" fmla="*/ 266256 h 460634"/>
                <a:gd name="connsiteX7" fmla="*/ -8051 w 1519199"/>
                <a:gd name="connsiteY7" fmla="*/ 100410 h 460634"/>
                <a:gd name="connsiteX8" fmla="*/ 650139 w 1519199"/>
                <a:gd name="connsiteY8" fmla="*/ 119421 h 460634"/>
                <a:gd name="connsiteX9" fmla="*/ 989567 w 1519199"/>
                <a:gd name="connsiteY9" fmla="*/ -9031 h 460634"/>
                <a:gd name="connsiteX10" fmla="*/ 1218340 w 1519199"/>
                <a:gd name="connsiteY10" fmla="*/ 31113 h 460634"/>
                <a:gd name="connsiteX11" fmla="*/ 1443339 w 1519199"/>
                <a:gd name="connsiteY11" fmla="*/ 31710 h 460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19199" h="460634">
                  <a:moveTo>
                    <a:pt x="1443339" y="31710"/>
                  </a:moveTo>
                  <a:cubicBezTo>
                    <a:pt x="1443339" y="31710"/>
                    <a:pt x="1266601" y="287566"/>
                    <a:pt x="1511148" y="385080"/>
                  </a:cubicBezTo>
                  <a:cubicBezTo>
                    <a:pt x="1453670" y="443333"/>
                    <a:pt x="1357401" y="459381"/>
                    <a:pt x="1276375" y="447754"/>
                  </a:cubicBezTo>
                  <a:cubicBezTo>
                    <a:pt x="1195349" y="436132"/>
                    <a:pt x="1120045" y="400465"/>
                    <a:pt x="1045273" y="367204"/>
                  </a:cubicBezTo>
                  <a:cubicBezTo>
                    <a:pt x="970476" y="333943"/>
                    <a:pt x="892721" y="302201"/>
                    <a:pt x="810920" y="299264"/>
                  </a:cubicBezTo>
                  <a:cubicBezTo>
                    <a:pt x="713588" y="295770"/>
                    <a:pt x="619126" y="333340"/>
                    <a:pt x="521829" y="337660"/>
                  </a:cubicBezTo>
                  <a:cubicBezTo>
                    <a:pt x="423048" y="342055"/>
                    <a:pt x="325199" y="311747"/>
                    <a:pt x="237412" y="266256"/>
                  </a:cubicBezTo>
                  <a:cubicBezTo>
                    <a:pt x="149615" y="220760"/>
                    <a:pt x="70524" y="160425"/>
                    <a:pt x="-8051" y="100410"/>
                  </a:cubicBezTo>
                  <a:cubicBezTo>
                    <a:pt x="192574" y="205045"/>
                    <a:pt x="441836" y="207810"/>
                    <a:pt x="650139" y="119421"/>
                  </a:cubicBezTo>
                  <a:cubicBezTo>
                    <a:pt x="762310" y="71823"/>
                    <a:pt x="867836" y="-3637"/>
                    <a:pt x="989567" y="-9031"/>
                  </a:cubicBezTo>
                  <a:cubicBezTo>
                    <a:pt x="1067216" y="-12469"/>
                    <a:pt x="1142682" y="13388"/>
                    <a:pt x="1218340" y="31113"/>
                  </a:cubicBezTo>
                  <a:cubicBezTo>
                    <a:pt x="1294049" y="48837"/>
                    <a:pt x="1373860" y="66471"/>
                    <a:pt x="1443339" y="31710"/>
                  </a:cubicBezTo>
                </a:path>
              </a:pathLst>
            </a:custGeom>
            <a:solidFill>
              <a:srgbClr val="4DA5C3"/>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1" name="Freeform: Shape 450">
              <a:extLst>
                <a:ext uri="{FF2B5EF4-FFF2-40B4-BE49-F238E27FC236}">
                  <a16:creationId xmlns:a16="http://schemas.microsoft.com/office/drawing/2014/main" id="{2635427F-C960-D853-FDA9-2D754D7D5D86}"/>
                </a:ext>
              </a:extLst>
            </p:cNvPr>
            <p:cNvSpPr/>
            <p:nvPr/>
          </p:nvSpPr>
          <p:spPr>
            <a:xfrm flipV="1">
              <a:off x="6940144" y="1868679"/>
              <a:ext cx="456727" cy="2327859"/>
            </a:xfrm>
            <a:custGeom>
              <a:avLst/>
              <a:gdLst>
                <a:gd name="connsiteX0" fmla="*/ 14601 w 456727"/>
                <a:gd name="connsiteY0" fmla="*/ 1713 h 2327859"/>
                <a:gd name="connsiteX1" fmla="*/ 57672 w 456727"/>
                <a:gd name="connsiteY1" fmla="*/ 231027 h 2327859"/>
                <a:gd name="connsiteX2" fmla="*/ 161132 w 456727"/>
                <a:gd name="connsiteY2" fmla="*/ 781660 h 2327859"/>
                <a:gd name="connsiteX3" fmla="*/ 285761 w 456727"/>
                <a:gd name="connsiteY3" fmla="*/ 1445143 h 2327859"/>
                <a:gd name="connsiteX4" fmla="*/ 394386 w 456727"/>
                <a:gd name="connsiteY4" fmla="*/ 2023172 h 2327859"/>
                <a:gd name="connsiteX5" fmla="*/ 429835 w 456727"/>
                <a:gd name="connsiteY5" fmla="*/ 2212039 h 2327859"/>
                <a:gd name="connsiteX6" fmla="*/ 446749 w 456727"/>
                <a:gd name="connsiteY6" fmla="*/ 2301918 h 2327859"/>
                <a:gd name="connsiteX7" fmla="*/ 447509 w 456727"/>
                <a:gd name="connsiteY7" fmla="*/ 2305939 h 2327859"/>
                <a:gd name="connsiteX8" fmla="*/ 424163 w 456727"/>
                <a:gd name="connsiteY8" fmla="*/ 2311793 h 2327859"/>
                <a:gd name="connsiteX9" fmla="*/ 381068 w 456727"/>
                <a:gd name="connsiteY9" fmla="*/ 2082479 h 2327859"/>
                <a:gd name="connsiteX10" fmla="*/ 277607 w 456727"/>
                <a:gd name="connsiteY10" fmla="*/ 1531845 h 2327859"/>
                <a:gd name="connsiteX11" fmla="*/ 152979 w 456727"/>
                <a:gd name="connsiteY11" fmla="*/ 868363 h 2327859"/>
                <a:gd name="connsiteX12" fmla="*/ 44404 w 456727"/>
                <a:gd name="connsiteY12" fmla="*/ 290338 h 2327859"/>
                <a:gd name="connsiteX13" fmla="*/ 8904 w 456727"/>
                <a:gd name="connsiteY13" fmla="*/ 101466 h 2327859"/>
                <a:gd name="connsiteX14" fmla="*/ -7979 w 456727"/>
                <a:gd name="connsiteY14" fmla="*/ 11588 h 2327859"/>
                <a:gd name="connsiteX15" fmla="*/ -8739 w 456727"/>
                <a:gd name="connsiteY15" fmla="*/ 7567 h 2327859"/>
                <a:gd name="connsiteX16" fmla="*/ 14601 w 456727"/>
                <a:gd name="connsiteY16" fmla="*/ 1713 h 232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6727" h="2327859">
                  <a:moveTo>
                    <a:pt x="14601" y="1713"/>
                  </a:moveTo>
                  <a:cubicBezTo>
                    <a:pt x="28963" y="78151"/>
                    <a:pt x="43340" y="154589"/>
                    <a:pt x="57672" y="231027"/>
                  </a:cubicBezTo>
                  <a:cubicBezTo>
                    <a:pt x="92159" y="414571"/>
                    <a:pt x="126645" y="598116"/>
                    <a:pt x="161132" y="781660"/>
                  </a:cubicBezTo>
                  <a:cubicBezTo>
                    <a:pt x="202658" y="1002821"/>
                    <a:pt x="244235" y="1223982"/>
                    <a:pt x="285761" y="1445143"/>
                  </a:cubicBezTo>
                  <a:cubicBezTo>
                    <a:pt x="321969" y="1637818"/>
                    <a:pt x="358178" y="1830493"/>
                    <a:pt x="394386" y="2023172"/>
                  </a:cubicBezTo>
                  <a:cubicBezTo>
                    <a:pt x="406186" y="2086125"/>
                    <a:pt x="418036" y="2149082"/>
                    <a:pt x="429835" y="2212039"/>
                  </a:cubicBezTo>
                  <a:cubicBezTo>
                    <a:pt x="435355" y="2241452"/>
                    <a:pt x="444167" y="2272049"/>
                    <a:pt x="446749" y="2301918"/>
                  </a:cubicBezTo>
                  <a:cubicBezTo>
                    <a:pt x="446850" y="2303255"/>
                    <a:pt x="447255" y="2304617"/>
                    <a:pt x="447509" y="2305939"/>
                  </a:cubicBezTo>
                  <a:cubicBezTo>
                    <a:pt x="450345" y="2321106"/>
                    <a:pt x="426999" y="2327021"/>
                    <a:pt x="424163" y="2311793"/>
                  </a:cubicBezTo>
                  <a:cubicBezTo>
                    <a:pt x="409781" y="2235355"/>
                    <a:pt x="395449" y="2158917"/>
                    <a:pt x="381068" y="2082479"/>
                  </a:cubicBezTo>
                  <a:cubicBezTo>
                    <a:pt x="346581" y="1898934"/>
                    <a:pt x="312094" y="1715390"/>
                    <a:pt x="277607" y="1531845"/>
                  </a:cubicBezTo>
                  <a:cubicBezTo>
                    <a:pt x="236081" y="1310685"/>
                    <a:pt x="194505" y="1089524"/>
                    <a:pt x="152979" y="868363"/>
                  </a:cubicBezTo>
                  <a:cubicBezTo>
                    <a:pt x="116770" y="675693"/>
                    <a:pt x="80562" y="483013"/>
                    <a:pt x="44404" y="290338"/>
                  </a:cubicBezTo>
                  <a:cubicBezTo>
                    <a:pt x="32559" y="227380"/>
                    <a:pt x="20729" y="164423"/>
                    <a:pt x="8904" y="101466"/>
                  </a:cubicBezTo>
                  <a:cubicBezTo>
                    <a:pt x="3374" y="72053"/>
                    <a:pt x="-5427" y="41451"/>
                    <a:pt x="-7979" y="11588"/>
                  </a:cubicBezTo>
                  <a:cubicBezTo>
                    <a:pt x="-8101" y="10251"/>
                    <a:pt x="-8491" y="8894"/>
                    <a:pt x="-8739" y="7567"/>
                  </a:cubicBezTo>
                  <a:cubicBezTo>
                    <a:pt x="-11590" y="-7605"/>
                    <a:pt x="11740" y="-13520"/>
                    <a:pt x="14601" y="1713"/>
                  </a:cubicBezTo>
                </a:path>
              </a:pathLst>
            </a:custGeom>
            <a:solidFill>
              <a:srgbClr val="4DA5C3">
                <a:lumMod val="5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2" name="Freeform: Shape 451">
              <a:extLst>
                <a:ext uri="{FF2B5EF4-FFF2-40B4-BE49-F238E27FC236}">
                  <a16:creationId xmlns:a16="http://schemas.microsoft.com/office/drawing/2014/main" id="{6B178583-4771-D771-C0E2-997D4D4FA580}"/>
                </a:ext>
              </a:extLst>
            </p:cNvPr>
            <p:cNvSpPr/>
            <p:nvPr/>
          </p:nvSpPr>
          <p:spPr>
            <a:xfrm flipV="1">
              <a:off x="7190711" y="2709436"/>
              <a:ext cx="27815" cy="22181"/>
            </a:xfrm>
            <a:custGeom>
              <a:avLst/>
              <a:gdLst>
                <a:gd name="connsiteX0" fmla="*/ 18470 w 27815"/>
                <a:gd name="connsiteY0" fmla="*/ 6915 h 22181"/>
                <a:gd name="connsiteX1" fmla="*/ 11735 w 27815"/>
                <a:gd name="connsiteY1" fmla="*/ 4813 h 22181"/>
                <a:gd name="connsiteX2" fmla="*/ 11634 w 27815"/>
                <a:gd name="connsiteY2" fmla="*/ 4631 h 22181"/>
                <a:gd name="connsiteX3" fmla="*/ -6141 w 27815"/>
                <a:gd name="connsiteY3" fmla="*/ -7878 h 22181"/>
                <a:gd name="connsiteX4" fmla="*/ 8241 w 27815"/>
                <a:gd name="connsiteY4" fmla="*/ 14298 h 22181"/>
                <a:gd name="connsiteX5" fmla="*/ 17508 w 27815"/>
                <a:gd name="connsiteY5" fmla="*/ 9087 h 22181"/>
                <a:gd name="connsiteX6" fmla="*/ 18470 w 27815"/>
                <a:gd name="connsiteY6" fmla="*/ 6915 h 2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15" h="22181">
                  <a:moveTo>
                    <a:pt x="18470" y="6915"/>
                  </a:moveTo>
                  <a:cubicBezTo>
                    <a:pt x="17863" y="3339"/>
                    <a:pt x="13204" y="7295"/>
                    <a:pt x="11735" y="4813"/>
                  </a:cubicBezTo>
                  <a:lnTo>
                    <a:pt x="11634" y="4631"/>
                  </a:lnTo>
                  <a:cubicBezTo>
                    <a:pt x="5355" y="-5710"/>
                    <a:pt x="-6141" y="-7878"/>
                    <a:pt x="-6141" y="-7878"/>
                  </a:cubicBezTo>
                  <a:cubicBezTo>
                    <a:pt x="-15155" y="10571"/>
                    <a:pt x="-1128" y="14030"/>
                    <a:pt x="8241" y="14298"/>
                  </a:cubicBezTo>
                  <a:cubicBezTo>
                    <a:pt x="11431" y="14460"/>
                    <a:pt x="15483" y="11275"/>
                    <a:pt x="17508" y="9087"/>
                  </a:cubicBezTo>
                  <a:cubicBezTo>
                    <a:pt x="18673" y="7806"/>
                    <a:pt x="19129" y="6854"/>
                    <a:pt x="18470" y="6915"/>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3" name="Freeform: Shape 452">
              <a:extLst>
                <a:ext uri="{FF2B5EF4-FFF2-40B4-BE49-F238E27FC236}">
                  <a16:creationId xmlns:a16="http://schemas.microsoft.com/office/drawing/2014/main" id="{FD84B9A8-B688-216E-5183-FA57BF673D9A}"/>
                </a:ext>
              </a:extLst>
            </p:cNvPr>
            <p:cNvSpPr/>
            <p:nvPr/>
          </p:nvSpPr>
          <p:spPr>
            <a:xfrm flipV="1">
              <a:off x="7209715" y="2714653"/>
              <a:ext cx="8810" cy="4456"/>
            </a:xfrm>
            <a:custGeom>
              <a:avLst/>
              <a:gdLst>
                <a:gd name="connsiteX0" fmla="*/ -550 w 8810"/>
                <a:gd name="connsiteY0" fmla="*/ -5602 h 4456"/>
                <a:gd name="connsiteX1" fmla="*/ -7286 w 8810"/>
                <a:gd name="connsiteY1" fmla="*/ -7703 h 4456"/>
                <a:gd name="connsiteX2" fmla="*/ -7387 w 8810"/>
                <a:gd name="connsiteY2" fmla="*/ -7886 h 4456"/>
                <a:gd name="connsiteX3" fmla="*/ -9058 w 8810"/>
                <a:gd name="connsiteY3" fmla="*/ -7288 h 4456"/>
                <a:gd name="connsiteX4" fmla="*/ -1512 w 8810"/>
                <a:gd name="connsiteY4" fmla="*/ -3429 h 4456"/>
                <a:gd name="connsiteX5" fmla="*/ -550 w 8810"/>
                <a:gd name="connsiteY5" fmla="*/ -5602 h 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10" h="4456">
                  <a:moveTo>
                    <a:pt x="-550" y="-5602"/>
                  </a:moveTo>
                  <a:cubicBezTo>
                    <a:pt x="-1158" y="-9177"/>
                    <a:pt x="-5817" y="-5222"/>
                    <a:pt x="-7286" y="-7703"/>
                  </a:cubicBezTo>
                  <a:lnTo>
                    <a:pt x="-7387" y="-7886"/>
                  </a:lnTo>
                  <a:lnTo>
                    <a:pt x="-9058" y="-7288"/>
                  </a:lnTo>
                  <a:cubicBezTo>
                    <a:pt x="-9058" y="-7288"/>
                    <a:pt x="-6121" y="-5298"/>
                    <a:pt x="-1512" y="-3429"/>
                  </a:cubicBezTo>
                  <a:cubicBezTo>
                    <a:pt x="-348" y="-4711"/>
                    <a:pt x="108" y="-5663"/>
                    <a:pt x="-550" y="-5602"/>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4" name="Freeform: Shape 453">
              <a:extLst>
                <a:ext uri="{FF2B5EF4-FFF2-40B4-BE49-F238E27FC236}">
                  <a16:creationId xmlns:a16="http://schemas.microsoft.com/office/drawing/2014/main" id="{4686DCC7-AE78-C2B1-A377-6E0CA96A7D70}"/>
                </a:ext>
              </a:extLst>
            </p:cNvPr>
            <p:cNvSpPr/>
            <p:nvPr/>
          </p:nvSpPr>
          <p:spPr>
            <a:xfrm flipV="1">
              <a:off x="7190582" y="2715825"/>
              <a:ext cx="59991" cy="84265"/>
            </a:xfrm>
            <a:custGeom>
              <a:avLst/>
              <a:gdLst>
                <a:gd name="connsiteX0" fmla="*/ 24447 w 59991"/>
                <a:gd name="connsiteY0" fmla="*/ -7069 h 84265"/>
                <a:gd name="connsiteX1" fmla="*/ 14419 w 59991"/>
                <a:gd name="connsiteY1" fmla="*/ -7671 h 84265"/>
                <a:gd name="connsiteX2" fmla="*/ 4899 w 59991"/>
                <a:gd name="connsiteY2" fmla="*/ -6035 h 84265"/>
                <a:gd name="connsiteX3" fmla="*/ -925 w 59991"/>
                <a:gd name="connsiteY3" fmla="*/ 1171 h 84265"/>
                <a:gd name="connsiteX4" fmla="*/ -1077 w 59991"/>
                <a:gd name="connsiteY4" fmla="*/ 7856 h 84265"/>
                <a:gd name="connsiteX5" fmla="*/ -1127 w 59991"/>
                <a:gd name="connsiteY5" fmla="*/ 7911 h 84265"/>
                <a:gd name="connsiteX6" fmla="*/ -4014 w 59991"/>
                <a:gd name="connsiteY6" fmla="*/ 25210 h 84265"/>
                <a:gd name="connsiteX7" fmla="*/ -9027 w 59991"/>
                <a:gd name="connsiteY7" fmla="*/ 33293 h 84265"/>
                <a:gd name="connsiteX8" fmla="*/ -5128 w 59991"/>
                <a:gd name="connsiteY8" fmla="*/ 42844 h 84265"/>
                <a:gd name="connsiteX9" fmla="*/ -8116 w 59991"/>
                <a:gd name="connsiteY9" fmla="*/ 50176 h 84265"/>
                <a:gd name="connsiteX10" fmla="*/ -3862 w 59991"/>
                <a:gd name="connsiteY10" fmla="*/ 57697 h 84265"/>
                <a:gd name="connsiteX11" fmla="*/ -5685 w 59991"/>
                <a:gd name="connsiteY11" fmla="*/ 66306 h 84265"/>
                <a:gd name="connsiteX12" fmla="*/ 2620 w 59991"/>
                <a:gd name="connsiteY12" fmla="*/ 71608 h 84265"/>
                <a:gd name="connsiteX13" fmla="*/ 30371 w 59991"/>
                <a:gd name="connsiteY13" fmla="*/ 76454 h 84265"/>
                <a:gd name="connsiteX14" fmla="*/ 40854 w 59991"/>
                <a:gd name="connsiteY14" fmla="*/ 75208 h 84265"/>
                <a:gd name="connsiteX15" fmla="*/ 48552 w 59991"/>
                <a:gd name="connsiteY15" fmla="*/ 68276 h 84265"/>
                <a:gd name="connsiteX16" fmla="*/ 48704 w 59991"/>
                <a:gd name="connsiteY16" fmla="*/ 60978 h 84265"/>
                <a:gd name="connsiteX17" fmla="*/ 49463 w 59991"/>
                <a:gd name="connsiteY17" fmla="*/ 54521 h 84265"/>
                <a:gd name="connsiteX18" fmla="*/ 50881 w 59991"/>
                <a:gd name="connsiteY18" fmla="*/ 47710 h 84265"/>
                <a:gd name="connsiteX19" fmla="*/ 48450 w 59991"/>
                <a:gd name="connsiteY19" fmla="*/ 42687 h 84265"/>
                <a:gd name="connsiteX20" fmla="*/ 45311 w 59991"/>
                <a:gd name="connsiteY20" fmla="*/ 33455 h 84265"/>
                <a:gd name="connsiteX21" fmla="*/ 44906 w 59991"/>
                <a:gd name="connsiteY21" fmla="*/ 26724 h 84265"/>
                <a:gd name="connsiteX22" fmla="*/ 41766 w 59991"/>
                <a:gd name="connsiteY22" fmla="*/ 21523 h 84265"/>
                <a:gd name="connsiteX23" fmla="*/ 38880 w 59991"/>
                <a:gd name="connsiteY23" fmla="*/ 12945 h 84265"/>
                <a:gd name="connsiteX24" fmla="*/ 36448 w 59991"/>
                <a:gd name="connsiteY24" fmla="*/ 3191 h 84265"/>
                <a:gd name="connsiteX25" fmla="*/ 24447 w 59991"/>
                <a:gd name="connsiteY25" fmla="*/ -7069 h 84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991" h="84265">
                  <a:moveTo>
                    <a:pt x="24447" y="-7069"/>
                  </a:moveTo>
                  <a:cubicBezTo>
                    <a:pt x="21307" y="-8117"/>
                    <a:pt x="17661" y="-7347"/>
                    <a:pt x="14419" y="-7671"/>
                  </a:cubicBezTo>
                  <a:cubicBezTo>
                    <a:pt x="11179" y="-8026"/>
                    <a:pt x="7735" y="-7651"/>
                    <a:pt x="4899" y="-6035"/>
                  </a:cubicBezTo>
                  <a:cubicBezTo>
                    <a:pt x="2165" y="-4471"/>
                    <a:pt x="38" y="-1772"/>
                    <a:pt x="-925" y="1171"/>
                  </a:cubicBezTo>
                  <a:cubicBezTo>
                    <a:pt x="-1684" y="3333"/>
                    <a:pt x="-1836" y="5663"/>
                    <a:pt x="-1077" y="7856"/>
                  </a:cubicBezTo>
                  <a:lnTo>
                    <a:pt x="-1127" y="7911"/>
                  </a:lnTo>
                  <a:cubicBezTo>
                    <a:pt x="-6191" y="12018"/>
                    <a:pt x="-7559" y="19766"/>
                    <a:pt x="-4014" y="25210"/>
                  </a:cubicBezTo>
                  <a:cubicBezTo>
                    <a:pt x="-7457" y="25874"/>
                    <a:pt x="-9382" y="29864"/>
                    <a:pt x="-9027" y="33293"/>
                  </a:cubicBezTo>
                  <a:cubicBezTo>
                    <a:pt x="-8622" y="36782"/>
                    <a:pt x="-7154" y="39962"/>
                    <a:pt x="-5128" y="42844"/>
                  </a:cubicBezTo>
                  <a:cubicBezTo>
                    <a:pt x="-7255" y="44631"/>
                    <a:pt x="-8369" y="47482"/>
                    <a:pt x="-8116" y="50176"/>
                  </a:cubicBezTo>
                  <a:cubicBezTo>
                    <a:pt x="-7913" y="52906"/>
                    <a:pt x="-6242" y="56294"/>
                    <a:pt x="-3862" y="57697"/>
                  </a:cubicBezTo>
                  <a:cubicBezTo>
                    <a:pt x="-6951" y="58958"/>
                    <a:pt x="-7508" y="63520"/>
                    <a:pt x="-5685" y="66306"/>
                  </a:cubicBezTo>
                  <a:cubicBezTo>
                    <a:pt x="-3862" y="69121"/>
                    <a:pt x="-520" y="70555"/>
                    <a:pt x="2620" y="71608"/>
                  </a:cubicBezTo>
                  <a:cubicBezTo>
                    <a:pt x="11533" y="74651"/>
                    <a:pt x="20952" y="76313"/>
                    <a:pt x="30371" y="76454"/>
                  </a:cubicBezTo>
                  <a:cubicBezTo>
                    <a:pt x="33916" y="76530"/>
                    <a:pt x="37512" y="76399"/>
                    <a:pt x="40854" y="75208"/>
                  </a:cubicBezTo>
                  <a:cubicBezTo>
                    <a:pt x="44197" y="73958"/>
                    <a:pt x="47286" y="71618"/>
                    <a:pt x="48552" y="68276"/>
                  </a:cubicBezTo>
                  <a:cubicBezTo>
                    <a:pt x="49413" y="66088"/>
                    <a:pt x="49565" y="63232"/>
                    <a:pt x="48704" y="60978"/>
                  </a:cubicBezTo>
                  <a:cubicBezTo>
                    <a:pt x="47894" y="58846"/>
                    <a:pt x="48400" y="56527"/>
                    <a:pt x="49463" y="54521"/>
                  </a:cubicBezTo>
                  <a:cubicBezTo>
                    <a:pt x="50527" y="52460"/>
                    <a:pt x="51084" y="50055"/>
                    <a:pt x="50881" y="47710"/>
                  </a:cubicBezTo>
                  <a:cubicBezTo>
                    <a:pt x="50729" y="45776"/>
                    <a:pt x="49767" y="44110"/>
                    <a:pt x="48450" y="42687"/>
                  </a:cubicBezTo>
                  <a:cubicBezTo>
                    <a:pt x="46172" y="40150"/>
                    <a:pt x="44754" y="36822"/>
                    <a:pt x="45311" y="33455"/>
                  </a:cubicBezTo>
                  <a:cubicBezTo>
                    <a:pt x="45665" y="31014"/>
                    <a:pt x="45665" y="28537"/>
                    <a:pt x="44906" y="26724"/>
                  </a:cubicBezTo>
                  <a:cubicBezTo>
                    <a:pt x="44095" y="24825"/>
                    <a:pt x="43083" y="23007"/>
                    <a:pt x="41766" y="21523"/>
                  </a:cubicBezTo>
                  <a:cubicBezTo>
                    <a:pt x="39639" y="19199"/>
                    <a:pt x="38880" y="16075"/>
                    <a:pt x="38880" y="12945"/>
                  </a:cubicBezTo>
                  <a:cubicBezTo>
                    <a:pt x="38880" y="9557"/>
                    <a:pt x="38019" y="6169"/>
                    <a:pt x="36448" y="3191"/>
                  </a:cubicBezTo>
                  <a:cubicBezTo>
                    <a:pt x="33967" y="-1604"/>
                    <a:pt x="29561" y="-5327"/>
                    <a:pt x="24447" y="-7069"/>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5" name="Freeform: Shape 454">
              <a:extLst>
                <a:ext uri="{FF2B5EF4-FFF2-40B4-BE49-F238E27FC236}">
                  <a16:creationId xmlns:a16="http://schemas.microsoft.com/office/drawing/2014/main" id="{726D2D77-9451-3484-ECC0-FF0E1D0DAADB}"/>
                </a:ext>
              </a:extLst>
            </p:cNvPr>
            <p:cNvSpPr/>
            <p:nvPr/>
          </p:nvSpPr>
          <p:spPr>
            <a:xfrm flipV="1">
              <a:off x="7198075" y="2784386"/>
              <a:ext cx="22326" cy="7717"/>
            </a:xfrm>
            <a:custGeom>
              <a:avLst/>
              <a:gdLst>
                <a:gd name="connsiteX0" fmla="*/ 13276 w 22326"/>
                <a:gd name="connsiteY0" fmla="*/ -7149 h 7717"/>
                <a:gd name="connsiteX1" fmla="*/ 4160 w 22326"/>
                <a:gd name="connsiteY1" fmla="*/ -7600 h 7717"/>
                <a:gd name="connsiteX2" fmla="*/ -8399 w 22326"/>
                <a:gd name="connsiteY2" fmla="*/ -6749 h 7717"/>
                <a:gd name="connsiteX3" fmla="*/ -8550 w 22326"/>
                <a:gd name="connsiteY3" fmla="*/ -64 h 7717"/>
                <a:gd name="connsiteX4" fmla="*/ -8601 w 22326"/>
                <a:gd name="connsiteY4" fmla="*/ -9 h 7717"/>
                <a:gd name="connsiteX5" fmla="*/ 4768 w 22326"/>
                <a:gd name="connsiteY5" fmla="*/ -3842 h 7717"/>
                <a:gd name="connsiteX6" fmla="*/ 13276 w 22326"/>
                <a:gd name="connsiteY6" fmla="*/ -7149 h 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6" h="7717">
                  <a:moveTo>
                    <a:pt x="13276" y="-7149"/>
                  </a:moveTo>
                  <a:cubicBezTo>
                    <a:pt x="13124" y="-7767"/>
                    <a:pt x="9681" y="-7838"/>
                    <a:pt x="4160" y="-7600"/>
                  </a:cubicBezTo>
                  <a:cubicBezTo>
                    <a:pt x="666" y="-7463"/>
                    <a:pt x="-3638" y="-7189"/>
                    <a:pt x="-8399" y="-6749"/>
                  </a:cubicBezTo>
                  <a:cubicBezTo>
                    <a:pt x="-9158" y="-4587"/>
                    <a:pt x="-9310" y="-2257"/>
                    <a:pt x="-8550" y="-64"/>
                  </a:cubicBezTo>
                  <a:lnTo>
                    <a:pt x="-8601" y="-9"/>
                  </a:lnTo>
                  <a:cubicBezTo>
                    <a:pt x="-3436" y="-1366"/>
                    <a:pt x="1173" y="-2804"/>
                    <a:pt x="4768" y="-3842"/>
                  </a:cubicBezTo>
                  <a:cubicBezTo>
                    <a:pt x="10086" y="-5397"/>
                    <a:pt x="13327" y="-6531"/>
                    <a:pt x="13276" y="-7149"/>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6" name="Freeform: Shape 455">
              <a:extLst>
                <a:ext uri="{FF2B5EF4-FFF2-40B4-BE49-F238E27FC236}">
                  <a16:creationId xmlns:a16="http://schemas.microsoft.com/office/drawing/2014/main" id="{1AB5F771-6509-B45A-7AE3-782EF4B71733}"/>
                </a:ext>
              </a:extLst>
            </p:cNvPr>
            <p:cNvSpPr/>
            <p:nvPr/>
          </p:nvSpPr>
          <p:spPr>
            <a:xfrm flipV="1">
              <a:off x="6520376" y="2791866"/>
              <a:ext cx="92744" cy="104501"/>
            </a:xfrm>
            <a:custGeom>
              <a:avLst/>
              <a:gdLst>
                <a:gd name="connsiteX0" fmla="*/ 70270 w 92744"/>
                <a:gd name="connsiteY0" fmla="*/ 96900 h 104501"/>
                <a:gd name="connsiteX1" fmla="*/ -7950 w 92744"/>
                <a:gd name="connsiteY1" fmla="*/ 26478 h 104501"/>
                <a:gd name="connsiteX2" fmla="*/ 32851 w 92744"/>
                <a:gd name="connsiteY2" fmla="*/ -7583 h 104501"/>
                <a:gd name="connsiteX3" fmla="*/ 84794 w 92744"/>
                <a:gd name="connsiteY3" fmla="*/ 79657 h 104501"/>
                <a:gd name="connsiteX4" fmla="*/ 70270 w 92744"/>
                <a:gd name="connsiteY4" fmla="*/ 96900 h 104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44" h="104501">
                  <a:moveTo>
                    <a:pt x="70270" y="96900"/>
                  </a:moveTo>
                  <a:lnTo>
                    <a:pt x="-7950" y="26478"/>
                  </a:lnTo>
                  <a:cubicBezTo>
                    <a:pt x="-7950" y="26478"/>
                    <a:pt x="33727" y="-8510"/>
                    <a:pt x="32851" y="-7583"/>
                  </a:cubicBezTo>
                  <a:cubicBezTo>
                    <a:pt x="31980" y="-6651"/>
                    <a:pt x="84794" y="79657"/>
                    <a:pt x="84794" y="79657"/>
                  </a:cubicBezTo>
                  <a:lnTo>
                    <a:pt x="70270" y="96900"/>
                  </a:lnTo>
                </a:path>
              </a:pathLst>
            </a:custGeom>
            <a:solidFill>
              <a:srgbClr val="94B7E5"/>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7" name="Freeform: Shape 456">
              <a:extLst>
                <a:ext uri="{FF2B5EF4-FFF2-40B4-BE49-F238E27FC236}">
                  <a16:creationId xmlns:a16="http://schemas.microsoft.com/office/drawing/2014/main" id="{371F5E28-4917-3AA0-6FD6-90EAA99CA00F}"/>
                </a:ext>
              </a:extLst>
            </p:cNvPr>
            <p:cNvSpPr/>
            <p:nvPr/>
          </p:nvSpPr>
          <p:spPr>
            <a:xfrm flipV="1">
              <a:off x="6527764" y="2758961"/>
              <a:ext cx="84722" cy="109405"/>
            </a:xfrm>
            <a:custGeom>
              <a:avLst/>
              <a:gdLst>
                <a:gd name="connsiteX0" fmla="*/ 73556 w 84722"/>
                <a:gd name="connsiteY0" fmla="*/ 53037 h 109405"/>
                <a:gd name="connsiteX1" fmla="*/ 76767 w 84722"/>
                <a:gd name="connsiteY1" fmla="*/ 56698 h 109405"/>
                <a:gd name="connsiteX2" fmla="*/ 59433 w 84722"/>
                <a:gd name="connsiteY2" fmla="*/ 76575 h 109405"/>
                <a:gd name="connsiteX3" fmla="*/ 59382 w 84722"/>
                <a:gd name="connsiteY3" fmla="*/ 76646 h 109405"/>
                <a:gd name="connsiteX4" fmla="*/ -7956 w 84722"/>
                <a:gd name="connsiteY4" fmla="*/ 47800 h 109405"/>
                <a:gd name="connsiteX5" fmla="*/ -7176 w 84722"/>
                <a:gd name="connsiteY5" fmla="*/ 46200 h 109405"/>
                <a:gd name="connsiteX6" fmla="*/ 7586 w 84722"/>
                <a:gd name="connsiteY6" fmla="*/ -7505 h 109405"/>
                <a:gd name="connsiteX7" fmla="*/ 73556 w 84722"/>
                <a:gd name="connsiteY7" fmla="*/ 53037 h 109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22" h="109405">
                  <a:moveTo>
                    <a:pt x="73556" y="53037"/>
                  </a:moveTo>
                  <a:lnTo>
                    <a:pt x="76767" y="56698"/>
                  </a:lnTo>
                  <a:lnTo>
                    <a:pt x="59433" y="76575"/>
                  </a:lnTo>
                  <a:lnTo>
                    <a:pt x="59382" y="76646"/>
                  </a:lnTo>
                  <a:cubicBezTo>
                    <a:pt x="6527" y="146708"/>
                    <a:pt x="-7956" y="47800"/>
                    <a:pt x="-7956" y="47800"/>
                  </a:cubicBezTo>
                  <a:cubicBezTo>
                    <a:pt x="-7698" y="47269"/>
                    <a:pt x="-7434" y="46737"/>
                    <a:pt x="-7176" y="46200"/>
                  </a:cubicBezTo>
                  <a:cubicBezTo>
                    <a:pt x="1585" y="27220"/>
                    <a:pt x="5747" y="8224"/>
                    <a:pt x="7586" y="-7505"/>
                  </a:cubicBezTo>
                  <a:cubicBezTo>
                    <a:pt x="7996" y="-11333"/>
                    <a:pt x="73556" y="53037"/>
                    <a:pt x="73556" y="53037"/>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8" name="Freeform: Shape 457">
              <a:extLst>
                <a:ext uri="{FF2B5EF4-FFF2-40B4-BE49-F238E27FC236}">
                  <a16:creationId xmlns:a16="http://schemas.microsoft.com/office/drawing/2014/main" id="{74196A61-0F9C-2373-ACCD-F218850D4D06}"/>
                </a:ext>
              </a:extLst>
            </p:cNvPr>
            <p:cNvSpPr/>
            <p:nvPr/>
          </p:nvSpPr>
          <p:spPr>
            <a:xfrm flipV="1">
              <a:off x="6528524" y="2796357"/>
              <a:ext cx="35332" cy="71864"/>
            </a:xfrm>
            <a:custGeom>
              <a:avLst/>
              <a:gdLst>
                <a:gd name="connsiteX0" fmla="*/ 27417 w 35332"/>
                <a:gd name="connsiteY0" fmla="*/ 64237 h 71864"/>
                <a:gd name="connsiteX1" fmla="*/ 6872 w 35332"/>
                <a:gd name="connsiteY1" fmla="*/ -7627 h 71864"/>
                <a:gd name="connsiteX2" fmla="*/ -7915 w 35332"/>
                <a:gd name="connsiteY2" fmla="*/ 46108 h 71864"/>
                <a:gd name="connsiteX3" fmla="*/ 27417 w 35332"/>
                <a:gd name="connsiteY3" fmla="*/ 64237 h 71864"/>
              </a:gdLst>
              <a:ahLst/>
              <a:cxnLst>
                <a:cxn ang="0">
                  <a:pos x="connsiteX0" y="connsiteY0"/>
                </a:cxn>
                <a:cxn ang="0">
                  <a:pos x="connsiteX1" y="connsiteY1"/>
                </a:cxn>
                <a:cxn ang="0">
                  <a:pos x="connsiteX2" y="connsiteY2"/>
                </a:cxn>
                <a:cxn ang="0">
                  <a:pos x="connsiteX3" y="connsiteY3"/>
                </a:cxn>
              </a:cxnLst>
              <a:rect l="l" t="t" r="r" b="b"/>
              <a:pathLst>
                <a:path w="35332" h="71864">
                  <a:moveTo>
                    <a:pt x="27417" y="64237"/>
                  </a:moveTo>
                  <a:lnTo>
                    <a:pt x="6872" y="-7627"/>
                  </a:lnTo>
                  <a:cubicBezTo>
                    <a:pt x="5019" y="8117"/>
                    <a:pt x="881" y="27113"/>
                    <a:pt x="-7915" y="46108"/>
                  </a:cubicBezTo>
                  <a:lnTo>
                    <a:pt x="27417" y="64237"/>
                  </a:ln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9" name="Freeform: Shape 458">
              <a:extLst>
                <a:ext uri="{FF2B5EF4-FFF2-40B4-BE49-F238E27FC236}">
                  <a16:creationId xmlns:a16="http://schemas.microsoft.com/office/drawing/2014/main" id="{DE3273E2-580D-C029-5DD0-B7E7C22262A1}"/>
                </a:ext>
              </a:extLst>
            </p:cNvPr>
            <p:cNvSpPr/>
            <p:nvPr/>
          </p:nvSpPr>
          <p:spPr>
            <a:xfrm flipV="1">
              <a:off x="6449929" y="2679314"/>
              <a:ext cx="125485" cy="161063"/>
            </a:xfrm>
            <a:custGeom>
              <a:avLst/>
              <a:gdLst>
                <a:gd name="connsiteX0" fmla="*/ 45392 w 125485"/>
                <a:gd name="connsiteY0" fmla="*/ -7736 h 161063"/>
                <a:gd name="connsiteX1" fmla="*/ 47949 w 125485"/>
                <a:gd name="connsiteY1" fmla="*/ -7771 h 161063"/>
                <a:gd name="connsiteX2" fmla="*/ 75027 w 125485"/>
                <a:gd name="connsiteY2" fmla="*/ 787 h 161063"/>
                <a:gd name="connsiteX3" fmla="*/ 107321 w 125485"/>
                <a:gd name="connsiteY3" fmla="*/ 36697 h 161063"/>
                <a:gd name="connsiteX4" fmla="*/ 107943 w 125485"/>
                <a:gd name="connsiteY4" fmla="*/ 42658 h 161063"/>
                <a:gd name="connsiteX5" fmla="*/ 114623 w 125485"/>
                <a:gd name="connsiteY5" fmla="*/ 69244 h 161063"/>
                <a:gd name="connsiteX6" fmla="*/ 110764 w 125485"/>
                <a:gd name="connsiteY6" fmla="*/ 153258 h 161063"/>
                <a:gd name="connsiteX7" fmla="*/ 34569 w 125485"/>
                <a:gd name="connsiteY7" fmla="*/ 140370 h 161063"/>
                <a:gd name="connsiteX8" fmla="*/ -4956 w 125485"/>
                <a:gd name="connsiteY8" fmla="*/ 133088 h 161063"/>
                <a:gd name="connsiteX9" fmla="*/ -7594 w 125485"/>
                <a:gd name="connsiteY9" fmla="*/ 117880 h 161063"/>
                <a:gd name="connsiteX10" fmla="*/ -6440 w 125485"/>
                <a:gd name="connsiteY10" fmla="*/ 101508 h 161063"/>
                <a:gd name="connsiteX11" fmla="*/ 4969 w 125485"/>
                <a:gd name="connsiteY11" fmla="*/ 69067 h 161063"/>
                <a:gd name="connsiteX12" fmla="*/ 5015 w 125485"/>
                <a:gd name="connsiteY12" fmla="*/ 69031 h 161063"/>
                <a:gd name="connsiteX13" fmla="*/ 4979 w 125485"/>
                <a:gd name="connsiteY13" fmla="*/ 68986 h 161063"/>
                <a:gd name="connsiteX14" fmla="*/ -171 w 125485"/>
                <a:gd name="connsiteY14" fmla="*/ 34788 h 161063"/>
                <a:gd name="connsiteX15" fmla="*/ 3394 w 125485"/>
                <a:gd name="connsiteY15" fmla="*/ 30073 h 161063"/>
                <a:gd name="connsiteX16" fmla="*/ 12925 w 125485"/>
                <a:gd name="connsiteY16" fmla="*/ 29815 h 161063"/>
                <a:gd name="connsiteX17" fmla="*/ 45392 w 125485"/>
                <a:gd name="connsiteY17" fmla="*/ -7736 h 16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485" h="161063">
                  <a:moveTo>
                    <a:pt x="45392" y="-7736"/>
                  </a:moveTo>
                  <a:cubicBezTo>
                    <a:pt x="46197" y="-7812"/>
                    <a:pt x="47072" y="-7791"/>
                    <a:pt x="47949" y="-7771"/>
                  </a:cubicBezTo>
                  <a:cubicBezTo>
                    <a:pt x="57535" y="-7599"/>
                    <a:pt x="66792" y="-4095"/>
                    <a:pt x="75027" y="787"/>
                  </a:cubicBezTo>
                  <a:cubicBezTo>
                    <a:pt x="89049" y="9148"/>
                    <a:pt x="100312" y="21940"/>
                    <a:pt x="107321" y="36697"/>
                  </a:cubicBezTo>
                  <a:cubicBezTo>
                    <a:pt x="107635" y="38637"/>
                    <a:pt x="107852" y="40637"/>
                    <a:pt x="107943" y="42658"/>
                  </a:cubicBezTo>
                  <a:cubicBezTo>
                    <a:pt x="110800" y="51332"/>
                    <a:pt x="113033" y="60235"/>
                    <a:pt x="114623" y="69244"/>
                  </a:cubicBezTo>
                  <a:cubicBezTo>
                    <a:pt x="119632" y="97097"/>
                    <a:pt x="118401" y="126044"/>
                    <a:pt x="110764" y="153258"/>
                  </a:cubicBezTo>
                  <a:cubicBezTo>
                    <a:pt x="85261" y="153578"/>
                    <a:pt x="59059" y="149131"/>
                    <a:pt x="34569" y="140370"/>
                  </a:cubicBezTo>
                  <a:cubicBezTo>
                    <a:pt x="20744" y="135397"/>
                    <a:pt x="-4956" y="133088"/>
                    <a:pt x="-4956" y="133088"/>
                  </a:cubicBezTo>
                  <a:cubicBezTo>
                    <a:pt x="-5762" y="131361"/>
                    <a:pt x="-7261" y="119941"/>
                    <a:pt x="-7594" y="117880"/>
                  </a:cubicBezTo>
                  <a:cubicBezTo>
                    <a:pt x="-8227" y="113009"/>
                    <a:pt x="-7671" y="107286"/>
                    <a:pt x="-6440" y="101508"/>
                  </a:cubicBezTo>
                  <a:cubicBezTo>
                    <a:pt x="-3285" y="85926"/>
                    <a:pt x="4519" y="70034"/>
                    <a:pt x="4969" y="69067"/>
                  </a:cubicBezTo>
                  <a:lnTo>
                    <a:pt x="5015" y="69031"/>
                  </a:lnTo>
                  <a:lnTo>
                    <a:pt x="4979" y="68986"/>
                  </a:lnTo>
                  <a:lnTo>
                    <a:pt x="-171" y="34788"/>
                  </a:lnTo>
                  <a:cubicBezTo>
                    <a:pt x="-353" y="32540"/>
                    <a:pt x="1227" y="30544"/>
                    <a:pt x="3394" y="30073"/>
                  </a:cubicBezTo>
                  <a:lnTo>
                    <a:pt x="12925" y="29815"/>
                  </a:lnTo>
                  <a:cubicBezTo>
                    <a:pt x="12925" y="29815"/>
                    <a:pt x="8241" y="-6768"/>
                    <a:pt x="45392" y="-7736"/>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0" name="Freeform: Shape 459">
              <a:extLst>
                <a:ext uri="{FF2B5EF4-FFF2-40B4-BE49-F238E27FC236}">
                  <a16:creationId xmlns:a16="http://schemas.microsoft.com/office/drawing/2014/main" id="{250E9191-4318-57B5-697A-233810862765}"/>
                </a:ext>
              </a:extLst>
            </p:cNvPr>
            <p:cNvSpPr/>
            <p:nvPr/>
          </p:nvSpPr>
          <p:spPr>
            <a:xfrm flipV="1">
              <a:off x="6472338" y="2748068"/>
              <a:ext cx="10777" cy="15889"/>
            </a:xfrm>
            <a:custGeom>
              <a:avLst/>
              <a:gdLst>
                <a:gd name="connsiteX0" fmla="*/ 2309 w 10777"/>
                <a:gd name="connsiteY0" fmla="*/ 1724 h 15889"/>
                <a:gd name="connsiteX1" fmla="*/ 192 w 10777"/>
                <a:gd name="connsiteY1" fmla="*/ -7640 h 15889"/>
                <a:gd name="connsiteX2" fmla="*/ -7131 w 10777"/>
                <a:gd name="connsiteY2" fmla="*/ -1426 h 15889"/>
                <a:gd name="connsiteX3" fmla="*/ -5009 w 10777"/>
                <a:gd name="connsiteY3" fmla="*/ 7932 h 15889"/>
                <a:gd name="connsiteX4" fmla="*/ 2309 w 10777"/>
                <a:gd name="connsiteY4" fmla="*/ 1724 h 15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7" h="15889">
                  <a:moveTo>
                    <a:pt x="2309" y="1724"/>
                  </a:moveTo>
                  <a:cubicBezTo>
                    <a:pt x="3747" y="-2576"/>
                    <a:pt x="2795" y="-6769"/>
                    <a:pt x="192" y="-7640"/>
                  </a:cubicBezTo>
                  <a:cubicBezTo>
                    <a:pt x="-2416" y="-8506"/>
                    <a:pt x="-5697" y="-5726"/>
                    <a:pt x="-7131" y="-1426"/>
                  </a:cubicBezTo>
                  <a:cubicBezTo>
                    <a:pt x="-8564" y="2873"/>
                    <a:pt x="-7612" y="7066"/>
                    <a:pt x="-5009" y="7932"/>
                  </a:cubicBezTo>
                  <a:cubicBezTo>
                    <a:pt x="-2401" y="8803"/>
                    <a:pt x="876" y="6023"/>
                    <a:pt x="2309" y="1724"/>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1" name="Freeform: Shape 460">
              <a:extLst>
                <a:ext uri="{FF2B5EF4-FFF2-40B4-BE49-F238E27FC236}">
                  <a16:creationId xmlns:a16="http://schemas.microsoft.com/office/drawing/2014/main" id="{3DC99AF8-B725-614C-9B63-EAB6041A8AFF}"/>
                </a:ext>
              </a:extLst>
            </p:cNvPr>
            <p:cNvSpPr/>
            <p:nvPr/>
          </p:nvSpPr>
          <p:spPr>
            <a:xfrm flipV="1">
              <a:off x="6464734" y="2727008"/>
              <a:ext cx="25304" cy="16233"/>
            </a:xfrm>
            <a:custGeom>
              <a:avLst/>
              <a:gdLst>
                <a:gd name="connsiteX0" fmla="*/ 16898 w 25304"/>
                <a:gd name="connsiteY0" fmla="*/ -2211 h 16233"/>
                <a:gd name="connsiteX1" fmla="*/ -4964 w 25304"/>
                <a:gd name="connsiteY1" fmla="*/ 8332 h 16233"/>
                <a:gd name="connsiteX2" fmla="*/ -4002 w 25304"/>
                <a:gd name="connsiteY2" fmla="*/ 1592 h 16233"/>
                <a:gd name="connsiteX3" fmla="*/ 11565 w 25304"/>
                <a:gd name="connsiteY3" fmla="*/ -6445 h 16233"/>
                <a:gd name="connsiteX4" fmla="*/ 16898 w 25304"/>
                <a:gd name="connsiteY4" fmla="*/ -2211 h 16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04" h="16233">
                  <a:moveTo>
                    <a:pt x="16898" y="-2211"/>
                  </a:moveTo>
                  <a:cubicBezTo>
                    <a:pt x="12066" y="5107"/>
                    <a:pt x="3695" y="8905"/>
                    <a:pt x="-4964" y="8332"/>
                  </a:cubicBezTo>
                  <a:cubicBezTo>
                    <a:pt x="-9339" y="8044"/>
                    <a:pt x="-8357" y="1303"/>
                    <a:pt x="-4002" y="1592"/>
                  </a:cubicBezTo>
                  <a:cubicBezTo>
                    <a:pt x="2363" y="2012"/>
                    <a:pt x="8096" y="-1193"/>
                    <a:pt x="11565" y="-6445"/>
                  </a:cubicBezTo>
                  <a:cubicBezTo>
                    <a:pt x="13976" y="-10101"/>
                    <a:pt x="19303" y="-5852"/>
                    <a:pt x="16898" y="-2211"/>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2" name="Freeform: Shape 461">
              <a:extLst>
                <a:ext uri="{FF2B5EF4-FFF2-40B4-BE49-F238E27FC236}">
                  <a16:creationId xmlns:a16="http://schemas.microsoft.com/office/drawing/2014/main" id="{33C9CFE5-221F-32D0-22C0-E1460FC0A88F}"/>
                </a:ext>
              </a:extLst>
            </p:cNvPr>
            <p:cNvSpPr/>
            <p:nvPr/>
          </p:nvSpPr>
          <p:spPr>
            <a:xfrm flipV="1">
              <a:off x="6533649" y="2733767"/>
              <a:ext cx="11319" cy="27709"/>
            </a:xfrm>
            <a:custGeom>
              <a:avLst/>
              <a:gdLst>
                <a:gd name="connsiteX0" fmla="*/ -3751 w 11319"/>
                <a:gd name="connsiteY0" fmla="*/ -7801 h 27709"/>
                <a:gd name="connsiteX1" fmla="*/ -2510 w 11319"/>
                <a:gd name="connsiteY1" fmla="*/ -7315 h 27709"/>
                <a:gd name="connsiteX2" fmla="*/ 194 w 11319"/>
                <a:gd name="connsiteY2" fmla="*/ 565 h 27709"/>
                <a:gd name="connsiteX3" fmla="*/ -5240 w 11319"/>
                <a:gd name="connsiteY3" fmla="*/ 2190 h 27709"/>
                <a:gd name="connsiteX4" fmla="*/ 2519 w 11319"/>
                <a:gd name="connsiteY4" fmla="*/ 17337 h 27709"/>
                <a:gd name="connsiteX5" fmla="*/ 3349 w 11319"/>
                <a:gd name="connsiteY5" fmla="*/ 18993 h 27709"/>
                <a:gd name="connsiteX6" fmla="*/ 1693 w 11319"/>
                <a:gd name="connsiteY6" fmla="*/ 19824 h 27709"/>
                <a:gd name="connsiteX7" fmla="*/ -7802 w 11319"/>
                <a:gd name="connsiteY7" fmla="*/ 1912 h 27709"/>
                <a:gd name="connsiteX8" fmla="*/ -6850 w 11319"/>
                <a:gd name="connsiteY8" fmla="*/ 139 h 27709"/>
                <a:gd name="connsiteX9" fmla="*/ -4895 w 11319"/>
                <a:gd name="connsiteY9" fmla="*/ -413 h 27709"/>
                <a:gd name="connsiteX10" fmla="*/ -2084 w 11319"/>
                <a:gd name="connsiteY10" fmla="*/ -727 h 27709"/>
                <a:gd name="connsiteX11" fmla="*/ -4576 w 11319"/>
                <a:gd name="connsiteY11" fmla="*/ -5695 h 27709"/>
                <a:gd name="connsiteX12" fmla="*/ -4353 w 11319"/>
                <a:gd name="connsiteY12" fmla="*/ -7538 h 27709"/>
                <a:gd name="connsiteX13" fmla="*/ -3751 w 11319"/>
                <a:gd name="connsiteY13" fmla="*/ -7801 h 27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19" h="27709">
                  <a:moveTo>
                    <a:pt x="-3751" y="-7801"/>
                  </a:moveTo>
                  <a:cubicBezTo>
                    <a:pt x="-3290" y="-7872"/>
                    <a:pt x="-2814" y="-7700"/>
                    <a:pt x="-2510" y="-7315"/>
                  </a:cubicBezTo>
                  <a:cubicBezTo>
                    <a:pt x="336" y="-3689"/>
                    <a:pt x="1197" y="-1188"/>
                    <a:pt x="194" y="565"/>
                  </a:cubicBezTo>
                  <a:cubicBezTo>
                    <a:pt x="-368" y="1557"/>
                    <a:pt x="-1765" y="2636"/>
                    <a:pt x="-5240" y="2190"/>
                  </a:cubicBezTo>
                  <a:cubicBezTo>
                    <a:pt x="-6252" y="14278"/>
                    <a:pt x="2433" y="17307"/>
                    <a:pt x="2519" y="17337"/>
                  </a:cubicBezTo>
                  <a:cubicBezTo>
                    <a:pt x="3207" y="17560"/>
                    <a:pt x="3577" y="18304"/>
                    <a:pt x="3349" y="18993"/>
                  </a:cubicBezTo>
                  <a:cubicBezTo>
                    <a:pt x="3132" y="19677"/>
                    <a:pt x="2387" y="20057"/>
                    <a:pt x="1693" y="19824"/>
                  </a:cubicBezTo>
                  <a:cubicBezTo>
                    <a:pt x="1592" y="19788"/>
                    <a:pt x="-9048" y="16091"/>
                    <a:pt x="-7802" y="1912"/>
                  </a:cubicBezTo>
                  <a:cubicBezTo>
                    <a:pt x="-7742" y="1223"/>
                    <a:pt x="-7397" y="580"/>
                    <a:pt x="-6850" y="139"/>
                  </a:cubicBezTo>
                  <a:cubicBezTo>
                    <a:pt x="-6303" y="-301"/>
                    <a:pt x="-5594" y="-494"/>
                    <a:pt x="-4895" y="-413"/>
                  </a:cubicBezTo>
                  <a:cubicBezTo>
                    <a:pt x="-3108" y="-180"/>
                    <a:pt x="-2221" y="-484"/>
                    <a:pt x="-2084" y="-727"/>
                  </a:cubicBezTo>
                  <a:cubicBezTo>
                    <a:pt x="-2059" y="-772"/>
                    <a:pt x="-1528" y="-1815"/>
                    <a:pt x="-4576" y="-5695"/>
                  </a:cubicBezTo>
                  <a:cubicBezTo>
                    <a:pt x="-5022" y="-6267"/>
                    <a:pt x="-4921" y="-7092"/>
                    <a:pt x="-4353" y="-7538"/>
                  </a:cubicBezTo>
                  <a:lnTo>
                    <a:pt x="-3751" y="-7801"/>
                  </a:lnTo>
                </a:path>
              </a:pathLst>
            </a:custGeom>
            <a:solidFill>
              <a:srgbClr val="E8E4E2">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3" name="Freeform: Shape 462">
              <a:extLst>
                <a:ext uri="{FF2B5EF4-FFF2-40B4-BE49-F238E27FC236}">
                  <a16:creationId xmlns:a16="http://schemas.microsoft.com/office/drawing/2014/main" id="{A6C866B4-D54A-FF40-4BAB-241101B42A04}"/>
                </a:ext>
              </a:extLst>
            </p:cNvPr>
            <p:cNvSpPr/>
            <p:nvPr/>
          </p:nvSpPr>
          <p:spPr>
            <a:xfrm flipV="1">
              <a:off x="6540201" y="2768107"/>
              <a:ext cx="19284" cy="10802"/>
            </a:xfrm>
            <a:custGeom>
              <a:avLst/>
              <a:gdLst>
                <a:gd name="connsiteX0" fmla="*/ -7921 w 19284"/>
                <a:gd name="connsiteY0" fmla="*/ -5628 h 10802"/>
                <a:gd name="connsiteX1" fmla="*/ 11363 w 19284"/>
                <a:gd name="connsiteY1" fmla="*/ 2864 h 10802"/>
                <a:gd name="connsiteX2" fmla="*/ 2926 w 19284"/>
                <a:gd name="connsiteY2" fmla="*/ 469 h 10802"/>
                <a:gd name="connsiteX3" fmla="*/ -7921 w 19284"/>
                <a:gd name="connsiteY3" fmla="*/ -5628 h 10802"/>
              </a:gdLst>
              <a:ahLst/>
              <a:cxnLst>
                <a:cxn ang="0">
                  <a:pos x="connsiteX0" y="connsiteY0"/>
                </a:cxn>
                <a:cxn ang="0">
                  <a:pos x="connsiteX1" y="connsiteY1"/>
                </a:cxn>
                <a:cxn ang="0">
                  <a:pos x="connsiteX2" y="connsiteY2"/>
                </a:cxn>
                <a:cxn ang="0">
                  <a:pos x="connsiteX3" y="connsiteY3"/>
                </a:cxn>
              </a:cxnLst>
              <a:rect l="l" t="t" r="r" b="b"/>
              <a:pathLst>
                <a:path w="19284" h="10802">
                  <a:moveTo>
                    <a:pt x="-7921" y="-5628"/>
                  </a:moveTo>
                  <a:cubicBezTo>
                    <a:pt x="-3911" y="-8358"/>
                    <a:pt x="3879" y="-10819"/>
                    <a:pt x="11363" y="2864"/>
                  </a:cubicBezTo>
                  <a:cubicBezTo>
                    <a:pt x="11363" y="2864"/>
                    <a:pt x="6284" y="4019"/>
                    <a:pt x="2926" y="469"/>
                  </a:cubicBezTo>
                  <a:cubicBezTo>
                    <a:pt x="2926" y="469"/>
                    <a:pt x="-3222" y="-7593"/>
                    <a:pt x="-7921" y="-5628"/>
                  </a:cubicBezTo>
                </a:path>
              </a:pathLst>
            </a:custGeom>
            <a:solidFill>
              <a:srgbClr val="E8E4E2">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4" name="Freeform: Shape 463">
              <a:extLst>
                <a:ext uri="{FF2B5EF4-FFF2-40B4-BE49-F238E27FC236}">
                  <a16:creationId xmlns:a16="http://schemas.microsoft.com/office/drawing/2014/main" id="{F5F79CB2-F82D-2507-14A3-8741EC107613}"/>
                </a:ext>
              </a:extLst>
            </p:cNvPr>
            <p:cNvSpPr/>
            <p:nvPr/>
          </p:nvSpPr>
          <p:spPr>
            <a:xfrm flipV="1">
              <a:off x="6413994" y="2619262"/>
              <a:ext cx="194269" cy="162221"/>
            </a:xfrm>
            <a:custGeom>
              <a:avLst/>
              <a:gdLst>
                <a:gd name="connsiteX0" fmla="*/ 74760 w 194269"/>
                <a:gd name="connsiteY0" fmla="*/ 75954 h 162221"/>
                <a:gd name="connsiteX1" fmla="*/ 104178 w 194269"/>
                <a:gd name="connsiteY1" fmla="*/ 30565 h 162221"/>
                <a:gd name="connsiteX2" fmla="*/ 111344 w 194269"/>
                <a:gd name="connsiteY2" fmla="*/ 43124 h 162221"/>
                <a:gd name="connsiteX3" fmla="*/ 125716 w 194269"/>
                <a:gd name="connsiteY3" fmla="*/ 44380 h 162221"/>
                <a:gd name="connsiteX4" fmla="*/ 137034 w 194269"/>
                <a:gd name="connsiteY4" fmla="*/ 25480 h 162221"/>
                <a:gd name="connsiteX5" fmla="*/ 129195 w 194269"/>
                <a:gd name="connsiteY5" fmla="*/ 2879 h 162221"/>
                <a:gd name="connsiteX6" fmla="*/ 129418 w 194269"/>
                <a:gd name="connsiteY6" fmla="*/ 2920 h 162221"/>
                <a:gd name="connsiteX7" fmla="*/ 171273 w 194269"/>
                <a:gd name="connsiteY7" fmla="*/ -7923 h 162221"/>
                <a:gd name="connsiteX8" fmla="*/ 183427 w 194269"/>
                <a:gd name="connsiteY8" fmla="*/ 48218 h 162221"/>
                <a:gd name="connsiteX9" fmla="*/ 183245 w 194269"/>
                <a:gd name="connsiteY9" fmla="*/ 87151 h 162221"/>
                <a:gd name="connsiteX10" fmla="*/ 168852 w 194269"/>
                <a:gd name="connsiteY10" fmla="*/ 103169 h 162221"/>
                <a:gd name="connsiteX11" fmla="*/ 172473 w 194269"/>
                <a:gd name="connsiteY11" fmla="*/ 104111 h 162221"/>
                <a:gd name="connsiteX12" fmla="*/ 173623 w 194269"/>
                <a:gd name="connsiteY12" fmla="*/ 110021 h 162221"/>
                <a:gd name="connsiteX13" fmla="*/ 137444 w 194269"/>
                <a:gd name="connsiteY13" fmla="*/ 120423 h 162221"/>
                <a:gd name="connsiteX14" fmla="*/ 76093 w 194269"/>
                <a:gd name="connsiteY14" fmla="*/ 153476 h 162221"/>
                <a:gd name="connsiteX15" fmla="*/ 74447 w 194269"/>
                <a:gd name="connsiteY15" fmla="*/ 149172 h 162221"/>
                <a:gd name="connsiteX16" fmla="*/ 77885 w 194269"/>
                <a:gd name="connsiteY16" fmla="*/ 145206 h 162221"/>
                <a:gd name="connsiteX17" fmla="*/ 72649 w 194269"/>
                <a:gd name="connsiteY17" fmla="*/ 143480 h 162221"/>
                <a:gd name="connsiteX18" fmla="*/ -3566 w 194269"/>
                <a:gd name="connsiteY18" fmla="*/ 113921 h 162221"/>
                <a:gd name="connsiteX19" fmla="*/ -3850 w 194269"/>
                <a:gd name="connsiteY19" fmla="*/ 113870 h 162221"/>
                <a:gd name="connsiteX20" fmla="*/ -7835 w 194269"/>
                <a:gd name="connsiteY20" fmla="*/ 108254 h 162221"/>
                <a:gd name="connsiteX21" fmla="*/ 25755 w 194269"/>
                <a:gd name="connsiteY21" fmla="*/ 68536 h 162221"/>
                <a:gd name="connsiteX22" fmla="*/ 74760 w 194269"/>
                <a:gd name="connsiteY22" fmla="*/ 75954 h 16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4269" h="162221">
                  <a:moveTo>
                    <a:pt x="74760" y="75954"/>
                  </a:moveTo>
                  <a:cubicBezTo>
                    <a:pt x="76695" y="59050"/>
                    <a:pt x="88368" y="36819"/>
                    <a:pt x="104178" y="30565"/>
                  </a:cubicBezTo>
                  <a:cubicBezTo>
                    <a:pt x="104371" y="35558"/>
                    <a:pt x="107116" y="40419"/>
                    <a:pt x="111344" y="43124"/>
                  </a:cubicBezTo>
                  <a:cubicBezTo>
                    <a:pt x="115542" y="45843"/>
                    <a:pt x="121128" y="46324"/>
                    <a:pt x="125716" y="44380"/>
                  </a:cubicBezTo>
                  <a:cubicBezTo>
                    <a:pt x="132887" y="41377"/>
                    <a:pt x="136867" y="33234"/>
                    <a:pt x="137034" y="25480"/>
                  </a:cubicBezTo>
                  <a:cubicBezTo>
                    <a:pt x="137242" y="17702"/>
                    <a:pt x="132512" y="9928"/>
                    <a:pt x="129195" y="2879"/>
                  </a:cubicBezTo>
                  <a:lnTo>
                    <a:pt x="129418" y="2920"/>
                  </a:lnTo>
                  <a:cubicBezTo>
                    <a:pt x="131540" y="3441"/>
                    <a:pt x="155417" y="1264"/>
                    <a:pt x="171273" y="-7923"/>
                  </a:cubicBezTo>
                  <a:cubicBezTo>
                    <a:pt x="173972" y="5153"/>
                    <a:pt x="180753" y="35178"/>
                    <a:pt x="183427" y="48218"/>
                  </a:cubicBezTo>
                  <a:cubicBezTo>
                    <a:pt x="186096" y="61172"/>
                    <a:pt x="188623" y="75114"/>
                    <a:pt x="183245" y="87151"/>
                  </a:cubicBezTo>
                  <a:cubicBezTo>
                    <a:pt x="180257" y="93836"/>
                    <a:pt x="175046" y="99219"/>
                    <a:pt x="168852" y="103169"/>
                  </a:cubicBezTo>
                  <a:lnTo>
                    <a:pt x="172473" y="104111"/>
                  </a:lnTo>
                  <a:cubicBezTo>
                    <a:pt x="175172" y="104815"/>
                    <a:pt x="175821" y="108289"/>
                    <a:pt x="173623" y="110021"/>
                  </a:cubicBezTo>
                  <a:cubicBezTo>
                    <a:pt x="156936" y="123041"/>
                    <a:pt x="137444" y="120423"/>
                    <a:pt x="137444" y="120423"/>
                  </a:cubicBezTo>
                  <a:cubicBezTo>
                    <a:pt x="131742" y="131999"/>
                    <a:pt x="116236" y="159376"/>
                    <a:pt x="76093" y="153476"/>
                  </a:cubicBezTo>
                  <a:cubicBezTo>
                    <a:pt x="74047" y="153198"/>
                    <a:pt x="73084" y="150747"/>
                    <a:pt x="74447" y="149172"/>
                  </a:cubicBezTo>
                  <a:lnTo>
                    <a:pt x="77885" y="145206"/>
                  </a:lnTo>
                  <a:lnTo>
                    <a:pt x="72649" y="143480"/>
                  </a:lnTo>
                  <a:cubicBezTo>
                    <a:pt x="51010" y="136319"/>
                    <a:pt x="18604" y="119248"/>
                    <a:pt x="-3566" y="113921"/>
                  </a:cubicBezTo>
                  <a:lnTo>
                    <a:pt x="-3850" y="113870"/>
                  </a:lnTo>
                  <a:cubicBezTo>
                    <a:pt x="-6367" y="113282"/>
                    <a:pt x="-8058" y="110856"/>
                    <a:pt x="-7835" y="108254"/>
                  </a:cubicBezTo>
                  <a:cubicBezTo>
                    <a:pt x="-6185" y="89911"/>
                    <a:pt x="7793" y="73048"/>
                    <a:pt x="25755" y="68536"/>
                  </a:cubicBezTo>
                  <a:cubicBezTo>
                    <a:pt x="42036" y="64474"/>
                    <a:pt x="59047" y="70176"/>
                    <a:pt x="74760" y="75954"/>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5" name="Freeform: Shape 464">
              <a:extLst>
                <a:ext uri="{FF2B5EF4-FFF2-40B4-BE49-F238E27FC236}">
                  <a16:creationId xmlns:a16="http://schemas.microsoft.com/office/drawing/2014/main" id="{1CD2AD6F-161B-C45A-3C06-AC336BA798E6}"/>
                </a:ext>
              </a:extLst>
            </p:cNvPr>
            <p:cNvSpPr/>
            <p:nvPr/>
          </p:nvSpPr>
          <p:spPr>
            <a:xfrm flipV="1">
              <a:off x="6485560" y="2796422"/>
              <a:ext cx="22928" cy="25599"/>
            </a:xfrm>
            <a:custGeom>
              <a:avLst/>
              <a:gdLst>
                <a:gd name="connsiteX0" fmla="*/ 9837 w 22928"/>
                <a:gd name="connsiteY0" fmla="*/ 16850 h 25599"/>
                <a:gd name="connsiteX1" fmla="*/ -6515 w 22928"/>
                <a:gd name="connsiteY1" fmla="*/ 4529 h 25599"/>
                <a:gd name="connsiteX2" fmla="*/ -6899 w 22928"/>
                <a:gd name="connsiteY2" fmla="*/ 1050 h 25599"/>
                <a:gd name="connsiteX3" fmla="*/ 13631 w 22928"/>
                <a:gd name="connsiteY3" fmla="*/ 16552 h 25599"/>
                <a:gd name="connsiteX4" fmla="*/ 9837 w 22928"/>
                <a:gd name="connsiteY4" fmla="*/ 16850 h 25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28" h="25599">
                  <a:moveTo>
                    <a:pt x="9837" y="16850"/>
                  </a:moveTo>
                  <a:cubicBezTo>
                    <a:pt x="7984" y="11994"/>
                    <a:pt x="3553" y="4838"/>
                    <a:pt x="-6515" y="4529"/>
                  </a:cubicBezTo>
                  <a:cubicBezTo>
                    <a:pt x="-8510" y="4468"/>
                    <a:pt x="-7897" y="2914"/>
                    <a:pt x="-6899" y="1050"/>
                  </a:cubicBezTo>
                  <a:cubicBezTo>
                    <a:pt x="-1613" y="-8810"/>
                    <a:pt x="21014" y="-17241"/>
                    <a:pt x="13631" y="16552"/>
                  </a:cubicBezTo>
                  <a:cubicBezTo>
                    <a:pt x="13251" y="18284"/>
                    <a:pt x="10410" y="18359"/>
                    <a:pt x="9837" y="16850"/>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6" name="Freeform: Shape 465">
              <a:extLst>
                <a:ext uri="{FF2B5EF4-FFF2-40B4-BE49-F238E27FC236}">
                  <a16:creationId xmlns:a16="http://schemas.microsoft.com/office/drawing/2014/main" id="{D53BFAC9-0BF1-1886-BADF-13A7E92D1723}"/>
                </a:ext>
              </a:extLst>
            </p:cNvPr>
            <p:cNvSpPr/>
            <p:nvPr/>
          </p:nvSpPr>
          <p:spPr>
            <a:xfrm flipV="1">
              <a:off x="6544542" y="2868866"/>
              <a:ext cx="137840" cy="369894"/>
            </a:xfrm>
            <a:custGeom>
              <a:avLst/>
              <a:gdLst>
                <a:gd name="connsiteX0" fmla="*/ -7509 w 137840"/>
                <a:gd name="connsiteY0" fmla="*/ 362763 h 369894"/>
                <a:gd name="connsiteX1" fmla="*/ 9846 w 137840"/>
                <a:gd name="connsiteY1" fmla="*/ 317267 h 369894"/>
                <a:gd name="connsiteX2" fmla="*/ 71922 w 137840"/>
                <a:gd name="connsiteY2" fmla="*/ 14244 h 369894"/>
                <a:gd name="connsiteX3" fmla="*/ 109867 w 137840"/>
                <a:gd name="connsiteY3" fmla="*/ -7132 h 369894"/>
                <a:gd name="connsiteX4" fmla="*/ 129810 w 137840"/>
                <a:gd name="connsiteY4" fmla="*/ 40441 h 369894"/>
                <a:gd name="connsiteX5" fmla="*/ 20222 w 137840"/>
                <a:gd name="connsiteY5" fmla="*/ 322341 h 369894"/>
                <a:gd name="connsiteX6" fmla="*/ -7509 w 137840"/>
                <a:gd name="connsiteY6" fmla="*/ 362763 h 36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840" h="369894">
                  <a:moveTo>
                    <a:pt x="-7509" y="362763"/>
                  </a:moveTo>
                  <a:cubicBezTo>
                    <a:pt x="-7509" y="362763"/>
                    <a:pt x="-12725" y="327010"/>
                    <a:pt x="9846" y="317267"/>
                  </a:cubicBezTo>
                  <a:cubicBezTo>
                    <a:pt x="9846" y="317267"/>
                    <a:pt x="20288" y="131413"/>
                    <a:pt x="71922" y="14244"/>
                  </a:cubicBezTo>
                  <a:lnTo>
                    <a:pt x="109867" y="-7132"/>
                  </a:lnTo>
                  <a:lnTo>
                    <a:pt x="129810" y="40441"/>
                  </a:lnTo>
                  <a:cubicBezTo>
                    <a:pt x="129810" y="40441"/>
                    <a:pt x="39076" y="162132"/>
                    <a:pt x="20222" y="322341"/>
                  </a:cubicBezTo>
                  <a:cubicBezTo>
                    <a:pt x="20222" y="322341"/>
                    <a:pt x="23352" y="359856"/>
                    <a:pt x="-7509" y="362763"/>
                  </a:cubicBezTo>
                </a:path>
              </a:pathLst>
            </a:custGeom>
            <a:solidFill>
              <a:srgbClr val="FFFFFF"/>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7" name="Freeform: Shape 466">
              <a:extLst>
                <a:ext uri="{FF2B5EF4-FFF2-40B4-BE49-F238E27FC236}">
                  <a16:creationId xmlns:a16="http://schemas.microsoft.com/office/drawing/2014/main" id="{540E524D-3BEA-6F3B-6AD8-73DCB39FC60A}"/>
                </a:ext>
              </a:extLst>
            </p:cNvPr>
            <p:cNvSpPr/>
            <p:nvPr/>
          </p:nvSpPr>
          <p:spPr>
            <a:xfrm flipV="1">
              <a:off x="6536054" y="2796236"/>
              <a:ext cx="92328" cy="105120"/>
            </a:xfrm>
            <a:custGeom>
              <a:avLst/>
              <a:gdLst>
                <a:gd name="connsiteX0" fmla="*/ 68795 w 92328"/>
                <a:gd name="connsiteY0" fmla="*/ 97530 h 105120"/>
                <a:gd name="connsiteX1" fmla="*/ -7977 w 92328"/>
                <a:gd name="connsiteY1" fmla="*/ 24125 h 105120"/>
                <a:gd name="connsiteX2" fmla="*/ 30171 w 92328"/>
                <a:gd name="connsiteY2" fmla="*/ -7571 h 105120"/>
                <a:gd name="connsiteX3" fmla="*/ 84352 w 92328"/>
                <a:gd name="connsiteY3" fmla="*/ 80226 h 105120"/>
                <a:gd name="connsiteX4" fmla="*/ 68795 w 92328"/>
                <a:gd name="connsiteY4" fmla="*/ 97530 h 105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28" h="105120">
                  <a:moveTo>
                    <a:pt x="68795" y="97530"/>
                  </a:moveTo>
                  <a:lnTo>
                    <a:pt x="-7977" y="24125"/>
                  </a:lnTo>
                  <a:cubicBezTo>
                    <a:pt x="-7977" y="24125"/>
                    <a:pt x="31042" y="-8503"/>
                    <a:pt x="30171" y="-7571"/>
                  </a:cubicBezTo>
                  <a:cubicBezTo>
                    <a:pt x="29295" y="-6644"/>
                    <a:pt x="84352" y="80226"/>
                    <a:pt x="84352" y="80226"/>
                  </a:cubicBezTo>
                  <a:lnTo>
                    <a:pt x="68795" y="97530"/>
                  </a:lnTo>
                </a:path>
              </a:pathLst>
            </a:custGeom>
            <a:solidFill>
              <a:srgbClr val="4DA5C3">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8" name="Freeform: Shape 467">
              <a:extLst>
                <a:ext uri="{FF2B5EF4-FFF2-40B4-BE49-F238E27FC236}">
                  <a16:creationId xmlns:a16="http://schemas.microsoft.com/office/drawing/2014/main" id="{05244C88-1486-E9EA-5302-073408EB6458}"/>
                </a:ext>
              </a:extLst>
            </p:cNvPr>
            <p:cNvSpPr/>
            <p:nvPr/>
          </p:nvSpPr>
          <p:spPr>
            <a:xfrm flipV="1">
              <a:off x="6071375" y="3275678"/>
              <a:ext cx="57137" cy="50250"/>
            </a:xfrm>
            <a:custGeom>
              <a:avLst/>
              <a:gdLst>
                <a:gd name="connsiteX0" fmla="*/ 49987 w 57137"/>
                <a:gd name="connsiteY0" fmla="*/ 43424 h 50250"/>
                <a:gd name="connsiteX1" fmla="*/ 6420 w 57137"/>
                <a:gd name="connsiteY1" fmla="*/ 35316 h 50250"/>
                <a:gd name="connsiteX2" fmla="*/ -7147 w 57137"/>
                <a:gd name="connsiteY2" fmla="*/ 3078 h 50250"/>
                <a:gd name="connsiteX3" fmla="*/ -2220 w 57137"/>
                <a:gd name="connsiteY3" fmla="*/ -6382 h 50250"/>
                <a:gd name="connsiteX4" fmla="*/ 7458 w 57137"/>
                <a:gd name="connsiteY4" fmla="*/ 475 h 50250"/>
                <a:gd name="connsiteX5" fmla="*/ 16209 w 57137"/>
                <a:gd name="connsiteY5" fmla="*/ 23891 h 50250"/>
                <a:gd name="connsiteX6" fmla="*/ 43722 w 57137"/>
                <a:gd name="connsiteY6" fmla="*/ 34030 h 50250"/>
                <a:gd name="connsiteX7" fmla="*/ 49987 w 57137"/>
                <a:gd name="connsiteY7" fmla="*/ 43424 h 5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37" h="50250">
                  <a:moveTo>
                    <a:pt x="49987" y="43424"/>
                  </a:moveTo>
                  <a:cubicBezTo>
                    <a:pt x="38015" y="44198"/>
                    <a:pt x="15115" y="43581"/>
                    <a:pt x="6420" y="35316"/>
                  </a:cubicBezTo>
                  <a:cubicBezTo>
                    <a:pt x="-2270" y="27051"/>
                    <a:pt x="-7319" y="15075"/>
                    <a:pt x="-7147" y="3078"/>
                  </a:cubicBezTo>
                  <a:cubicBezTo>
                    <a:pt x="-7097" y="-741"/>
                    <a:pt x="-5896" y="-5344"/>
                    <a:pt x="-2220" y="-6382"/>
                  </a:cubicBezTo>
                  <a:cubicBezTo>
                    <a:pt x="1912" y="-7547"/>
                    <a:pt x="5452" y="-3323"/>
                    <a:pt x="7458" y="475"/>
                  </a:cubicBezTo>
                  <a:cubicBezTo>
                    <a:pt x="11367" y="7858"/>
                    <a:pt x="14315" y="15753"/>
                    <a:pt x="16209" y="23891"/>
                  </a:cubicBezTo>
                  <a:lnTo>
                    <a:pt x="43722" y="34030"/>
                  </a:lnTo>
                  <a:lnTo>
                    <a:pt x="49987" y="43424"/>
                  </a:ln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9" name="Freeform: Shape 468">
              <a:extLst>
                <a:ext uri="{FF2B5EF4-FFF2-40B4-BE49-F238E27FC236}">
                  <a16:creationId xmlns:a16="http://schemas.microsoft.com/office/drawing/2014/main" id="{24AFB264-F89D-AD4E-A52F-8541CD66EC48}"/>
                </a:ext>
              </a:extLst>
            </p:cNvPr>
            <p:cNvSpPr/>
            <p:nvPr/>
          </p:nvSpPr>
          <p:spPr>
            <a:xfrm flipV="1">
              <a:off x="6076200" y="3339611"/>
              <a:ext cx="55092" cy="32089"/>
            </a:xfrm>
            <a:custGeom>
              <a:avLst/>
              <a:gdLst>
                <a:gd name="connsiteX0" fmla="*/ 47935 w 55092"/>
                <a:gd name="connsiteY0" fmla="*/ 15297 h 32089"/>
                <a:gd name="connsiteX1" fmla="*/ 30160 w 55092"/>
                <a:gd name="connsiteY1" fmla="*/ 25592 h 32089"/>
                <a:gd name="connsiteX2" fmla="*/ 10293 w 55092"/>
                <a:gd name="connsiteY2" fmla="*/ 18988 h 32089"/>
                <a:gd name="connsiteX3" fmla="*/ -7158 w 55092"/>
                <a:gd name="connsiteY3" fmla="*/ 2464 h 32089"/>
                <a:gd name="connsiteX4" fmla="*/ 15124 w 55092"/>
                <a:gd name="connsiteY4" fmla="*/ -6454 h 32089"/>
                <a:gd name="connsiteX5" fmla="*/ 34141 w 55092"/>
                <a:gd name="connsiteY5" fmla="*/ 236 h 32089"/>
                <a:gd name="connsiteX6" fmla="*/ 47935 w 55092"/>
                <a:gd name="connsiteY6" fmla="*/ 15297 h 3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92" h="32089">
                  <a:moveTo>
                    <a:pt x="47935" y="15297"/>
                  </a:moveTo>
                  <a:cubicBezTo>
                    <a:pt x="44304" y="21434"/>
                    <a:pt x="37275" y="25177"/>
                    <a:pt x="30160" y="25592"/>
                  </a:cubicBezTo>
                  <a:cubicBezTo>
                    <a:pt x="23045" y="26002"/>
                    <a:pt x="15945" y="23333"/>
                    <a:pt x="10293" y="18988"/>
                  </a:cubicBezTo>
                  <a:cubicBezTo>
                    <a:pt x="4637" y="14648"/>
                    <a:pt x="-3932" y="8819"/>
                    <a:pt x="-7158" y="2464"/>
                  </a:cubicBezTo>
                  <a:cubicBezTo>
                    <a:pt x="-3512" y="-3324"/>
                    <a:pt x="8288" y="-6363"/>
                    <a:pt x="15124" y="-6454"/>
                  </a:cubicBezTo>
                  <a:cubicBezTo>
                    <a:pt x="21961" y="-6545"/>
                    <a:pt x="28620" y="-3800"/>
                    <a:pt x="34141" y="236"/>
                  </a:cubicBezTo>
                  <a:cubicBezTo>
                    <a:pt x="39660" y="4272"/>
                    <a:pt x="43828" y="9832"/>
                    <a:pt x="47935" y="15297"/>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grpSp>
    </p:spTree>
    <p:extLst>
      <p:ext uri="{BB962C8B-B14F-4D97-AF65-F5344CB8AC3E}">
        <p14:creationId xmlns:p14="http://schemas.microsoft.com/office/powerpoint/2010/main" val="14134669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nl-NL"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2</a:t>
            </a:fld>
            <a:endParaRPr kumimoji="0" lang="nl-NL"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381920" y="128831"/>
            <a:ext cx="11705119" cy="610880"/>
          </a:xfrm>
        </p:spPr>
        <p:txBody>
          <a:bodyPr vert="horz" tIns="0" bIns="0" anchor="t"/>
          <a:lstStyle/>
          <a:p>
            <a:pPr algn="ctr"/>
            <a:r>
              <a:rPr lang="en-US" sz="4400" dirty="0">
                <a:solidFill>
                  <a:srgbClr val="145275"/>
                </a:solidFill>
                <a:latin typeface="+mn-lt"/>
                <a:cs typeface="Poppins" panose="00000500000000000000" pitchFamily="2" charset="0"/>
              </a:rPr>
              <a:t>Sprint Backlog</a:t>
            </a:r>
          </a:p>
        </p:txBody>
      </p:sp>
      <p:pic>
        <p:nvPicPr>
          <p:cNvPr id="17" name="Picture 16">
            <a:extLst>
              <a:ext uri="{FF2B5EF4-FFF2-40B4-BE49-F238E27FC236}">
                <a16:creationId xmlns:a16="http://schemas.microsoft.com/office/drawing/2014/main" id="{3EE3682B-36DD-8122-AD41-A50E944C57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18" name="Picture 17">
            <a:extLst>
              <a:ext uri="{FF2B5EF4-FFF2-40B4-BE49-F238E27FC236}">
                <a16:creationId xmlns:a16="http://schemas.microsoft.com/office/drawing/2014/main" id="{56445B68-8578-CEF1-BEC4-5F4CFBBB43EB}"/>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4" name="Content Placeholder 2">
            <a:extLst>
              <a:ext uri="{FF2B5EF4-FFF2-40B4-BE49-F238E27FC236}">
                <a16:creationId xmlns:a16="http://schemas.microsoft.com/office/drawing/2014/main" id="{4F6C6FDA-A230-2EDD-8BC8-9249877DE41B}"/>
              </a:ext>
            </a:extLst>
          </p:cNvPr>
          <p:cNvSpPr txBox="1">
            <a:spLocks/>
          </p:cNvSpPr>
          <p:nvPr/>
        </p:nvSpPr>
        <p:spPr>
          <a:xfrm>
            <a:off x="1064730" y="836621"/>
            <a:ext cx="9921152" cy="5358750"/>
          </a:xfrm>
          <a:prstGeom prst="rect">
            <a:avLst/>
          </a:prstGeom>
        </p:spPr>
        <p:txBody>
          <a:bodyPr vert="horz" lIns="0" tIns="0" rIns="0" bIns="0" rtlCol="0" anchor="t">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457200" lvl="0" indent="-457200">
              <a:lnSpc>
                <a:spcPct val="150000"/>
              </a:lnSpc>
              <a:spcBef>
                <a:spcPts val="1200"/>
              </a:spcBef>
              <a:spcAft>
                <a:spcPts val="600"/>
              </a:spcAft>
              <a:buFont typeface="+mj-lt"/>
              <a:buAutoNum type="arabicPeriod" startAt="11"/>
            </a:pPr>
            <a:r>
              <a:rPr lang="en-US" sz="2400" dirty="0">
                <a:solidFill>
                  <a:schemeClr val="accent1">
                    <a:lumMod val="75000"/>
                  </a:schemeClr>
                </a:solidFill>
                <a:effectLst/>
                <a:latin typeface="Open Sans" panose="020B0606030504020204" pitchFamily="34" charset="0"/>
                <a:ea typeface="Times New Roman" panose="02020603050405020304" pitchFamily="18" charset="0"/>
              </a:rPr>
              <a:t>Before the user gets access to the app, they have to authenticate their identity </a:t>
            </a:r>
            <a:r>
              <a:rPr lang="en-US" sz="2400" dirty="0">
                <a:solidFill>
                  <a:schemeClr val="accent1">
                    <a:lumMod val="75000"/>
                  </a:schemeClr>
                </a:solidFill>
                <a:latin typeface="Open Sans" panose="020B0606030504020204" pitchFamily="34" charset="0"/>
                <a:ea typeface="Times New Roman" panose="02020603050405020304" pitchFamily="18" charset="0"/>
              </a:rPr>
              <a:t>with a </a:t>
            </a:r>
            <a:r>
              <a:rPr lang="en-US" sz="2400" b="1" dirty="0">
                <a:solidFill>
                  <a:schemeClr val="accent1">
                    <a:lumMod val="75000"/>
                  </a:schemeClr>
                </a:solidFill>
                <a:latin typeface="Open Sans" panose="020B0606030504020204" pitchFamily="34" charset="0"/>
                <a:ea typeface="Times New Roman" panose="02020603050405020304" pitchFamily="18" charset="0"/>
              </a:rPr>
              <a:t>login form</a:t>
            </a:r>
            <a:r>
              <a:rPr lang="en-US" sz="2400" dirty="0">
                <a:solidFill>
                  <a:schemeClr val="accent1">
                    <a:lumMod val="75000"/>
                  </a:schemeClr>
                </a:solidFill>
                <a:effectLst/>
                <a:latin typeface="Open Sans" panose="020B0606030504020204" pitchFamily="34" charset="0"/>
                <a:ea typeface="Times New Roman" panose="02020603050405020304" pitchFamily="18" charset="0"/>
              </a:rPr>
              <a:t>. Install </a:t>
            </a:r>
            <a:r>
              <a:rPr lang="en-US" sz="2400" b="1" i="1" dirty="0">
                <a:solidFill>
                  <a:schemeClr val="accent1">
                    <a:lumMod val="75000"/>
                  </a:schemeClr>
                </a:solidFill>
                <a:effectLst/>
                <a:latin typeface="Open Sans" panose="020B0606030504020204" pitchFamily="34" charset="0"/>
                <a:ea typeface="Times New Roman" panose="02020603050405020304" pitchFamily="18" charset="0"/>
              </a:rPr>
              <a:t>streamlit-authenticator</a:t>
            </a:r>
            <a:r>
              <a:rPr lang="en-US" sz="2400" dirty="0">
                <a:solidFill>
                  <a:schemeClr val="accent1">
                    <a:lumMod val="75000"/>
                  </a:schemeClr>
                </a:solidFill>
                <a:effectLst/>
                <a:latin typeface="Open Sans" panose="020B0606030504020204" pitchFamily="34" charset="0"/>
                <a:ea typeface="Times New Roman" panose="02020603050405020304" pitchFamily="18" charset="0"/>
              </a:rPr>
              <a:t> for authenticating users of your app. </a:t>
            </a:r>
            <a:endParaRPr lang="en-GH" sz="2400" dirty="0">
              <a:solidFill>
                <a:schemeClr val="accent1">
                  <a:lumMod val="75000"/>
                </a:schemeClr>
              </a:solidFill>
              <a:effectLst/>
              <a:latin typeface="Times New Roman" panose="02020603050405020304" pitchFamily="18" charset="0"/>
              <a:ea typeface="Times New Roman" panose="02020603050405020304" pitchFamily="18" charset="0"/>
            </a:endParaRPr>
          </a:p>
          <a:p>
            <a:pPr marL="457200" lvl="0" indent="-457200">
              <a:lnSpc>
                <a:spcPct val="150000"/>
              </a:lnSpc>
              <a:spcBef>
                <a:spcPts val="1200"/>
              </a:spcBef>
              <a:spcAft>
                <a:spcPts val="600"/>
              </a:spcAft>
              <a:buFont typeface="+mj-lt"/>
              <a:buAutoNum type="arabicPeriod" startAt="11"/>
            </a:pPr>
            <a:r>
              <a:rPr lang="en-US" sz="2400" dirty="0">
                <a:solidFill>
                  <a:schemeClr val="accent1">
                    <a:lumMod val="75000"/>
                  </a:schemeClr>
                </a:solidFill>
                <a:effectLst/>
                <a:latin typeface="Open Sans" panose="020B0606030504020204" pitchFamily="34" charset="0"/>
                <a:ea typeface="Times New Roman" panose="02020603050405020304" pitchFamily="18" charset="0"/>
              </a:rPr>
              <a:t>Deploy the app to Streamlit Community Cloud.</a:t>
            </a:r>
            <a:endParaRPr lang="en-GH" sz="2400" dirty="0">
              <a:solidFill>
                <a:schemeClr val="accent1">
                  <a:lumMod val="75000"/>
                </a:schemeClr>
              </a:solidFill>
              <a:effectLst/>
              <a:latin typeface="Times New Roman" panose="02020603050405020304" pitchFamily="18" charset="0"/>
              <a:ea typeface="Times New Roman" panose="02020603050405020304" pitchFamily="18" charset="0"/>
            </a:endParaRPr>
          </a:p>
          <a:p>
            <a:pPr marL="457200" lvl="0" indent="-457200">
              <a:lnSpc>
                <a:spcPct val="150000"/>
              </a:lnSpc>
              <a:spcBef>
                <a:spcPts val="1200"/>
              </a:spcBef>
              <a:spcAft>
                <a:spcPts val="600"/>
              </a:spcAft>
              <a:buFont typeface="+mj-lt"/>
              <a:buAutoNum type="arabicPeriod" startAt="11"/>
            </a:pPr>
            <a:r>
              <a:rPr lang="en-GH" sz="2400" dirty="0">
                <a:solidFill>
                  <a:schemeClr val="accent1">
                    <a:lumMod val="75000"/>
                  </a:schemeClr>
                </a:solidFill>
                <a:effectLst/>
                <a:latin typeface="Open Sans" panose="020B0606030504020204" pitchFamily="34" charset="0"/>
                <a:ea typeface="Times New Roman" panose="02020603050405020304" pitchFamily="18" charset="0"/>
              </a:rPr>
              <a:t>Publish an article on the entire process</a:t>
            </a:r>
            <a:endParaRPr lang="en-GH" sz="2400" dirty="0">
              <a:solidFill>
                <a:schemeClr val="accent1">
                  <a:lumMod val="75000"/>
                </a:schemeClr>
              </a:solidFill>
              <a:effectLst/>
              <a:latin typeface="Times New Roman" panose="02020603050405020304" pitchFamily="18" charset="0"/>
              <a:ea typeface="Times New Roman" panose="02020603050405020304" pitchFamily="18" charset="0"/>
            </a:endParaRPr>
          </a:p>
        </p:txBody>
      </p:sp>
      <p:grpSp>
        <p:nvGrpSpPr>
          <p:cNvPr id="402" name="Group 401">
            <a:extLst>
              <a:ext uri="{FF2B5EF4-FFF2-40B4-BE49-F238E27FC236}">
                <a16:creationId xmlns:a16="http://schemas.microsoft.com/office/drawing/2014/main" id="{6F04B63D-62D0-5A0C-81C6-1E47E423DB94}"/>
              </a:ext>
            </a:extLst>
          </p:cNvPr>
          <p:cNvGrpSpPr/>
          <p:nvPr/>
        </p:nvGrpSpPr>
        <p:grpSpPr>
          <a:xfrm>
            <a:off x="10133029" y="3282450"/>
            <a:ext cx="1931723" cy="2721556"/>
            <a:chOff x="4953134" y="1836052"/>
            <a:chExt cx="2443737" cy="3226463"/>
          </a:xfrm>
        </p:grpSpPr>
        <p:sp>
          <p:nvSpPr>
            <p:cNvPr id="403" name="Freeform: Shape 402">
              <a:extLst>
                <a:ext uri="{FF2B5EF4-FFF2-40B4-BE49-F238E27FC236}">
                  <a16:creationId xmlns:a16="http://schemas.microsoft.com/office/drawing/2014/main" id="{79B02943-6DB6-A9C8-B7C2-ADD56C1A2461}"/>
                </a:ext>
              </a:extLst>
            </p:cNvPr>
            <p:cNvSpPr/>
            <p:nvPr/>
          </p:nvSpPr>
          <p:spPr>
            <a:xfrm flipV="1">
              <a:off x="5055882" y="4176439"/>
              <a:ext cx="2332102" cy="886076"/>
            </a:xfrm>
            <a:custGeom>
              <a:avLst/>
              <a:gdLst>
                <a:gd name="connsiteX0" fmla="*/ 1712457 w 2332102"/>
                <a:gd name="connsiteY0" fmla="*/ 886044 h 886076"/>
                <a:gd name="connsiteX1" fmla="*/ 2152586 w 2332102"/>
                <a:gd name="connsiteY1" fmla="*/ 872320 h 886076"/>
                <a:gd name="connsiteX2" fmla="*/ 2221154 w 2332102"/>
                <a:gd name="connsiteY2" fmla="*/ 789096 h 886076"/>
                <a:gd name="connsiteX3" fmla="*/ 2168943 w 2332102"/>
                <a:gd name="connsiteY3" fmla="*/ 456940 h 886076"/>
                <a:gd name="connsiteX4" fmla="*/ 2139469 w 2332102"/>
                <a:gd name="connsiteY4" fmla="*/ 269450 h 886076"/>
                <a:gd name="connsiteX5" fmla="*/ 2180692 w 2332102"/>
                <a:gd name="connsiteY5" fmla="*/ 192622 h 886076"/>
                <a:gd name="connsiteX6" fmla="*/ 2289976 w 2332102"/>
                <a:gd name="connsiteY6" fmla="*/ 143100 h 886076"/>
                <a:gd name="connsiteX7" fmla="*/ 2331704 w 2332102"/>
                <a:gd name="connsiteY7" fmla="*/ 70182 h 886076"/>
                <a:gd name="connsiteX8" fmla="*/ 2324248 w 2332102"/>
                <a:gd name="connsiteY8" fmla="*/ 0 h 886076"/>
                <a:gd name="connsiteX9" fmla="*/ 0 w 2332102"/>
                <a:gd name="connsiteY9" fmla="*/ 0 h 886076"/>
                <a:gd name="connsiteX10" fmla="*/ 73708 w 2332102"/>
                <a:gd name="connsiteY10" fmla="*/ 102957 h 886076"/>
                <a:gd name="connsiteX11" fmla="*/ 128062 w 2332102"/>
                <a:gd name="connsiteY11" fmla="*/ 127913 h 886076"/>
                <a:gd name="connsiteX12" fmla="*/ 182815 w 2332102"/>
                <a:gd name="connsiteY12" fmla="*/ 191498 h 886076"/>
                <a:gd name="connsiteX13" fmla="*/ 237169 w 2332102"/>
                <a:gd name="connsiteY13" fmla="*/ 216454 h 886076"/>
                <a:gd name="connsiteX14" fmla="*/ 523722 w 2332102"/>
                <a:gd name="connsiteY14" fmla="*/ 226284 h 886076"/>
                <a:gd name="connsiteX15" fmla="*/ 586725 w 2332102"/>
                <a:gd name="connsiteY15" fmla="*/ 263698 h 886076"/>
                <a:gd name="connsiteX16" fmla="*/ 658272 w 2332102"/>
                <a:gd name="connsiteY16" fmla="*/ 399715 h 886076"/>
                <a:gd name="connsiteX17" fmla="*/ 721279 w 2332102"/>
                <a:gd name="connsiteY17" fmla="*/ 437174 h 886076"/>
                <a:gd name="connsiteX18" fmla="*/ 914729 w 2332102"/>
                <a:gd name="connsiteY18" fmla="*/ 437174 h 886076"/>
                <a:gd name="connsiteX19" fmla="*/ 980219 w 2332102"/>
                <a:gd name="connsiteY19" fmla="*/ 479668 h 886076"/>
                <a:gd name="connsiteX20" fmla="*/ 1333903 w 2332102"/>
                <a:gd name="connsiteY20" fmla="*/ 795588 h 886076"/>
                <a:gd name="connsiteX21" fmla="*/ 1395199 w 2332102"/>
                <a:gd name="connsiteY21" fmla="*/ 837985 h 886076"/>
                <a:gd name="connsiteX22" fmla="*/ 1620492 w 2332102"/>
                <a:gd name="connsiteY22" fmla="*/ 851173 h 886076"/>
                <a:gd name="connsiteX23" fmla="*/ 1663274 w 2332102"/>
                <a:gd name="connsiteY23" fmla="*/ 868558 h 886076"/>
                <a:gd name="connsiteX24" fmla="*/ 1712457 w 2332102"/>
                <a:gd name="connsiteY24" fmla="*/ 886044 h 886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32102" h="886076">
                  <a:moveTo>
                    <a:pt x="1712457" y="886044"/>
                  </a:moveTo>
                  <a:lnTo>
                    <a:pt x="2152586" y="872320"/>
                  </a:lnTo>
                  <a:cubicBezTo>
                    <a:pt x="2195884" y="870953"/>
                    <a:pt x="2228092" y="831833"/>
                    <a:pt x="2221154" y="789096"/>
                  </a:cubicBezTo>
                  <a:lnTo>
                    <a:pt x="2168943" y="456940"/>
                  </a:lnTo>
                  <a:lnTo>
                    <a:pt x="2139469" y="269450"/>
                  </a:lnTo>
                  <a:cubicBezTo>
                    <a:pt x="2134304" y="237455"/>
                    <a:pt x="2151168" y="205956"/>
                    <a:pt x="2180692" y="192622"/>
                  </a:cubicBezTo>
                  <a:lnTo>
                    <a:pt x="2289976" y="143100"/>
                  </a:lnTo>
                  <a:cubicBezTo>
                    <a:pt x="2318183" y="130354"/>
                    <a:pt x="2334945" y="100951"/>
                    <a:pt x="2331704" y="70182"/>
                  </a:cubicBezTo>
                  <a:lnTo>
                    <a:pt x="2324248" y="0"/>
                  </a:lnTo>
                  <a:lnTo>
                    <a:pt x="0" y="0"/>
                  </a:lnTo>
                  <a:lnTo>
                    <a:pt x="73708" y="102957"/>
                  </a:lnTo>
                  <a:cubicBezTo>
                    <a:pt x="94603" y="102957"/>
                    <a:pt x="114439" y="112087"/>
                    <a:pt x="128062" y="127913"/>
                  </a:cubicBezTo>
                  <a:lnTo>
                    <a:pt x="182815" y="191498"/>
                  </a:lnTo>
                  <a:cubicBezTo>
                    <a:pt x="196438" y="207324"/>
                    <a:pt x="216314" y="216454"/>
                    <a:pt x="237169" y="216454"/>
                  </a:cubicBezTo>
                  <a:lnTo>
                    <a:pt x="523722" y="226284"/>
                  </a:lnTo>
                  <a:cubicBezTo>
                    <a:pt x="549995" y="226284"/>
                    <a:pt x="574126" y="240646"/>
                    <a:pt x="586725" y="263698"/>
                  </a:cubicBezTo>
                  <a:lnTo>
                    <a:pt x="658272" y="399715"/>
                  </a:lnTo>
                  <a:cubicBezTo>
                    <a:pt x="670830" y="422818"/>
                    <a:pt x="695002" y="437174"/>
                    <a:pt x="721279" y="437174"/>
                  </a:cubicBezTo>
                  <a:lnTo>
                    <a:pt x="914729" y="437174"/>
                  </a:lnTo>
                  <a:cubicBezTo>
                    <a:pt x="943007" y="437174"/>
                    <a:pt x="968698" y="453830"/>
                    <a:pt x="980219" y="479668"/>
                  </a:cubicBezTo>
                  <a:lnTo>
                    <a:pt x="1333903" y="795588"/>
                  </a:lnTo>
                  <a:cubicBezTo>
                    <a:pt x="1344796" y="820063"/>
                    <a:pt x="1368435" y="836421"/>
                    <a:pt x="1395199" y="837985"/>
                  </a:cubicBezTo>
                  <a:lnTo>
                    <a:pt x="1620492" y="851173"/>
                  </a:lnTo>
                  <a:cubicBezTo>
                    <a:pt x="1636267" y="852099"/>
                    <a:pt x="1651313" y="858206"/>
                    <a:pt x="1663274" y="868558"/>
                  </a:cubicBezTo>
                  <a:cubicBezTo>
                    <a:pt x="1676901" y="880377"/>
                    <a:pt x="1694438" y="886581"/>
                    <a:pt x="1712457" y="886044"/>
                  </a:cubicBezTo>
                  <a:close/>
                </a:path>
              </a:pathLst>
            </a:custGeom>
            <a:solidFill>
              <a:srgbClr val="FFFFFF">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4" name="Freeform: Shape 403">
              <a:extLst>
                <a:ext uri="{FF2B5EF4-FFF2-40B4-BE49-F238E27FC236}">
                  <a16:creationId xmlns:a16="http://schemas.microsoft.com/office/drawing/2014/main" id="{5C64E0CF-98FD-02A4-D9F3-C36D90BCB663}"/>
                </a:ext>
              </a:extLst>
            </p:cNvPr>
            <p:cNvSpPr/>
            <p:nvPr/>
          </p:nvSpPr>
          <p:spPr>
            <a:xfrm flipV="1">
              <a:off x="5031388" y="4140655"/>
              <a:ext cx="2264931" cy="921860"/>
            </a:xfrm>
            <a:custGeom>
              <a:avLst/>
              <a:gdLst>
                <a:gd name="connsiteX0" fmla="*/ 1738049 w 2264931"/>
                <a:gd name="connsiteY0" fmla="*/ 921811 h 921860"/>
                <a:gd name="connsiteX1" fmla="*/ 2226935 w 2264931"/>
                <a:gd name="connsiteY1" fmla="*/ 908087 h 921860"/>
                <a:gd name="connsiteX2" fmla="*/ 2264916 w 2264931"/>
                <a:gd name="connsiteY2" fmla="*/ 867944 h 921860"/>
                <a:gd name="connsiteX3" fmla="*/ 2224758 w 2264931"/>
                <a:gd name="connsiteY3" fmla="*/ 829948 h 921860"/>
                <a:gd name="connsiteX4" fmla="*/ 1735800 w 2264931"/>
                <a:gd name="connsiteY4" fmla="*/ 843671 h 921860"/>
                <a:gd name="connsiteX5" fmla="*/ 1713285 w 2264931"/>
                <a:gd name="connsiteY5" fmla="*/ 835756 h 921860"/>
                <a:gd name="connsiteX6" fmla="*/ 1647204 w 2264931"/>
                <a:gd name="connsiteY6" fmla="*/ 808896 h 921860"/>
                <a:gd name="connsiteX7" fmla="*/ 1421911 w 2264931"/>
                <a:gd name="connsiteY7" fmla="*/ 795709 h 921860"/>
                <a:gd name="connsiteX8" fmla="*/ 1394124 w 2264931"/>
                <a:gd name="connsiteY8" fmla="*/ 776663 h 921860"/>
                <a:gd name="connsiteX9" fmla="*/ 1040328 w 2264931"/>
                <a:gd name="connsiteY9" fmla="*/ 460428 h 921860"/>
                <a:gd name="connsiteX10" fmla="*/ 939136 w 2264931"/>
                <a:gd name="connsiteY10" fmla="*/ 394837 h 921860"/>
                <a:gd name="connsiteX11" fmla="*/ 745681 w 2264931"/>
                <a:gd name="connsiteY11" fmla="*/ 394837 h 921860"/>
                <a:gd name="connsiteX12" fmla="*/ 717110 w 2264931"/>
                <a:gd name="connsiteY12" fmla="*/ 377938 h 921860"/>
                <a:gd name="connsiteX13" fmla="*/ 645417 w 2264931"/>
                <a:gd name="connsiteY13" fmla="*/ 241678 h 921860"/>
                <a:gd name="connsiteX14" fmla="*/ 548125 w 2264931"/>
                <a:gd name="connsiteY14" fmla="*/ 183896 h 921860"/>
                <a:gd name="connsiteX15" fmla="*/ 261586 w 2264931"/>
                <a:gd name="connsiteY15" fmla="*/ 174082 h 921860"/>
                <a:gd name="connsiteX16" fmla="*/ 248009 w 2264931"/>
                <a:gd name="connsiteY16" fmla="*/ 171104 h 921860"/>
                <a:gd name="connsiteX17" fmla="*/ 178821 w 2264931"/>
                <a:gd name="connsiteY17" fmla="*/ 77495 h 921860"/>
                <a:gd name="connsiteX18" fmla="*/ 118999 w 2264931"/>
                <a:gd name="connsiteY18" fmla="*/ 0 h 921860"/>
                <a:gd name="connsiteX19" fmla="*/ 0 w 2264931"/>
                <a:gd name="connsiteY19" fmla="*/ 0 h 921860"/>
                <a:gd name="connsiteX20" fmla="*/ 12032 w 2264931"/>
                <a:gd name="connsiteY20" fmla="*/ 15450 h 921860"/>
                <a:gd name="connsiteX21" fmla="*/ 157123 w 2264931"/>
                <a:gd name="connsiteY21" fmla="*/ 196794 h 921860"/>
                <a:gd name="connsiteX22" fmla="*/ 172847 w 2264931"/>
                <a:gd name="connsiteY22" fmla="*/ 208128 h 921860"/>
                <a:gd name="connsiteX23" fmla="*/ 177632 w 2264931"/>
                <a:gd name="connsiteY23" fmla="*/ 213693 h 921860"/>
                <a:gd name="connsiteX24" fmla="*/ 261586 w 2264931"/>
                <a:gd name="connsiteY24" fmla="*/ 252226 h 921860"/>
                <a:gd name="connsiteX25" fmla="*/ 548125 w 2264931"/>
                <a:gd name="connsiteY25" fmla="*/ 262041 h 921860"/>
                <a:gd name="connsiteX26" fmla="*/ 576747 w 2264931"/>
                <a:gd name="connsiteY26" fmla="*/ 278940 h 921860"/>
                <a:gd name="connsiteX27" fmla="*/ 648344 w 2264931"/>
                <a:gd name="connsiteY27" fmla="*/ 415104 h 921860"/>
                <a:gd name="connsiteX28" fmla="*/ 745681 w 2264931"/>
                <a:gd name="connsiteY28" fmla="*/ 472977 h 921860"/>
                <a:gd name="connsiteX29" fmla="*/ 939136 w 2264931"/>
                <a:gd name="connsiteY29" fmla="*/ 472977 h 921860"/>
                <a:gd name="connsiteX30" fmla="*/ 968827 w 2264931"/>
                <a:gd name="connsiteY30" fmla="*/ 492028 h 921860"/>
                <a:gd name="connsiteX31" fmla="*/ 1322623 w 2264931"/>
                <a:gd name="connsiteY31" fmla="*/ 808162 h 921860"/>
                <a:gd name="connsiteX32" fmla="*/ 1417368 w 2264931"/>
                <a:gd name="connsiteY32" fmla="*/ 873707 h 921860"/>
                <a:gd name="connsiteX33" fmla="*/ 1642615 w 2264931"/>
                <a:gd name="connsiteY33" fmla="*/ 886894 h 921860"/>
                <a:gd name="connsiteX34" fmla="*/ 1662148 w 2264931"/>
                <a:gd name="connsiteY34" fmla="*/ 894804 h 921860"/>
                <a:gd name="connsiteX35" fmla="*/ 1738049 w 2264931"/>
                <a:gd name="connsiteY35" fmla="*/ 921811 h 921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64931" h="921860">
                  <a:moveTo>
                    <a:pt x="1738049" y="921811"/>
                  </a:moveTo>
                  <a:lnTo>
                    <a:pt x="2226935" y="908087"/>
                  </a:lnTo>
                  <a:cubicBezTo>
                    <a:pt x="2248509" y="907454"/>
                    <a:pt x="2265524" y="889482"/>
                    <a:pt x="2264916" y="867944"/>
                  </a:cubicBezTo>
                  <a:cubicBezTo>
                    <a:pt x="2264309" y="846355"/>
                    <a:pt x="2246432" y="829309"/>
                    <a:pt x="2224758" y="829948"/>
                  </a:cubicBezTo>
                  <a:lnTo>
                    <a:pt x="1735800" y="843671"/>
                  </a:lnTo>
                  <a:cubicBezTo>
                    <a:pt x="1727500" y="843960"/>
                    <a:pt x="1719489" y="841129"/>
                    <a:pt x="1713285" y="835756"/>
                  </a:cubicBezTo>
                  <a:cubicBezTo>
                    <a:pt x="1694872" y="819840"/>
                    <a:pt x="1671425" y="810314"/>
                    <a:pt x="1647204" y="808896"/>
                  </a:cubicBezTo>
                  <a:lnTo>
                    <a:pt x="1421911" y="795709"/>
                  </a:lnTo>
                  <a:cubicBezTo>
                    <a:pt x="1409751" y="794975"/>
                    <a:pt x="1399152" y="787698"/>
                    <a:pt x="1394124" y="776663"/>
                  </a:cubicBezTo>
                  <a:lnTo>
                    <a:pt x="1040328" y="460428"/>
                  </a:lnTo>
                  <a:cubicBezTo>
                    <a:pt x="1022502" y="420578"/>
                    <a:pt x="982794" y="394837"/>
                    <a:pt x="939136" y="394837"/>
                  </a:cubicBezTo>
                  <a:lnTo>
                    <a:pt x="745681" y="394837"/>
                  </a:lnTo>
                  <a:cubicBezTo>
                    <a:pt x="733766" y="394837"/>
                    <a:pt x="722873" y="388345"/>
                    <a:pt x="717110" y="377938"/>
                  </a:cubicBezTo>
                  <a:lnTo>
                    <a:pt x="645417" y="241678"/>
                  </a:lnTo>
                  <a:cubicBezTo>
                    <a:pt x="625975" y="206026"/>
                    <a:pt x="588663" y="183896"/>
                    <a:pt x="548125" y="183896"/>
                  </a:cubicBezTo>
                  <a:lnTo>
                    <a:pt x="261586" y="174082"/>
                  </a:lnTo>
                  <a:cubicBezTo>
                    <a:pt x="256846" y="174082"/>
                    <a:pt x="252207" y="173059"/>
                    <a:pt x="248009" y="171104"/>
                  </a:cubicBezTo>
                  <a:cubicBezTo>
                    <a:pt x="246421" y="166769"/>
                    <a:pt x="219239" y="130274"/>
                    <a:pt x="178821" y="77495"/>
                  </a:cubicBezTo>
                  <a:lnTo>
                    <a:pt x="118999" y="0"/>
                  </a:lnTo>
                  <a:lnTo>
                    <a:pt x="0" y="0"/>
                  </a:lnTo>
                  <a:lnTo>
                    <a:pt x="12032" y="15450"/>
                  </a:lnTo>
                  <a:cubicBezTo>
                    <a:pt x="87829" y="112485"/>
                    <a:pt x="150528" y="191703"/>
                    <a:pt x="157123" y="196794"/>
                  </a:cubicBezTo>
                  <a:cubicBezTo>
                    <a:pt x="162005" y="200557"/>
                    <a:pt x="167281" y="204512"/>
                    <a:pt x="172847" y="208128"/>
                  </a:cubicBezTo>
                  <a:lnTo>
                    <a:pt x="177632" y="213693"/>
                  </a:lnTo>
                  <a:cubicBezTo>
                    <a:pt x="198730" y="238209"/>
                    <a:pt x="229307" y="252226"/>
                    <a:pt x="261586" y="252226"/>
                  </a:cubicBezTo>
                  <a:lnTo>
                    <a:pt x="548125" y="262041"/>
                  </a:lnTo>
                  <a:cubicBezTo>
                    <a:pt x="559995" y="262041"/>
                    <a:pt x="570933" y="268538"/>
                    <a:pt x="576747" y="278940"/>
                  </a:cubicBezTo>
                  <a:lnTo>
                    <a:pt x="648344" y="415104"/>
                  </a:lnTo>
                  <a:cubicBezTo>
                    <a:pt x="667785" y="450761"/>
                    <a:pt x="705047" y="472977"/>
                    <a:pt x="745681" y="472977"/>
                  </a:cubicBezTo>
                  <a:lnTo>
                    <a:pt x="939136" y="472977"/>
                  </a:lnTo>
                  <a:cubicBezTo>
                    <a:pt x="951928" y="472977"/>
                    <a:pt x="963551" y="480452"/>
                    <a:pt x="968827" y="492028"/>
                  </a:cubicBezTo>
                  <a:lnTo>
                    <a:pt x="1322623" y="808162"/>
                  </a:lnTo>
                  <a:cubicBezTo>
                    <a:pt x="1339517" y="846158"/>
                    <a:pt x="1375801" y="871261"/>
                    <a:pt x="1417368" y="873707"/>
                  </a:cubicBezTo>
                  <a:lnTo>
                    <a:pt x="1642615" y="886894"/>
                  </a:lnTo>
                  <a:cubicBezTo>
                    <a:pt x="1649796" y="887284"/>
                    <a:pt x="1656729" y="890115"/>
                    <a:pt x="1662148" y="894804"/>
                  </a:cubicBezTo>
                  <a:cubicBezTo>
                    <a:pt x="1683154" y="913020"/>
                    <a:pt x="1710110" y="922642"/>
                    <a:pt x="1738049" y="921811"/>
                  </a:cubicBezTo>
                  <a:close/>
                </a:path>
              </a:pathLst>
            </a:custGeom>
            <a:solidFill>
              <a:srgbClr val="FFFFFF">
                <a:lumMod val="6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5" name="Freeform: Shape 404">
              <a:extLst>
                <a:ext uri="{FF2B5EF4-FFF2-40B4-BE49-F238E27FC236}">
                  <a16:creationId xmlns:a16="http://schemas.microsoft.com/office/drawing/2014/main" id="{AF685C71-18D8-FE22-7A3A-148470757868}"/>
                </a:ext>
              </a:extLst>
            </p:cNvPr>
            <p:cNvSpPr/>
            <p:nvPr/>
          </p:nvSpPr>
          <p:spPr>
            <a:xfrm flipV="1">
              <a:off x="6043587" y="4605097"/>
              <a:ext cx="1343972" cy="457418"/>
            </a:xfrm>
            <a:custGeom>
              <a:avLst/>
              <a:gdLst>
                <a:gd name="connsiteX0" fmla="*/ 1180805 w 1343972"/>
                <a:gd name="connsiteY0" fmla="*/ 457418 h 457418"/>
                <a:gd name="connsiteX1" fmla="*/ 1151332 w 1343972"/>
                <a:gd name="connsiteY1" fmla="*/ 269928 h 457418"/>
                <a:gd name="connsiteX2" fmla="*/ 1150370 w 1343972"/>
                <a:gd name="connsiteY2" fmla="*/ 258357 h 457418"/>
                <a:gd name="connsiteX3" fmla="*/ 1192554 w 1343972"/>
                <a:gd name="connsiteY3" fmla="*/ 193100 h 457418"/>
                <a:gd name="connsiteX4" fmla="*/ 1301838 w 1343972"/>
                <a:gd name="connsiteY4" fmla="*/ 143578 h 457418"/>
                <a:gd name="connsiteX5" fmla="*/ 1343972 w 1343972"/>
                <a:gd name="connsiteY5" fmla="*/ 78200 h 457418"/>
                <a:gd name="connsiteX6" fmla="*/ 1343567 w 1343972"/>
                <a:gd name="connsiteY6" fmla="*/ 70660 h 457418"/>
                <a:gd name="connsiteX7" fmla="*/ 1336046 w 1343972"/>
                <a:gd name="connsiteY7" fmla="*/ 0 h 457418"/>
                <a:gd name="connsiteX8" fmla="*/ 0 w 1343972"/>
                <a:gd name="connsiteY8" fmla="*/ 0 h 457418"/>
                <a:gd name="connsiteX9" fmla="*/ 17226 w 1343972"/>
                <a:gd name="connsiteY9" fmla="*/ 12174 h 457418"/>
                <a:gd name="connsiteX10" fmla="*/ 1180805 w 1343972"/>
                <a:gd name="connsiteY10" fmla="*/ 457418 h 45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3972" h="457418">
                  <a:moveTo>
                    <a:pt x="1180805" y="457418"/>
                  </a:moveTo>
                  <a:lnTo>
                    <a:pt x="1151332" y="269928"/>
                  </a:lnTo>
                  <a:cubicBezTo>
                    <a:pt x="1150674" y="266054"/>
                    <a:pt x="1150370" y="262185"/>
                    <a:pt x="1150370" y="258357"/>
                  </a:cubicBezTo>
                  <a:cubicBezTo>
                    <a:pt x="1150421" y="230575"/>
                    <a:pt x="1166626" y="204819"/>
                    <a:pt x="1192554" y="193100"/>
                  </a:cubicBezTo>
                  <a:lnTo>
                    <a:pt x="1301838" y="143578"/>
                  </a:lnTo>
                  <a:cubicBezTo>
                    <a:pt x="1327716" y="131880"/>
                    <a:pt x="1343972" y="106144"/>
                    <a:pt x="1343972" y="78200"/>
                  </a:cubicBezTo>
                  <a:cubicBezTo>
                    <a:pt x="1343972" y="75699"/>
                    <a:pt x="1343820" y="73187"/>
                    <a:pt x="1343567" y="70660"/>
                  </a:cubicBezTo>
                  <a:lnTo>
                    <a:pt x="1336046" y="0"/>
                  </a:lnTo>
                  <a:lnTo>
                    <a:pt x="0" y="0"/>
                  </a:lnTo>
                  <a:lnTo>
                    <a:pt x="17226" y="12174"/>
                  </a:lnTo>
                  <a:cubicBezTo>
                    <a:pt x="366552" y="242481"/>
                    <a:pt x="767068" y="393832"/>
                    <a:pt x="1180805" y="457418"/>
                  </a:cubicBezTo>
                  <a:close/>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6" name="Freeform: Shape 405">
              <a:extLst>
                <a:ext uri="{FF2B5EF4-FFF2-40B4-BE49-F238E27FC236}">
                  <a16:creationId xmlns:a16="http://schemas.microsoft.com/office/drawing/2014/main" id="{59E0D9F7-34E4-76C4-A8B2-55FECA6CF2D2}"/>
                </a:ext>
              </a:extLst>
            </p:cNvPr>
            <p:cNvSpPr/>
            <p:nvPr/>
          </p:nvSpPr>
          <p:spPr>
            <a:xfrm flipV="1">
              <a:off x="6032041" y="3282869"/>
              <a:ext cx="116207" cy="90242"/>
            </a:xfrm>
            <a:custGeom>
              <a:avLst/>
              <a:gdLst>
                <a:gd name="connsiteX0" fmla="*/ 108333 w 116207"/>
                <a:gd name="connsiteY0" fmla="*/ 78109 h 90242"/>
                <a:gd name="connsiteX1" fmla="*/ 103891 w 116207"/>
                <a:gd name="connsiteY1" fmla="*/ 61493 h 90242"/>
                <a:gd name="connsiteX2" fmla="*/ 99299 w 116207"/>
                <a:gd name="connsiteY2" fmla="*/ 28759 h 90242"/>
                <a:gd name="connsiteX3" fmla="*/ 97217 w 116207"/>
                <a:gd name="connsiteY3" fmla="*/ 23148 h 90242"/>
                <a:gd name="connsiteX4" fmla="*/ 83230 w 116207"/>
                <a:gd name="connsiteY4" fmla="*/ 10670 h 90242"/>
                <a:gd name="connsiteX5" fmla="*/ 74216 w 116207"/>
                <a:gd name="connsiteY5" fmla="*/ 7611 h 90242"/>
                <a:gd name="connsiteX6" fmla="*/ 45771 w 116207"/>
                <a:gd name="connsiteY6" fmla="*/ 4375 h 90242"/>
                <a:gd name="connsiteX7" fmla="*/ 19872 w 116207"/>
                <a:gd name="connsiteY7" fmla="*/ -6518 h 90242"/>
                <a:gd name="connsiteX8" fmla="*/ -7135 w 116207"/>
                <a:gd name="connsiteY8" fmla="*/ 31048 h 90242"/>
                <a:gd name="connsiteX9" fmla="*/ 27438 w 116207"/>
                <a:gd name="connsiteY9" fmla="*/ 59305 h 90242"/>
                <a:gd name="connsiteX10" fmla="*/ 36888 w 116207"/>
                <a:gd name="connsiteY10" fmla="*/ 68857 h 90242"/>
                <a:gd name="connsiteX11" fmla="*/ 46986 w 116207"/>
                <a:gd name="connsiteY11" fmla="*/ 74088 h 90242"/>
                <a:gd name="connsiteX12" fmla="*/ 59211 w 116207"/>
                <a:gd name="connsiteY12" fmla="*/ 79375 h 90242"/>
                <a:gd name="connsiteX13" fmla="*/ 90720 w 116207"/>
                <a:gd name="connsiteY13" fmla="*/ 82910 h 90242"/>
                <a:gd name="connsiteX14" fmla="*/ 103076 w 116207"/>
                <a:gd name="connsiteY14" fmla="*/ 82783 h 90242"/>
                <a:gd name="connsiteX15" fmla="*/ 108333 w 116207"/>
                <a:gd name="connsiteY15" fmla="*/ 78109 h 9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6207" h="90242">
                  <a:moveTo>
                    <a:pt x="108333" y="78109"/>
                  </a:moveTo>
                  <a:cubicBezTo>
                    <a:pt x="110855" y="72584"/>
                    <a:pt x="106322" y="66922"/>
                    <a:pt x="103891" y="61493"/>
                  </a:cubicBezTo>
                  <a:cubicBezTo>
                    <a:pt x="99405" y="51411"/>
                    <a:pt x="102013" y="39262"/>
                    <a:pt x="99299" y="28759"/>
                  </a:cubicBezTo>
                  <a:cubicBezTo>
                    <a:pt x="98822" y="26819"/>
                    <a:pt x="98133" y="24946"/>
                    <a:pt x="97217" y="23148"/>
                  </a:cubicBezTo>
                  <a:cubicBezTo>
                    <a:pt x="94265" y="17481"/>
                    <a:pt x="89119" y="13389"/>
                    <a:pt x="83230" y="10670"/>
                  </a:cubicBezTo>
                  <a:cubicBezTo>
                    <a:pt x="80349" y="9333"/>
                    <a:pt x="77279" y="8310"/>
                    <a:pt x="74216" y="7611"/>
                  </a:cubicBezTo>
                  <a:cubicBezTo>
                    <a:pt x="64898" y="5464"/>
                    <a:pt x="55235" y="5595"/>
                    <a:pt x="45771" y="4375"/>
                  </a:cubicBezTo>
                  <a:cubicBezTo>
                    <a:pt x="36291" y="3170"/>
                    <a:pt x="26532" y="318"/>
                    <a:pt x="19872" y="-6518"/>
                  </a:cubicBezTo>
                  <a:cubicBezTo>
                    <a:pt x="17791" y="5069"/>
                    <a:pt x="1991" y="23603"/>
                    <a:pt x="-7135" y="31048"/>
                  </a:cubicBezTo>
                  <a:cubicBezTo>
                    <a:pt x="4558" y="39540"/>
                    <a:pt x="20612" y="46559"/>
                    <a:pt x="27438" y="59305"/>
                  </a:cubicBezTo>
                  <a:cubicBezTo>
                    <a:pt x="29591" y="63321"/>
                    <a:pt x="32902" y="66648"/>
                    <a:pt x="36888" y="68857"/>
                  </a:cubicBezTo>
                  <a:cubicBezTo>
                    <a:pt x="40220" y="70705"/>
                    <a:pt x="43588" y="72462"/>
                    <a:pt x="46986" y="74088"/>
                  </a:cubicBezTo>
                  <a:cubicBezTo>
                    <a:pt x="50991" y="75992"/>
                    <a:pt x="55048" y="77785"/>
                    <a:pt x="59211" y="79375"/>
                  </a:cubicBezTo>
                  <a:cubicBezTo>
                    <a:pt x="69040" y="83218"/>
                    <a:pt x="80318" y="80955"/>
                    <a:pt x="90720" y="82910"/>
                  </a:cubicBezTo>
                  <a:cubicBezTo>
                    <a:pt x="94816" y="83679"/>
                    <a:pt x="99050" y="84327"/>
                    <a:pt x="103076" y="82783"/>
                  </a:cubicBezTo>
                  <a:cubicBezTo>
                    <a:pt x="105350" y="81917"/>
                    <a:pt x="107310" y="80337"/>
                    <a:pt x="108333" y="78109"/>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7" name="Freeform: Shape 406">
              <a:extLst>
                <a:ext uri="{FF2B5EF4-FFF2-40B4-BE49-F238E27FC236}">
                  <a16:creationId xmlns:a16="http://schemas.microsoft.com/office/drawing/2014/main" id="{CAC34D72-24DB-E917-02AA-34F264839047}"/>
                </a:ext>
              </a:extLst>
            </p:cNvPr>
            <p:cNvSpPr/>
            <p:nvPr/>
          </p:nvSpPr>
          <p:spPr>
            <a:xfrm flipV="1">
              <a:off x="6079523" y="3292450"/>
              <a:ext cx="22221" cy="33139"/>
            </a:xfrm>
            <a:custGeom>
              <a:avLst/>
              <a:gdLst>
                <a:gd name="connsiteX0" fmla="*/ 15086 w 22221"/>
                <a:gd name="connsiteY0" fmla="*/ 26143 h 33139"/>
                <a:gd name="connsiteX1" fmla="*/ -7135 w 22221"/>
                <a:gd name="connsiteY1" fmla="*/ -6561 h 33139"/>
                <a:gd name="connsiteX2" fmla="*/ 592 w 22221"/>
                <a:gd name="connsiteY2" fmla="*/ 21292 h 33139"/>
                <a:gd name="connsiteX3" fmla="*/ 12817 w 22221"/>
                <a:gd name="connsiteY3" fmla="*/ 26579 h 33139"/>
                <a:gd name="connsiteX4" fmla="*/ 15086 w 22221"/>
                <a:gd name="connsiteY4" fmla="*/ 26143 h 331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21" h="33139">
                  <a:moveTo>
                    <a:pt x="15086" y="26143"/>
                  </a:moveTo>
                  <a:cubicBezTo>
                    <a:pt x="10078" y="1071"/>
                    <a:pt x="-7135" y="-6561"/>
                    <a:pt x="-7135" y="-6561"/>
                  </a:cubicBezTo>
                  <a:lnTo>
                    <a:pt x="592" y="21292"/>
                  </a:lnTo>
                  <a:cubicBezTo>
                    <a:pt x="4598" y="23196"/>
                    <a:pt x="8665" y="24989"/>
                    <a:pt x="12817" y="26579"/>
                  </a:cubicBezTo>
                  <a:lnTo>
                    <a:pt x="15086" y="26143"/>
                  </a:lnTo>
                </a:path>
              </a:pathLst>
            </a:custGeom>
            <a:solidFill>
              <a:srgbClr val="FFFFFF">
                <a:lumMod val="6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8" name="Freeform: Shape 407">
              <a:extLst>
                <a:ext uri="{FF2B5EF4-FFF2-40B4-BE49-F238E27FC236}">
                  <a16:creationId xmlns:a16="http://schemas.microsoft.com/office/drawing/2014/main" id="{38F7967B-6513-BBF1-7D38-B706B9366D62}"/>
                </a:ext>
              </a:extLst>
            </p:cNvPr>
            <p:cNvSpPr/>
            <p:nvPr/>
          </p:nvSpPr>
          <p:spPr>
            <a:xfrm flipV="1">
              <a:off x="6091783" y="3334900"/>
              <a:ext cx="46691" cy="21023"/>
            </a:xfrm>
            <a:custGeom>
              <a:avLst/>
              <a:gdLst>
                <a:gd name="connsiteX0" fmla="*/ 39514 w 46691"/>
                <a:gd name="connsiteY0" fmla="*/ 11610 h 21023"/>
                <a:gd name="connsiteX1" fmla="*/ 37433 w 46691"/>
                <a:gd name="connsiteY1" fmla="*/ 5999 h 21023"/>
                <a:gd name="connsiteX2" fmla="*/ 23445 w 46691"/>
                <a:gd name="connsiteY2" fmla="*/ -6479 h 21023"/>
                <a:gd name="connsiteX3" fmla="*/ -7177 w 46691"/>
                <a:gd name="connsiteY3" fmla="*/ 1659 h 21023"/>
                <a:gd name="connsiteX4" fmla="*/ 39514 w 46691"/>
                <a:gd name="connsiteY4" fmla="*/ 11610 h 21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91" h="21023">
                  <a:moveTo>
                    <a:pt x="39514" y="11610"/>
                  </a:moveTo>
                  <a:cubicBezTo>
                    <a:pt x="39038" y="9670"/>
                    <a:pt x="38349" y="7797"/>
                    <a:pt x="37433" y="5999"/>
                  </a:cubicBezTo>
                  <a:cubicBezTo>
                    <a:pt x="34480" y="332"/>
                    <a:pt x="29335" y="-3760"/>
                    <a:pt x="23445" y="-6479"/>
                  </a:cubicBezTo>
                  <a:lnTo>
                    <a:pt x="-7177" y="1659"/>
                  </a:lnTo>
                  <a:cubicBezTo>
                    <a:pt x="-7177" y="1659"/>
                    <a:pt x="7651" y="21946"/>
                    <a:pt x="39514" y="11610"/>
                  </a:cubicBezTo>
                </a:path>
              </a:pathLst>
            </a:custGeom>
            <a:solidFill>
              <a:srgbClr val="FFFFFF">
                <a:lumMod val="6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9" name="Freeform: Shape 408">
              <a:extLst>
                <a:ext uri="{FF2B5EF4-FFF2-40B4-BE49-F238E27FC236}">
                  <a16:creationId xmlns:a16="http://schemas.microsoft.com/office/drawing/2014/main" id="{D282E240-A30E-AACF-A842-CB429B389830}"/>
                </a:ext>
              </a:extLst>
            </p:cNvPr>
            <p:cNvSpPr/>
            <p:nvPr/>
          </p:nvSpPr>
          <p:spPr>
            <a:xfrm flipV="1">
              <a:off x="5443751" y="3300284"/>
              <a:ext cx="101201" cy="47007"/>
            </a:xfrm>
            <a:custGeom>
              <a:avLst/>
              <a:gdLst>
                <a:gd name="connsiteX0" fmla="*/ -6115 w 101201"/>
                <a:gd name="connsiteY0" fmla="*/ 39720 h 47007"/>
                <a:gd name="connsiteX1" fmla="*/ 95087 w 101201"/>
                <a:gd name="connsiteY1" fmla="*/ 40480 h 47007"/>
                <a:gd name="connsiteX2" fmla="*/ 90048 w 101201"/>
                <a:gd name="connsiteY2" fmla="*/ -6505 h 47007"/>
                <a:gd name="connsiteX3" fmla="*/ -5269 w 101201"/>
                <a:gd name="connsiteY3" fmla="*/ 17565 h 47007"/>
                <a:gd name="connsiteX4" fmla="*/ -6115 w 101201"/>
                <a:gd name="connsiteY4" fmla="*/ 39720 h 47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01" h="47007">
                  <a:moveTo>
                    <a:pt x="-6115" y="39720"/>
                  </a:moveTo>
                  <a:lnTo>
                    <a:pt x="95087" y="40480"/>
                  </a:lnTo>
                  <a:cubicBezTo>
                    <a:pt x="95087" y="40480"/>
                    <a:pt x="90068" y="-7720"/>
                    <a:pt x="90048" y="-6505"/>
                  </a:cubicBezTo>
                  <a:cubicBezTo>
                    <a:pt x="90033" y="-5290"/>
                    <a:pt x="-5269" y="17565"/>
                    <a:pt x="-5269" y="17565"/>
                  </a:cubicBezTo>
                  <a:lnTo>
                    <a:pt x="-6115" y="39720"/>
                  </a:ln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0" name="Freeform: Shape 409">
              <a:extLst>
                <a:ext uri="{FF2B5EF4-FFF2-40B4-BE49-F238E27FC236}">
                  <a16:creationId xmlns:a16="http://schemas.microsoft.com/office/drawing/2014/main" id="{21EF6459-132E-B5F2-8E45-3B0DC28CF8E5}"/>
                </a:ext>
              </a:extLst>
            </p:cNvPr>
            <p:cNvSpPr/>
            <p:nvPr/>
          </p:nvSpPr>
          <p:spPr>
            <a:xfrm flipV="1">
              <a:off x="5098757" y="3780134"/>
              <a:ext cx="121687" cy="76054"/>
            </a:xfrm>
            <a:custGeom>
              <a:avLst/>
              <a:gdLst>
                <a:gd name="connsiteX0" fmla="*/ 940 w 121687"/>
                <a:gd name="connsiteY0" fmla="*/ 52599 h 76054"/>
                <a:gd name="connsiteX1" fmla="*/ -5542 w 121687"/>
                <a:gd name="connsiteY1" fmla="*/ 14263 h 76054"/>
                <a:gd name="connsiteX2" fmla="*/ 11463 w 121687"/>
                <a:gd name="connsiteY2" fmla="*/ 11387 h 76054"/>
                <a:gd name="connsiteX3" fmla="*/ 17946 w 121687"/>
                <a:gd name="connsiteY3" fmla="*/ 49722 h 76054"/>
                <a:gd name="connsiteX4" fmla="*/ 23015 w 121687"/>
                <a:gd name="connsiteY4" fmla="*/ 53328 h 76054"/>
                <a:gd name="connsiteX5" fmla="*/ 95234 w 121687"/>
                <a:gd name="connsiteY5" fmla="*/ 40855 h 76054"/>
                <a:gd name="connsiteX6" fmla="*/ 98835 w 121687"/>
                <a:gd name="connsiteY6" fmla="*/ 35791 h 76054"/>
                <a:gd name="connsiteX7" fmla="*/ 92353 w 121687"/>
                <a:gd name="connsiteY7" fmla="*/ -2550 h 76054"/>
                <a:gd name="connsiteX8" fmla="*/ 109358 w 121687"/>
                <a:gd name="connsiteY8" fmla="*/ -5421 h 76054"/>
                <a:gd name="connsiteX9" fmla="*/ 115840 w 121687"/>
                <a:gd name="connsiteY9" fmla="*/ 32914 h 76054"/>
                <a:gd name="connsiteX10" fmla="*/ 98111 w 121687"/>
                <a:gd name="connsiteY10" fmla="*/ 57860 h 76054"/>
                <a:gd name="connsiteX11" fmla="*/ 25886 w 121687"/>
                <a:gd name="connsiteY11" fmla="*/ 70328 h 76054"/>
                <a:gd name="connsiteX12" fmla="*/ 940 w 121687"/>
                <a:gd name="connsiteY12" fmla="*/ 52599 h 7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687" h="76054">
                  <a:moveTo>
                    <a:pt x="940" y="52599"/>
                  </a:moveTo>
                  <a:lnTo>
                    <a:pt x="-5542" y="14263"/>
                  </a:lnTo>
                  <a:lnTo>
                    <a:pt x="11463" y="11387"/>
                  </a:lnTo>
                  <a:lnTo>
                    <a:pt x="17946" y="49722"/>
                  </a:lnTo>
                  <a:cubicBezTo>
                    <a:pt x="18346" y="52107"/>
                    <a:pt x="20635" y="53728"/>
                    <a:pt x="23015" y="53328"/>
                  </a:cubicBezTo>
                  <a:lnTo>
                    <a:pt x="95234" y="40855"/>
                  </a:lnTo>
                  <a:cubicBezTo>
                    <a:pt x="97614" y="40455"/>
                    <a:pt x="99240" y="38171"/>
                    <a:pt x="98835" y="35791"/>
                  </a:cubicBezTo>
                  <a:lnTo>
                    <a:pt x="92353" y="-2550"/>
                  </a:lnTo>
                  <a:lnTo>
                    <a:pt x="109358" y="-5421"/>
                  </a:lnTo>
                  <a:lnTo>
                    <a:pt x="115840" y="32914"/>
                  </a:lnTo>
                  <a:cubicBezTo>
                    <a:pt x="117830" y="44689"/>
                    <a:pt x="109885" y="55870"/>
                    <a:pt x="98111" y="57860"/>
                  </a:cubicBezTo>
                  <a:lnTo>
                    <a:pt x="25886" y="70328"/>
                  </a:lnTo>
                  <a:cubicBezTo>
                    <a:pt x="14112" y="72318"/>
                    <a:pt x="2930" y="64373"/>
                    <a:pt x="940" y="52599"/>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1" name="Freeform: Shape 410">
              <a:extLst>
                <a:ext uri="{FF2B5EF4-FFF2-40B4-BE49-F238E27FC236}">
                  <a16:creationId xmlns:a16="http://schemas.microsoft.com/office/drawing/2014/main" id="{DD4B7F8C-6E22-2451-4C0F-C51446895EA1}"/>
                </a:ext>
              </a:extLst>
            </p:cNvPr>
            <p:cNvSpPr/>
            <p:nvPr/>
          </p:nvSpPr>
          <p:spPr>
            <a:xfrm flipV="1">
              <a:off x="5095364" y="3820953"/>
              <a:ext cx="25867" cy="13146"/>
            </a:xfrm>
            <a:custGeom>
              <a:avLst/>
              <a:gdLst>
                <a:gd name="connsiteX0" fmla="*/ 17420 w 25867"/>
                <a:gd name="connsiteY0" fmla="*/ 4348 h 13146"/>
                <a:gd name="connsiteX1" fmla="*/ -51 w 25867"/>
                <a:gd name="connsiteY1" fmla="*/ 7681 h 13146"/>
                <a:gd name="connsiteX2" fmla="*/ -4355 w 25867"/>
                <a:gd name="connsiteY2" fmla="*/ 4753 h 13146"/>
                <a:gd name="connsiteX3" fmla="*/ -5454 w 25867"/>
                <a:gd name="connsiteY3" fmla="*/ -1020 h 13146"/>
                <a:gd name="connsiteX4" fmla="*/ 19309 w 25867"/>
                <a:gd name="connsiteY4" fmla="*/ -5400 h 13146"/>
                <a:gd name="connsiteX5" fmla="*/ 20347 w 25867"/>
                <a:gd name="connsiteY5" fmla="*/ 44 h 13146"/>
                <a:gd name="connsiteX6" fmla="*/ 17420 w 25867"/>
                <a:gd name="connsiteY6" fmla="*/ 4348 h 1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67" h="13146">
                  <a:moveTo>
                    <a:pt x="17420" y="4348"/>
                  </a:moveTo>
                  <a:lnTo>
                    <a:pt x="-51" y="7681"/>
                  </a:lnTo>
                  <a:cubicBezTo>
                    <a:pt x="-2046" y="8060"/>
                    <a:pt x="-3971" y="6754"/>
                    <a:pt x="-4355" y="4753"/>
                  </a:cubicBezTo>
                  <a:lnTo>
                    <a:pt x="-5454" y="-1020"/>
                  </a:lnTo>
                  <a:lnTo>
                    <a:pt x="19309" y="-5400"/>
                  </a:lnTo>
                  <a:lnTo>
                    <a:pt x="20347" y="44"/>
                  </a:lnTo>
                  <a:cubicBezTo>
                    <a:pt x="20727" y="2039"/>
                    <a:pt x="19416" y="3968"/>
                    <a:pt x="17420" y="4348"/>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2" name="Freeform: Shape 411">
              <a:extLst>
                <a:ext uri="{FF2B5EF4-FFF2-40B4-BE49-F238E27FC236}">
                  <a16:creationId xmlns:a16="http://schemas.microsoft.com/office/drawing/2014/main" id="{B770F4D0-D976-E6AA-C73D-F9056FD077D7}"/>
                </a:ext>
              </a:extLst>
            </p:cNvPr>
            <p:cNvSpPr/>
            <p:nvPr/>
          </p:nvSpPr>
          <p:spPr>
            <a:xfrm flipV="1">
              <a:off x="5193760" y="3837675"/>
              <a:ext cx="25867" cy="13146"/>
            </a:xfrm>
            <a:custGeom>
              <a:avLst/>
              <a:gdLst>
                <a:gd name="connsiteX0" fmla="*/ 17252 w 25867"/>
                <a:gd name="connsiteY0" fmla="*/ 4386 h 13146"/>
                <a:gd name="connsiteX1" fmla="*/ -219 w 25867"/>
                <a:gd name="connsiteY1" fmla="*/ 7718 h 13146"/>
                <a:gd name="connsiteX2" fmla="*/ -4519 w 25867"/>
                <a:gd name="connsiteY2" fmla="*/ 4796 h 13146"/>
                <a:gd name="connsiteX3" fmla="*/ -5623 w 25867"/>
                <a:gd name="connsiteY3" fmla="*/ -977 h 13146"/>
                <a:gd name="connsiteX4" fmla="*/ 19136 w 25867"/>
                <a:gd name="connsiteY4" fmla="*/ -5363 h 13146"/>
                <a:gd name="connsiteX5" fmla="*/ 20179 w 25867"/>
                <a:gd name="connsiteY5" fmla="*/ 86 h 13146"/>
                <a:gd name="connsiteX6" fmla="*/ 17252 w 25867"/>
                <a:gd name="connsiteY6" fmla="*/ 4386 h 1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67" h="13146">
                  <a:moveTo>
                    <a:pt x="17252" y="4386"/>
                  </a:moveTo>
                  <a:lnTo>
                    <a:pt x="-219" y="7718"/>
                  </a:lnTo>
                  <a:cubicBezTo>
                    <a:pt x="-2215" y="8098"/>
                    <a:pt x="-4139" y="6791"/>
                    <a:pt x="-4519" y="4796"/>
                  </a:cubicBezTo>
                  <a:lnTo>
                    <a:pt x="-5623" y="-977"/>
                  </a:lnTo>
                  <a:lnTo>
                    <a:pt x="19136" y="-5363"/>
                  </a:lnTo>
                  <a:lnTo>
                    <a:pt x="20179" y="86"/>
                  </a:lnTo>
                  <a:cubicBezTo>
                    <a:pt x="20559" y="2082"/>
                    <a:pt x="19247" y="4001"/>
                    <a:pt x="17252" y="4386"/>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3" name="Freeform: Shape 412">
              <a:extLst>
                <a:ext uri="{FF2B5EF4-FFF2-40B4-BE49-F238E27FC236}">
                  <a16:creationId xmlns:a16="http://schemas.microsoft.com/office/drawing/2014/main" id="{FD910FB8-BD86-5971-F9C0-F1E1A6960112}"/>
                </a:ext>
              </a:extLst>
            </p:cNvPr>
            <p:cNvSpPr/>
            <p:nvPr/>
          </p:nvSpPr>
          <p:spPr>
            <a:xfrm flipV="1">
              <a:off x="4953134" y="3825465"/>
              <a:ext cx="352877" cy="281448"/>
            </a:xfrm>
            <a:custGeom>
              <a:avLst/>
              <a:gdLst>
                <a:gd name="connsiteX0" fmla="*/ 339132 w 352877"/>
                <a:gd name="connsiteY0" fmla="*/ 129302 h 281448"/>
                <a:gd name="connsiteX1" fmla="*/ 347387 w 352877"/>
                <a:gd name="connsiteY1" fmla="*/ 226011 h 281448"/>
                <a:gd name="connsiteX2" fmla="*/ 49682 w 352877"/>
                <a:gd name="connsiteY2" fmla="*/ 276359 h 281448"/>
                <a:gd name="connsiteX3" fmla="*/ 25678 w 352877"/>
                <a:gd name="connsiteY3" fmla="*/ 182313 h 281448"/>
                <a:gd name="connsiteX4" fmla="*/ -5148 w 352877"/>
                <a:gd name="connsiteY4" fmla="*/ 61392 h 281448"/>
                <a:gd name="connsiteX5" fmla="*/ 3674 w 352877"/>
                <a:gd name="connsiteY5" fmla="*/ 47830 h 281448"/>
                <a:gd name="connsiteX6" fmla="*/ 315691 w 352877"/>
                <a:gd name="connsiteY6" fmla="*/ -4933 h 281448"/>
                <a:gd name="connsiteX7" fmla="*/ 328478 w 352877"/>
                <a:gd name="connsiteY7" fmla="*/ 4967 h 281448"/>
                <a:gd name="connsiteX8" fmla="*/ 339132 w 352877"/>
                <a:gd name="connsiteY8" fmla="*/ 129302 h 281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877" h="281448">
                  <a:moveTo>
                    <a:pt x="339132" y="129302"/>
                  </a:moveTo>
                  <a:lnTo>
                    <a:pt x="347387" y="226011"/>
                  </a:lnTo>
                  <a:lnTo>
                    <a:pt x="49682" y="276359"/>
                  </a:lnTo>
                  <a:lnTo>
                    <a:pt x="25678" y="182313"/>
                  </a:lnTo>
                  <a:lnTo>
                    <a:pt x="-5148" y="61392"/>
                  </a:lnTo>
                  <a:cubicBezTo>
                    <a:pt x="-6733" y="55158"/>
                    <a:pt x="-2661" y="48904"/>
                    <a:pt x="3674" y="47830"/>
                  </a:cubicBezTo>
                  <a:lnTo>
                    <a:pt x="315691" y="-4933"/>
                  </a:lnTo>
                  <a:cubicBezTo>
                    <a:pt x="322026" y="-6007"/>
                    <a:pt x="327931" y="-1434"/>
                    <a:pt x="328478" y="4967"/>
                  </a:cubicBezTo>
                  <a:lnTo>
                    <a:pt x="339132" y="129302"/>
                  </a:lnTo>
                </a:path>
              </a:pathLst>
            </a:custGeom>
            <a:solidFill>
              <a:srgbClr val="4DA5C3">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4" name="Freeform: Shape 413">
              <a:extLst>
                <a:ext uri="{FF2B5EF4-FFF2-40B4-BE49-F238E27FC236}">
                  <a16:creationId xmlns:a16="http://schemas.microsoft.com/office/drawing/2014/main" id="{59B5CA09-8761-5AE0-ACB2-D0EC66F81E58}"/>
                </a:ext>
              </a:extLst>
            </p:cNvPr>
            <p:cNvSpPr/>
            <p:nvPr/>
          </p:nvSpPr>
          <p:spPr>
            <a:xfrm flipV="1">
              <a:off x="4976775" y="3813776"/>
              <a:ext cx="340513" cy="187232"/>
            </a:xfrm>
            <a:custGeom>
              <a:avLst/>
              <a:gdLst>
                <a:gd name="connsiteX0" fmla="*/ 327854 w 340513"/>
                <a:gd name="connsiteY0" fmla="*/ 36760 h 187232"/>
                <a:gd name="connsiteX1" fmla="*/ 334954 w 340513"/>
                <a:gd name="connsiteY1" fmla="*/ 119893 h 187232"/>
                <a:gd name="connsiteX2" fmla="*/ 326030 w 340513"/>
                <a:gd name="connsiteY2" fmla="*/ 131414 h 187232"/>
                <a:gd name="connsiteX3" fmla="*/ 27743 w 340513"/>
                <a:gd name="connsiteY3" fmla="*/ 181858 h 187232"/>
                <a:gd name="connsiteX4" fmla="*/ 15528 w 340513"/>
                <a:gd name="connsiteY4" fmla="*/ 173917 h 187232"/>
                <a:gd name="connsiteX5" fmla="*/ -5103 w 340513"/>
                <a:gd name="connsiteY5" fmla="*/ 93068 h 187232"/>
                <a:gd name="connsiteX6" fmla="*/ 1313 w 340513"/>
                <a:gd name="connsiteY6" fmla="*/ 78078 h 187232"/>
                <a:gd name="connsiteX7" fmla="*/ 149515 w 340513"/>
                <a:gd name="connsiteY7" fmla="*/ -5221 h 187232"/>
                <a:gd name="connsiteX8" fmla="*/ 316870 w 340513"/>
                <a:gd name="connsiteY8" fmla="*/ 24713 h 187232"/>
                <a:gd name="connsiteX9" fmla="*/ 327854 w 340513"/>
                <a:gd name="connsiteY9" fmla="*/ 36760 h 18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0513" h="187232">
                  <a:moveTo>
                    <a:pt x="327854" y="36760"/>
                  </a:moveTo>
                  <a:lnTo>
                    <a:pt x="334954" y="119893"/>
                  </a:lnTo>
                  <a:cubicBezTo>
                    <a:pt x="335430" y="125473"/>
                    <a:pt x="331550" y="130477"/>
                    <a:pt x="326030" y="131414"/>
                  </a:cubicBezTo>
                  <a:lnTo>
                    <a:pt x="27743" y="181858"/>
                  </a:lnTo>
                  <a:cubicBezTo>
                    <a:pt x="22223" y="182795"/>
                    <a:pt x="16911" y="179336"/>
                    <a:pt x="15528" y="173917"/>
                  </a:cubicBezTo>
                  <a:lnTo>
                    <a:pt x="-5103" y="93068"/>
                  </a:lnTo>
                  <a:cubicBezTo>
                    <a:pt x="-6602" y="87194"/>
                    <a:pt x="-3974" y="81051"/>
                    <a:pt x="1313" y="78078"/>
                  </a:cubicBezTo>
                  <a:lnTo>
                    <a:pt x="149515" y="-5221"/>
                  </a:lnTo>
                  <a:lnTo>
                    <a:pt x="316870" y="24713"/>
                  </a:lnTo>
                  <a:cubicBezTo>
                    <a:pt x="322835" y="25781"/>
                    <a:pt x="327342" y="30719"/>
                    <a:pt x="327854" y="36760"/>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5" name="Freeform: Shape 414">
              <a:extLst>
                <a:ext uri="{FF2B5EF4-FFF2-40B4-BE49-F238E27FC236}">
                  <a16:creationId xmlns:a16="http://schemas.microsoft.com/office/drawing/2014/main" id="{6DCC972B-0DEB-F74D-9A2C-2261706E51A6}"/>
                </a:ext>
              </a:extLst>
            </p:cNvPr>
            <p:cNvSpPr/>
            <p:nvPr/>
          </p:nvSpPr>
          <p:spPr>
            <a:xfrm flipV="1">
              <a:off x="5110946" y="3973581"/>
              <a:ext cx="47248" cy="40123"/>
            </a:xfrm>
            <a:custGeom>
              <a:avLst/>
              <a:gdLst>
                <a:gd name="connsiteX0" fmla="*/ 41749 w 47248"/>
                <a:gd name="connsiteY0" fmla="*/ 27640 h 40123"/>
                <a:gd name="connsiteX1" fmla="*/ 39136 w 47248"/>
                <a:gd name="connsiteY1" fmla="*/ 11972 h 40123"/>
                <a:gd name="connsiteX2" fmla="*/ 25721 w 47248"/>
                <a:gd name="connsiteY2" fmla="*/ -5028 h 40123"/>
                <a:gd name="connsiteX3" fmla="*/ 1661 w 47248"/>
                <a:gd name="connsiteY3" fmla="*/ -1008 h 40123"/>
                <a:gd name="connsiteX4" fmla="*/ -5499 w 47248"/>
                <a:gd name="connsiteY4" fmla="*/ 19421 h 40123"/>
                <a:gd name="connsiteX5" fmla="*/ -2886 w 47248"/>
                <a:gd name="connsiteY5" fmla="*/ 35095 h 40123"/>
                <a:gd name="connsiteX6" fmla="*/ 41749 w 47248"/>
                <a:gd name="connsiteY6" fmla="*/ 27640 h 40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48" h="40123">
                  <a:moveTo>
                    <a:pt x="41749" y="27640"/>
                  </a:moveTo>
                  <a:lnTo>
                    <a:pt x="39136" y="11972"/>
                  </a:lnTo>
                  <a:cubicBezTo>
                    <a:pt x="39136" y="11972"/>
                    <a:pt x="27104" y="10453"/>
                    <a:pt x="25721" y="-5028"/>
                  </a:cubicBezTo>
                  <a:lnTo>
                    <a:pt x="1661" y="-1008"/>
                  </a:lnTo>
                  <a:cubicBezTo>
                    <a:pt x="5389" y="14079"/>
                    <a:pt x="-5499" y="19421"/>
                    <a:pt x="-5499" y="19421"/>
                  </a:cubicBezTo>
                  <a:lnTo>
                    <a:pt x="-2886" y="35095"/>
                  </a:lnTo>
                  <a:lnTo>
                    <a:pt x="41749" y="27640"/>
                  </a:ln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6" name="Freeform: Shape 415">
              <a:extLst>
                <a:ext uri="{FF2B5EF4-FFF2-40B4-BE49-F238E27FC236}">
                  <a16:creationId xmlns:a16="http://schemas.microsoft.com/office/drawing/2014/main" id="{15E39918-37CE-8AB2-9026-50B339782273}"/>
                </a:ext>
              </a:extLst>
            </p:cNvPr>
            <p:cNvSpPr/>
            <p:nvPr/>
          </p:nvSpPr>
          <p:spPr>
            <a:xfrm flipV="1">
              <a:off x="5106164" y="3999150"/>
              <a:ext cx="47766" cy="34574"/>
            </a:xfrm>
            <a:custGeom>
              <a:avLst/>
              <a:gdLst>
                <a:gd name="connsiteX0" fmla="*/ -2365 w 47766"/>
                <a:gd name="connsiteY0" fmla="*/ 29597 h 34574"/>
                <a:gd name="connsiteX1" fmla="*/ -5338 w 47766"/>
                <a:gd name="connsiteY1" fmla="*/ 11802 h 34574"/>
                <a:gd name="connsiteX2" fmla="*/ 3828 w 47766"/>
                <a:gd name="connsiteY2" fmla="*/ -1041 h 34574"/>
                <a:gd name="connsiteX3" fmla="*/ 26460 w 47766"/>
                <a:gd name="connsiteY3" fmla="*/ -4824 h 34574"/>
                <a:gd name="connsiteX4" fmla="*/ 39302 w 47766"/>
                <a:gd name="connsiteY4" fmla="*/ 4342 h 34574"/>
                <a:gd name="connsiteX5" fmla="*/ 42275 w 47766"/>
                <a:gd name="connsiteY5" fmla="*/ 22143 h 34574"/>
                <a:gd name="connsiteX6" fmla="*/ -2365 w 47766"/>
                <a:gd name="connsiteY6" fmla="*/ 29597 h 34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66" h="34574">
                  <a:moveTo>
                    <a:pt x="-2365" y="29597"/>
                  </a:moveTo>
                  <a:lnTo>
                    <a:pt x="-5338" y="11802"/>
                  </a:lnTo>
                  <a:cubicBezTo>
                    <a:pt x="-6351" y="5720"/>
                    <a:pt x="-2249" y="-28"/>
                    <a:pt x="3828" y="-1041"/>
                  </a:cubicBezTo>
                  <a:lnTo>
                    <a:pt x="26460" y="-4824"/>
                  </a:lnTo>
                  <a:cubicBezTo>
                    <a:pt x="32537" y="-5837"/>
                    <a:pt x="38290" y="-1735"/>
                    <a:pt x="39302" y="4342"/>
                  </a:cubicBezTo>
                  <a:lnTo>
                    <a:pt x="42275" y="22143"/>
                  </a:lnTo>
                  <a:lnTo>
                    <a:pt x="-2365" y="29597"/>
                  </a:ln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7" name="Freeform: Shape 416">
              <a:extLst>
                <a:ext uri="{FF2B5EF4-FFF2-40B4-BE49-F238E27FC236}">
                  <a16:creationId xmlns:a16="http://schemas.microsoft.com/office/drawing/2014/main" id="{C8C4A20D-CC5E-B1E3-88E3-D44D0FA0D418}"/>
                </a:ext>
              </a:extLst>
            </p:cNvPr>
            <p:cNvSpPr/>
            <p:nvPr/>
          </p:nvSpPr>
          <p:spPr>
            <a:xfrm flipV="1">
              <a:off x="5131322" y="3731785"/>
              <a:ext cx="71237" cy="92774"/>
            </a:xfrm>
            <a:custGeom>
              <a:avLst/>
              <a:gdLst>
                <a:gd name="connsiteX0" fmla="*/ 64622 w 71237"/>
                <a:gd name="connsiteY0" fmla="*/ 26652 h 92774"/>
                <a:gd name="connsiteX1" fmla="*/ 53658 w 71237"/>
                <a:gd name="connsiteY1" fmla="*/ 27128 h 92774"/>
                <a:gd name="connsiteX2" fmla="*/ 54645 w 71237"/>
                <a:gd name="connsiteY2" fmla="*/ 10543 h 92774"/>
                <a:gd name="connsiteX3" fmla="*/ 37265 w 71237"/>
                <a:gd name="connsiteY3" fmla="*/ 1114 h 92774"/>
                <a:gd name="connsiteX4" fmla="*/ 30150 w 71237"/>
                <a:gd name="connsiteY4" fmla="*/ 3939 h 92774"/>
                <a:gd name="connsiteX5" fmla="*/ 16456 w 71237"/>
                <a:gd name="connsiteY5" fmla="*/ 7029 h 92774"/>
                <a:gd name="connsiteX6" fmla="*/ 7701 w 71237"/>
                <a:gd name="connsiteY6" fmla="*/ 9095 h 92774"/>
                <a:gd name="connsiteX7" fmla="*/ 9503 w 71237"/>
                <a:gd name="connsiteY7" fmla="*/ 85401 h 92774"/>
                <a:gd name="connsiteX8" fmla="*/ 47140 w 71237"/>
                <a:gd name="connsiteY8" fmla="*/ 80388 h 92774"/>
                <a:gd name="connsiteX9" fmla="*/ 64622 w 71237"/>
                <a:gd name="connsiteY9" fmla="*/ 26652 h 9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37" h="92774">
                  <a:moveTo>
                    <a:pt x="64622" y="26652"/>
                  </a:moveTo>
                  <a:cubicBezTo>
                    <a:pt x="64196" y="26348"/>
                    <a:pt x="65275" y="26449"/>
                    <a:pt x="53658" y="27128"/>
                  </a:cubicBezTo>
                  <a:cubicBezTo>
                    <a:pt x="50675" y="20327"/>
                    <a:pt x="53845" y="16073"/>
                    <a:pt x="54645" y="10543"/>
                  </a:cubicBezTo>
                  <a:cubicBezTo>
                    <a:pt x="52564" y="-7870"/>
                    <a:pt x="45140" y="-9627"/>
                    <a:pt x="37265" y="1114"/>
                  </a:cubicBezTo>
                  <a:cubicBezTo>
                    <a:pt x="35614" y="3352"/>
                    <a:pt x="32864" y="4486"/>
                    <a:pt x="30150" y="3939"/>
                  </a:cubicBezTo>
                  <a:cubicBezTo>
                    <a:pt x="22103" y="2329"/>
                    <a:pt x="25440" y="10376"/>
                    <a:pt x="16456" y="7029"/>
                  </a:cubicBezTo>
                  <a:cubicBezTo>
                    <a:pt x="13413" y="5899"/>
                    <a:pt x="9914" y="6730"/>
                    <a:pt x="7701" y="9095"/>
                  </a:cubicBezTo>
                  <a:cubicBezTo>
                    <a:pt x="2095" y="14923"/>
                    <a:pt x="-20091" y="-6711"/>
                    <a:pt x="9503" y="85401"/>
                  </a:cubicBezTo>
                  <a:cubicBezTo>
                    <a:pt x="22073" y="89883"/>
                    <a:pt x="34774" y="85507"/>
                    <a:pt x="47140" y="80388"/>
                  </a:cubicBezTo>
                  <a:cubicBezTo>
                    <a:pt x="52701" y="62121"/>
                    <a:pt x="70126" y="36937"/>
                    <a:pt x="64622" y="26652"/>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8" name="Freeform: Shape 417">
              <a:extLst>
                <a:ext uri="{FF2B5EF4-FFF2-40B4-BE49-F238E27FC236}">
                  <a16:creationId xmlns:a16="http://schemas.microsoft.com/office/drawing/2014/main" id="{B8A1C1A2-E597-F644-9465-AA3329FD561B}"/>
                </a:ext>
              </a:extLst>
            </p:cNvPr>
            <p:cNvSpPr/>
            <p:nvPr/>
          </p:nvSpPr>
          <p:spPr>
            <a:xfrm flipV="1">
              <a:off x="5139118" y="3317673"/>
              <a:ext cx="917323" cy="451168"/>
            </a:xfrm>
            <a:custGeom>
              <a:avLst/>
              <a:gdLst>
                <a:gd name="connsiteX0" fmla="*/ 910220 w 917323"/>
                <a:gd name="connsiteY0" fmla="*/ 385227 h 451168"/>
                <a:gd name="connsiteX1" fmla="*/ 675163 w 917323"/>
                <a:gd name="connsiteY1" fmla="*/ 299349 h 451168"/>
                <a:gd name="connsiteX2" fmla="*/ 623215 w 917323"/>
                <a:gd name="connsiteY2" fmla="*/ 295683 h 451168"/>
                <a:gd name="connsiteX3" fmla="*/ 490287 w 917323"/>
                <a:gd name="connsiteY3" fmla="*/ 322867 h 451168"/>
                <a:gd name="connsiteX4" fmla="*/ 505773 w 917323"/>
                <a:gd name="connsiteY4" fmla="*/ 233921 h 451168"/>
                <a:gd name="connsiteX5" fmla="*/ 514549 w 917323"/>
                <a:gd name="connsiteY5" fmla="*/ 95412 h 451168"/>
                <a:gd name="connsiteX6" fmla="*/ 514655 w 917323"/>
                <a:gd name="connsiteY6" fmla="*/ 95630 h 451168"/>
                <a:gd name="connsiteX7" fmla="*/ 517066 w 917323"/>
                <a:gd name="connsiteY7" fmla="*/ 66749 h 451168"/>
                <a:gd name="connsiteX8" fmla="*/ 521239 w 917323"/>
                <a:gd name="connsiteY8" fmla="*/ 45338 h 451168"/>
                <a:gd name="connsiteX9" fmla="*/ 510715 w 917323"/>
                <a:gd name="connsiteY9" fmla="*/ 7250 h 451168"/>
                <a:gd name="connsiteX10" fmla="*/ 511379 w 917323"/>
                <a:gd name="connsiteY10" fmla="*/ -3055 h 451168"/>
                <a:gd name="connsiteX11" fmla="*/ 407681 w 917323"/>
                <a:gd name="connsiteY11" fmla="*/ -4711 h 451168"/>
                <a:gd name="connsiteX12" fmla="*/ 301607 w 917323"/>
                <a:gd name="connsiteY12" fmla="*/ 10633 h 451168"/>
                <a:gd name="connsiteX13" fmla="*/ 302949 w 917323"/>
                <a:gd name="connsiteY13" fmla="*/ 24089 h 451168"/>
                <a:gd name="connsiteX14" fmla="*/ 300407 w 917323"/>
                <a:gd name="connsiteY14" fmla="*/ 27664 h 451168"/>
                <a:gd name="connsiteX15" fmla="*/ 290031 w 917323"/>
                <a:gd name="connsiteY15" fmla="*/ 55228 h 451168"/>
                <a:gd name="connsiteX16" fmla="*/ 295490 w 917323"/>
                <a:gd name="connsiteY16" fmla="*/ 80543 h 451168"/>
                <a:gd name="connsiteX17" fmla="*/ 295535 w 917323"/>
                <a:gd name="connsiteY17" fmla="*/ 80918 h 451168"/>
                <a:gd name="connsiteX18" fmla="*/ 247320 w 917323"/>
                <a:gd name="connsiteY18" fmla="*/ 292199 h 451168"/>
                <a:gd name="connsiteX19" fmla="*/ 97984 w 917323"/>
                <a:gd name="connsiteY19" fmla="*/ 236063 h 451168"/>
                <a:gd name="connsiteX20" fmla="*/ 50588 w 917323"/>
                <a:gd name="connsiteY20" fmla="*/ 19997 h 451168"/>
                <a:gd name="connsiteX21" fmla="*/ -6292 w 917323"/>
                <a:gd name="connsiteY21" fmla="*/ 28570 h 451168"/>
                <a:gd name="connsiteX22" fmla="*/ 28595 w 917323"/>
                <a:gd name="connsiteY22" fmla="*/ 260386 h 451168"/>
                <a:gd name="connsiteX23" fmla="*/ 77803 w 917323"/>
                <a:gd name="connsiteY23" fmla="*/ 322118 h 451168"/>
                <a:gd name="connsiteX24" fmla="*/ 228390 w 917323"/>
                <a:gd name="connsiteY24" fmla="*/ 402880 h 451168"/>
                <a:gd name="connsiteX25" fmla="*/ 229069 w 917323"/>
                <a:gd name="connsiteY25" fmla="*/ 403270 h 451168"/>
                <a:gd name="connsiteX26" fmla="*/ 412497 w 917323"/>
                <a:gd name="connsiteY26" fmla="*/ 444528 h 451168"/>
                <a:gd name="connsiteX27" fmla="*/ 474168 w 917323"/>
                <a:gd name="connsiteY27" fmla="*/ 439276 h 451168"/>
                <a:gd name="connsiteX28" fmla="*/ 654628 w 917323"/>
                <a:gd name="connsiteY28" fmla="*/ 384645 h 451168"/>
                <a:gd name="connsiteX29" fmla="*/ 892181 w 917323"/>
                <a:gd name="connsiteY29" fmla="*/ 439033 h 451168"/>
                <a:gd name="connsiteX30" fmla="*/ 910220 w 917323"/>
                <a:gd name="connsiteY30" fmla="*/ 385227 h 4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7323" h="451168">
                  <a:moveTo>
                    <a:pt x="910220" y="385227"/>
                  </a:moveTo>
                  <a:lnTo>
                    <a:pt x="675163" y="299349"/>
                  </a:lnTo>
                  <a:cubicBezTo>
                    <a:pt x="658391" y="293824"/>
                    <a:pt x="640560" y="292609"/>
                    <a:pt x="623215" y="295683"/>
                  </a:cubicBezTo>
                  <a:lnTo>
                    <a:pt x="490287" y="322867"/>
                  </a:lnTo>
                  <a:cubicBezTo>
                    <a:pt x="499772" y="294371"/>
                    <a:pt x="505013" y="264437"/>
                    <a:pt x="505773" y="233921"/>
                  </a:cubicBezTo>
                  <a:lnTo>
                    <a:pt x="514549" y="95412"/>
                  </a:lnTo>
                  <a:lnTo>
                    <a:pt x="514655" y="95630"/>
                  </a:lnTo>
                  <a:cubicBezTo>
                    <a:pt x="514893" y="86418"/>
                    <a:pt x="516038" y="75261"/>
                    <a:pt x="517066" y="66749"/>
                  </a:cubicBezTo>
                  <a:cubicBezTo>
                    <a:pt x="517942" y="59517"/>
                    <a:pt x="519487" y="52412"/>
                    <a:pt x="521239" y="45338"/>
                  </a:cubicBezTo>
                  <a:cubicBezTo>
                    <a:pt x="529463" y="12066"/>
                    <a:pt x="510715" y="7250"/>
                    <a:pt x="510715" y="7250"/>
                  </a:cubicBezTo>
                  <a:lnTo>
                    <a:pt x="511379" y="-3055"/>
                  </a:lnTo>
                  <a:cubicBezTo>
                    <a:pt x="478568" y="-6276"/>
                    <a:pt x="443666" y="-6980"/>
                    <a:pt x="407681" y="-4711"/>
                  </a:cubicBezTo>
                  <a:cubicBezTo>
                    <a:pt x="370409" y="-2372"/>
                    <a:pt x="334671" y="2951"/>
                    <a:pt x="301607" y="10633"/>
                  </a:cubicBezTo>
                  <a:cubicBezTo>
                    <a:pt x="302089" y="15135"/>
                    <a:pt x="302514" y="19637"/>
                    <a:pt x="302949" y="24089"/>
                  </a:cubicBezTo>
                  <a:lnTo>
                    <a:pt x="300407" y="27664"/>
                  </a:lnTo>
                  <a:cubicBezTo>
                    <a:pt x="294766" y="35766"/>
                    <a:pt x="287580" y="45763"/>
                    <a:pt x="290031" y="55228"/>
                  </a:cubicBezTo>
                  <a:cubicBezTo>
                    <a:pt x="291753" y="61791"/>
                    <a:pt x="293748" y="70395"/>
                    <a:pt x="295490" y="80543"/>
                  </a:cubicBezTo>
                  <a:lnTo>
                    <a:pt x="295535" y="80918"/>
                  </a:lnTo>
                  <a:cubicBezTo>
                    <a:pt x="296305" y="87031"/>
                    <a:pt x="310510" y="168269"/>
                    <a:pt x="247320" y="292199"/>
                  </a:cubicBezTo>
                  <a:lnTo>
                    <a:pt x="97984" y="236063"/>
                  </a:lnTo>
                  <a:lnTo>
                    <a:pt x="50588" y="19997"/>
                  </a:lnTo>
                  <a:cubicBezTo>
                    <a:pt x="18213" y="14274"/>
                    <a:pt x="-6292" y="28570"/>
                    <a:pt x="-6292" y="28570"/>
                  </a:cubicBezTo>
                  <a:lnTo>
                    <a:pt x="28595" y="260386"/>
                  </a:lnTo>
                  <a:cubicBezTo>
                    <a:pt x="33198" y="288087"/>
                    <a:pt x="51849" y="311407"/>
                    <a:pt x="77803" y="322118"/>
                  </a:cubicBezTo>
                  <a:lnTo>
                    <a:pt x="228390" y="402880"/>
                  </a:lnTo>
                  <a:lnTo>
                    <a:pt x="229069" y="403270"/>
                  </a:lnTo>
                  <a:cubicBezTo>
                    <a:pt x="277051" y="428019"/>
                    <a:pt x="370915" y="441110"/>
                    <a:pt x="412497" y="444528"/>
                  </a:cubicBezTo>
                  <a:cubicBezTo>
                    <a:pt x="433204" y="446189"/>
                    <a:pt x="453992" y="444422"/>
                    <a:pt x="474168" y="439276"/>
                  </a:cubicBezTo>
                  <a:lnTo>
                    <a:pt x="654628" y="384645"/>
                  </a:lnTo>
                  <a:lnTo>
                    <a:pt x="892181" y="439033"/>
                  </a:lnTo>
                  <a:cubicBezTo>
                    <a:pt x="892181" y="439033"/>
                    <a:pt x="915633" y="414710"/>
                    <a:pt x="910220" y="385227"/>
                  </a:cubicBezTo>
                </a:path>
              </a:pathLst>
            </a:custGeom>
            <a:solidFill>
              <a:srgbClr val="4DA5C3">
                <a:lumMod val="20000"/>
                <a:lumOff val="8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9" name="Freeform: Shape 418">
              <a:extLst>
                <a:ext uri="{FF2B5EF4-FFF2-40B4-BE49-F238E27FC236}">
                  <a16:creationId xmlns:a16="http://schemas.microsoft.com/office/drawing/2014/main" id="{F5B06556-543A-20FA-9ED1-B0ECC0081B06}"/>
                </a:ext>
              </a:extLst>
            </p:cNvPr>
            <p:cNvSpPr/>
            <p:nvPr/>
          </p:nvSpPr>
          <p:spPr>
            <a:xfrm flipV="1">
              <a:off x="5608115" y="3395182"/>
              <a:ext cx="32373" cy="52058"/>
            </a:xfrm>
            <a:custGeom>
              <a:avLst/>
              <a:gdLst>
                <a:gd name="connsiteX0" fmla="*/ 872 w 32373"/>
                <a:gd name="connsiteY0" fmla="*/ 44156 h 52058"/>
                <a:gd name="connsiteX1" fmla="*/ -4739 w 32373"/>
                <a:gd name="connsiteY1" fmla="*/ 44946 h 52058"/>
                <a:gd name="connsiteX2" fmla="*/ -5529 w 32373"/>
                <a:gd name="connsiteY2" fmla="*/ 39330 h 52058"/>
                <a:gd name="connsiteX3" fmla="*/ 18080 w 32373"/>
                <a:gd name="connsiteY3" fmla="*/ -3017 h 52058"/>
                <a:gd name="connsiteX4" fmla="*/ 22111 w 32373"/>
                <a:gd name="connsiteY4" fmla="*/ -6308 h 52058"/>
                <a:gd name="connsiteX5" fmla="*/ 22719 w 32373"/>
                <a:gd name="connsiteY5" fmla="*/ -6248 h 52058"/>
                <a:gd name="connsiteX6" fmla="*/ 25975 w 32373"/>
                <a:gd name="connsiteY6" fmla="*/ -1609 h 52058"/>
                <a:gd name="connsiteX7" fmla="*/ 872 w 32373"/>
                <a:gd name="connsiteY7" fmla="*/ 44156 h 5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73" h="52058">
                  <a:moveTo>
                    <a:pt x="872" y="44156"/>
                  </a:moveTo>
                  <a:cubicBezTo>
                    <a:pt x="-465" y="45928"/>
                    <a:pt x="-2977" y="46267"/>
                    <a:pt x="-4739" y="44946"/>
                  </a:cubicBezTo>
                  <a:cubicBezTo>
                    <a:pt x="-6512" y="43609"/>
                    <a:pt x="-6861" y="41097"/>
                    <a:pt x="-5529" y="39330"/>
                  </a:cubicBezTo>
                  <a:cubicBezTo>
                    <a:pt x="15041" y="12069"/>
                    <a:pt x="18044" y="-2814"/>
                    <a:pt x="18080" y="-3017"/>
                  </a:cubicBezTo>
                  <a:cubicBezTo>
                    <a:pt x="18439" y="-4987"/>
                    <a:pt x="20171" y="-6354"/>
                    <a:pt x="22111" y="-6308"/>
                  </a:cubicBezTo>
                  <a:lnTo>
                    <a:pt x="22719" y="-6248"/>
                  </a:lnTo>
                  <a:cubicBezTo>
                    <a:pt x="24901" y="-5868"/>
                    <a:pt x="26360" y="-3786"/>
                    <a:pt x="25975" y="-1609"/>
                  </a:cubicBezTo>
                  <a:cubicBezTo>
                    <a:pt x="25863" y="-940"/>
                    <a:pt x="22860" y="15017"/>
                    <a:pt x="872" y="44156"/>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0" name="Freeform: Shape 419">
              <a:extLst>
                <a:ext uri="{FF2B5EF4-FFF2-40B4-BE49-F238E27FC236}">
                  <a16:creationId xmlns:a16="http://schemas.microsoft.com/office/drawing/2014/main" id="{BD987F62-D6B4-508B-C2BB-93B7049B5B5E}"/>
                </a:ext>
              </a:extLst>
            </p:cNvPr>
            <p:cNvSpPr/>
            <p:nvPr/>
          </p:nvSpPr>
          <p:spPr>
            <a:xfrm flipV="1">
              <a:off x="5388684" y="3456227"/>
              <a:ext cx="35579" cy="18380"/>
            </a:xfrm>
            <a:custGeom>
              <a:avLst/>
              <a:gdLst>
                <a:gd name="connsiteX0" fmla="*/ 24192 w 35579"/>
                <a:gd name="connsiteY0" fmla="*/ 11915 h 18380"/>
                <a:gd name="connsiteX1" fmla="*/ -3362 w 35579"/>
                <a:gd name="connsiteY1" fmla="*/ 1554 h 18380"/>
                <a:gd name="connsiteX2" fmla="*/ -5707 w 35579"/>
                <a:gd name="connsiteY2" fmla="*/ -3612 h 18380"/>
                <a:gd name="connsiteX3" fmla="*/ -1858 w 35579"/>
                <a:gd name="connsiteY3" fmla="*/ -6210 h 18380"/>
                <a:gd name="connsiteX4" fmla="*/ -546 w 35579"/>
                <a:gd name="connsiteY4" fmla="*/ -5951 h 18380"/>
                <a:gd name="connsiteX5" fmla="*/ 27013 w 35579"/>
                <a:gd name="connsiteY5" fmla="*/ 4410 h 18380"/>
                <a:gd name="connsiteX6" fmla="*/ 29357 w 35579"/>
                <a:gd name="connsiteY6" fmla="*/ 9575 h 18380"/>
                <a:gd name="connsiteX7" fmla="*/ 24192 w 35579"/>
                <a:gd name="connsiteY7" fmla="*/ 11915 h 18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9" h="18380">
                  <a:moveTo>
                    <a:pt x="24192" y="11915"/>
                  </a:moveTo>
                  <a:lnTo>
                    <a:pt x="-3362" y="1554"/>
                  </a:lnTo>
                  <a:cubicBezTo>
                    <a:pt x="-5438" y="774"/>
                    <a:pt x="-6487" y="-1535"/>
                    <a:pt x="-5707" y="-3612"/>
                  </a:cubicBezTo>
                  <a:cubicBezTo>
                    <a:pt x="-5089" y="-5248"/>
                    <a:pt x="-3519" y="-6245"/>
                    <a:pt x="-1858" y="-6210"/>
                  </a:cubicBezTo>
                  <a:lnTo>
                    <a:pt x="-546" y="-5951"/>
                  </a:lnTo>
                  <a:lnTo>
                    <a:pt x="27013" y="4410"/>
                  </a:lnTo>
                  <a:cubicBezTo>
                    <a:pt x="29089" y="5190"/>
                    <a:pt x="30137" y="7499"/>
                    <a:pt x="29357" y="9575"/>
                  </a:cubicBezTo>
                  <a:cubicBezTo>
                    <a:pt x="28572" y="11641"/>
                    <a:pt x="26268" y="12690"/>
                    <a:pt x="24192" y="11915"/>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1" name="Freeform: Shape 420">
              <a:extLst>
                <a:ext uri="{FF2B5EF4-FFF2-40B4-BE49-F238E27FC236}">
                  <a16:creationId xmlns:a16="http://schemas.microsoft.com/office/drawing/2014/main" id="{198D78E4-CC0C-BDE9-5522-1D9AA5C64C8D}"/>
                </a:ext>
              </a:extLst>
            </p:cNvPr>
            <p:cNvSpPr/>
            <p:nvPr/>
          </p:nvSpPr>
          <p:spPr>
            <a:xfrm flipV="1">
              <a:off x="5440836" y="3250509"/>
              <a:ext cx="90085" cy="72834"/>
            </a:xfrm>
            <a:custGeom>
              <a:avLst/>
              <a:gdLst>
                <a:gd name="connsiteX0" fmla="*/ -1332 w 90085"/>
                <a:gd name="connsiteY0" fmla="*/ -3103 h 72834"/>
                <a:gd name="connsiteX1" fmla="*/ -5930 w 90085"/>
                <a:gd name="connsiteY1" fmla="*/ -2460 h 72834"/>
                <a:gd name="connsiteX2" fmla="*/ -5793 w 90085"/>
                <a:gd name="connsiteY2" fmla="*/ 22668 h 72834"/>
                <a:gd name="connsiteX3" fmla="*/ -5803 w 90085"/>
                <a:gd name="connsiteY3" fmla="*/ 22749 h 72834"/>
                <a:gd name="connsiteX4" fmla="*/ 60734 w 90085"/>
                <a:gd name="connsiteY4" fmla="*/ 43851 h 72834"/>
                <a:gd name="connsiteX5" fmla="*/ 61165 w 90085"/>
                <a:gd name="connsiteY5" fmla="*/ 42216 h 72834"/>
                <a:gd name="connsiteX6" fmla="*/ 83948 w 90085"/>
                <a:gd name="connsiteY6" fmla="*/ -5721 h 72834"/>
                <a:gd name="connsiteX7" fmla="*/ -1332 w 90085"/>
                <a:gd name="connsiteY7" fmla="*/ -3103 h 72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085" h="72834">
                  <a:moveTo>
                    <a:pt x="-1332" y="-3103"/>
                  </a:moveTo>
                  <a:lnTo>
                    <a:pt x="-5930" y="-2460"/>
                  </a:lnTo>
                  <a:lnTo>
                    <a:pt x="-5793" y="22668"/>
                  </a:lnTo>
                  <a:lnTo>
                    <a:pt x="-5803" y="22749"/>
                  </a:lnTo>
                  <a:cubicBezTo>
                    <a:pt x="-11278" y="106191"/>
                    <a:pt x="60734" y="43851"/>
                    <a:pt x="60734" y="43851"/>
                  </a:cubicBezTo>
                  <a:cubicBezTo>
                    <a:pt x="60876" y="43305"/>
                    <a:pt x="61023" y="42763"/>
                    <a:pt x="61165" y="42216"/>
                  </a:cubicBezTo>
                  <a:cubicBezTo>
                    <a:pt x="66659" y="23068"/>
                    <a:pt x="75476" y="6772"/>
                    <a:pt x="83948" y="-5721"/>
                  </a:cubicBezTo>
                  <a:cubicBezTo>
                    <a:pt x="86030" y="-8739"/>
                    <a:pt x="-1332" y="-3103"/>
                    <a:pt x="-1332" y="-3103"/>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2" name="Freeform: Shape 421">
              <a:extLst>
                <a:ext uri="{FF2B5EF4-FFF2-40B4-BE49-F238E27FC236}">
                  <a16:creationId xmlns:a16="http://schemas.microsoft.com/office/drawing/2014/main" id="{C204BF09-E1EC-5F4B-2AE3-401AE10E8F16}"/>
                </a:ext>
              </a:extLst>
            </p:cNvPr>
            <p:cNvSpPr/>
            <p:nvPr/>
          </p:nvSpPr>
          <p:spPr>
            <a:xfrm flipV="1">
              <a:off x="5471335" y="3274498"/>
              <a:ext cx="59554" cy="47972"/>
            </a:xfrm>
            <a:custGeom>
              <a:avLst/>
              <a:gdLst>
                <a:gd name="connsiteX0" fmla="*/ -6127 w 59554"/>
                <a:gd name="connsiteY0" fmla="*/ 32470 h 47972"/>
                <a:gd name="connsiteX1" fmla="*/ 53428 w 59554"/>
                <a:gd name="connsiteY1" fmla="*/ -6584 h 47972"/>
                <a:gd name="connsiteX2" fmla="*/ 30649 w 59554"/>
                <a:gd name="connsiteY2" fmla="*/ 41388 h 47972"/>
                <a:gd name="connsiteX3" fmla="*/ -6127 w 59554"/>
                <a:gd name="connsiteY3" fmla="*/ 32470 h 47972"/>
              </a:gdLst>
              <a:ahLst/>
              <a:cxnLst>
                <a:cxn ang="0">
                  <a:pos x="connsiteX0" y="connsiteY0"/>
                </a:cxn>
                <a:cxn ang="0">
                  <a:pos x="connsiteX1" y="connsiteY1"/>
                </a:cxn>
                <a:cxn ang="0">
                  <a:pos x="connsiteX2" y="connsiteY2"/>
                </a:cxn>
                <a:cxn ang="0">
                  <a:pos x="connsiteX3" y="connsiteY3"/>
                </a:cxn>
              </a:cxnLst>
              <a:rect l="l" t="t" r="r" b="b"/>
              <a:pathLst>
                <a:path w="59554" h="47972">
                  <a:moveTo>
                    <a:pt x="-6127" y="32470"/>
                  </a:moveTo>
                  <a:lnTo>
                    <a:pt x="53428" y="-6584"/>
                  </a:lnTo>
                  <a:cubicBezTo>
                    <a:pt x="44966" y="5929"/>
                    <a:pt x="36124" y="22205"/>
                    <a:pt x="30649" y="41388"/>
                  </a:cubicBezTo>
                  <a:lnTo>
                    <a:pt x="-6127" y="32470"/>
                  </a:ln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3" name="Freeform: Shape 422">
              <a:extLst>
                <a:ext uri="{FF2B5EF4-FFF2-40B4-BE49-F238E27FC236}">
                  <a16:creationId xmlns:a16="http://schemas.microsoft.com/office/drawing/2014/main" id="{4911CDFE-F2D4-5DDB-336B-F17F44F986DC}"/>
                </a:ext>
              </a:extLst>
            </p:cNvPr>
            <p:cNvSpPr/>
            <p:nvPr/>
          </p:nvSpPr>
          <p:spPr>
            <a:xfrm flipV="1">
              <a:off x="5395105" y="3144430"/>
              <a:ext cx="159030" cy="146358"/>
            </a:xfrm>
            <a:custGeom>
              <a:avLst/>
              <a:gdLst>
                <a:gd name="connsiteX0" fmla="*/ 141290 w 159030"/>
                <a:gd name="connsiteY0" fmla="*/ 6655 h 146358"/>
                <a:gd name="connsiteX1" fmla="*/ 139472 w 159030"/>
                <a:gd name="connsiteY1" fmla="*/ 5040 h 146358"/>
                <a:gd name="connsiteX2" fmla="*/ 114607 w 159030"/>
                <a:gd name="connsiteY2" fmla="*/ -5636 h 146358"/>
                <a:gd name="connsiteX3" fmla="*/ 68959 w 159030"/>
                <a:gd name="connsiteY3" fmla="*/ 168 h 146358"/>
                <a:gd name="connsiteX4" fmla="*/ 64801 w 159030"/>
                <a:gd name="connsiteY4" fmla="*/ 4082 h 146358"/>
                <a:gd name="connsiteX5" fmla="*/ 43436 w 159030"/>
                <a:gd name="connsiteY5" fmla="*/ 19108 h 146358"/>
                <a:gd name="connsiteX6" fmla="*/ -6081 w 159030"/>
                <a:gd name="connsiteY6" fmla="*/ 82116 h 146358"/>
                <a:gd name="connsiteX7" fmla="*/ 56917 w 159030"/>
                <a:gd name="connsiteY7" fmla="*/ 120249 h 146358"/>
                <a:gd name="connsiteX8" fmla="*/ 89965 w 159030"/>
                <a:gd name="connsiteY8" fmla="*/ 139594 h 146358"/>
                <a:gd name="connsiteX9" fmla="*/ 101334 w 159030"/>
                <a:gd name="connsiteY9" fmla="*/ 130265 h 146358"/>
                <a:gd name="connsiteX10" fmla="*/ 110693 w 159030"/>
                <a:gd name="connsiteY10" fmla="*/ 117737 h 146358"/>
                <a:gd name="connsiteX11" fmla="*/ 122659 w 159030"/>
                <a:gd name="connsiteY11" fmla="*/ 87230 h 146358"/>
                <a:gd name="connsiteX12" fmla="*/ 122644 w 159030"/>
                <a:gd name="connsiteY12" fmla="*/ 87175 h 146358"/>
                <a:gd name="connsiteX13" fmla="*/ 122694 w 159030"/>
                <a:gd name="connsiteY13" fmla="*/ 87165 h 146358"/>
                <a:gd name="connsiteX14" fmla="*/ 147696 w 159030"/>
                <a:gd name="connsiteY14" fmla="*/ 65698 h 146358"/>
                <a:gd name="connsiteX15" fmla="*/ 148061 w 159030"/>
                <a:gd name="connsiteY15" fmla="*/ 60071 h 146358"/>
                <a:gd name="connsiteX16" fmla="*/ 141346 w 159030"/>
                <a:gd name="connsiteY16" fmla="*/ 53959 h 146358"/>
                <a:gd name="connsiteX17" fmla="*/ 141290 w 159030"/>
                <a:gd name="connsiteY17" fmla="*/ 6655 h 146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9030" h="146358">
                  <a:moveTo>
                    <a:pt x="141290" y="6655"/>
                  </a:moveTo>
                  <a:cubicBezTo>
                    <a:pt x="140758" y="6098"/>
                    <a:pt x="140115" y="5571"/>
                    <a:pt x="139472" y="5040"/>
                  </a:cubicBezTo>
                  <a:cubicBezTo>
                    <a:pt x="132448" y="-804"/>
                    <a:pt x="123586" y="-4030"/>
                    <a:pt x="114607" y="-5636"/>
                  </a:cubicBezTo>
                  <a:cubicBezTo>
                    <a:pt x="99283" y="-8335"/>
                    <a:pt x="83199" y="-6117"/>
                    <a:pt x="68959" y="168"/>
                  </a:cubicBezTo>
                  <a:cubicBezTo>
                    <a:pt x="67531" y="1373"/>
                    <a:pt x="66123" y="2680"/>
                    <a:pt x="64801" y="4082"/>
                  </a:cubicBezTo>
                  <a:cubicBezTo>
                    <a:pt x="57342" y="8564"/>
                    <a:pt x="50186" y="13598"/>
                    <a:pt x="43436" y="19108"/>
                  </a:cubicBezTo>
                  <a:cubicBezTo>
                    <a:pt x="22480" y="36083"/>
                    <a:pt x="5348" y="57732"/>
                    <a:pt x="-6081" y="82116"/>
                  </a:cubicBezTo>
                  <a:cubicBezTo>
                    <a:pt x="12124" y="98220"/>
                    <a:pt x="33794" y="111321"/>
                    <a:pt x="56917" y="120249"/>
                  </a:cubicBezTo>
                  <a:cubicBezTo>
                    <a:pt x="69987" y="125262"/>
                    <a:pt x="89965" y="139594"/>
                    <a:pt x="89965" y="139594"/>
                  </a:cubicBezTo>
                  <a:cubicBezTo>
                    <a:pt x="91621" y="138849"/>
                    <a:pt x="99810" y="131547"/>
                    <a:pt x="101334" y="130265"/>
                  </a:cubicBezTo>
                  <a:cubicBezTo>
                    <a:pt x="104823" y="127141"/>
                    <a:pt x="107983" y="122669"/>
                    <a:pt x="110693" y="117737"/>
                  </a:cubicBezTo>
                  <a:cubicBezTo>
                    <a:pt x="118111" y="104529"/>
                    <a:pt x="122375" y="88208"/>
                    <a:pt x="122659" y="87230"/>
                  </a:cubicBezTo>
                  <a:lnTo>
                    <a:pt x="122644" y="87175"/>
                  </a:lnTo>
                  <a:lnTo>
                    <a:pt x="122694" y="87165"/>
                  </a:lnTo>
                  <a:lnTo>
                    <a:pt x="147696" y="65698"/>
                  </a:lnTo>
                  <a:cubicBezTo>
                    <a:pt x="149225" y="64189"/>
                    <a:pt x="149327" y="61768"/>
                    <a:pt x="148061" y="60071"/>
                  </a:cubicBezTo>
                  <a:lnTo>
                    <a:pt x="141346" y="53959"/>
                  </a:lnTo>
                  <a:cubicBezTo>
                    <a:pt x="141346" y="53959"/>
                    <a:pt x="167492" y="30482"/>
                    <a:pt x="141290" y="6655"/>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4" name="Freeform: Shape 423">
              <a:extLst>
                <a:ext uri="{FF2B5EF4-FFF2-40B4-BE49-F238E27FC236}">
                  <a16:creationId xmlns:a16="http://schemas.microsoft.com/office/drawing/2014/main" id="{3CBC893B-E099-5D68-F318-028FD1D8905C}"/>
                </a:ext>
              </a:extLst>
            </p:cNvPr>
            <p:cNvSpPr/>
            <p:nvPr/>
          </p:nvSpPr>
          <p:spPr>
            <a:xfrm flipV="1">
              <a:off x="5503223" y="3188822"/>
              <a:ext cx="10594" cy="14913"/>
            </a:xfrm>
            <a:custGeom>
              <a:avLst/>
              <a:gdLst>
                <a:gd name="connsiteX0" fmla="*/ -5227 w 10594"/>
                <a:gd name="connsiteY0" fmla="*/ -1157 h 14913"/>
                <a:gd name="connsiteX1" fmla="*/ 2131 w 10594"/>
                <a:gd name="connsiteY1" fmla="*/ -6591 h 14913"/>
                <a:gd name="connsiteX2" fmla="*/ 3539 w 10594"/>
                <a:gd name="connsiteY2" fmla="*/ 2444 h 14913"/>
                <a:gd name="connsiteX3" fmla="*/ -3819 w 10594"/>
                <a:gd name="connsiteY3" fmla="*/ 7877 h 14913"/>
                <a:gd name="connsiteX4" fmla="*/ -5227 w 10594"/>
                <a:gd name="connsiteY4" fmla="*/ -1157 h 1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4" h="14913">
                  <a:moveTo>
                    <a:pt x="-5227" y="-1157"/>
                  </a:moveTo>
                  <a:cubicBezTo>
                    <a:pt x="-3586" y="-5153"/>
                    <a:pt x="-289" y="-7584"/>
                    <a:pt x="2131" y="-6591"/>
                  </a:cubicBezTo>
                  <a:cubicBezTo>
                    <a:pt x="4552" y="-5593"/>
                    <a:pt x="5185" y="-1547"/>
                    <a:pt x="3539" y="2444"/>
                  </a:cubicBezTo>
                  <a:cubicBezTo>
                    <a:pt x="1899" y="6439"/>
                    <a:pt x="-1393" y="8875"/>
                    <a:pt x="-3819" y="7877"/>
                  </a:cubicBezTo>
                  <a:cubicBezTo>
                    <a:pt x="-6234" y="6885"/>
                    <a:pt x="-6867" y="2838"/>
                    <a:pt x="-5227" y="-1157"/>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5" name="Freeform: Shape 424">
              <a:extLst>
                <a:ext uri="{FF2B5EF4-FFF2-40B4-BE49-F238E27FC236}">
                  <a16:creationId xmlns:a16="http://schemas.microsoft.com/office/drawing/2014/main" id="{219D4D04-D17C-66F9-8241-44374590B4A6}"/>
                </a:ext>
              </a:extLst>
            </p:cNvPr>
            <p:cNvSpPr/>
            <p:nvPr/>
          </p:nvSpPr>
          <p:spPr>
            <a:xfrm flipV="1">
              <a:off x="5488472" y="3167499"/>
              <a:ext cx="14234" cy="24828"/>
            </a:xfrm>
            <a:custGeom>
              <a:avLst/>
              <a:gdLst>
                <a:gd name="connsiteX0" fmla="*/ -5934 w 14234"/>
                <a:gd name="connsiteY0" fmla="*/ -3881 h 24828"/>
                <a:gd name="connsiteX1" fmla="*/ 3278 w 14234"/>
                <a:gd name="connsiteY1" fmla="*/ 17333 h 24828"/>
                <a:gd name="connsiteX2" fmla="*/ 6777 w 14234"/>
                <a:gd name="connsiteY2" fmla="*/ 11869 h 24828"/>
                <a:gd name="connsiteX3" fmla="*/ 553 w 14234"/>
                <a:gd name="connsiteY3" fmla="*/ -3618 h 24828"/>
                <a:gd name="connsiteX4" fmla="*/ -5934 w 14234"/>
                <a:gd name="connsiteY4" fmla="*/ -3881 h 2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34" h="24828">
                  <a:moveTo>
                    <a:pt x="-5934" y="-3881"/>
                  </a:moveTo>
                  <a:cubicBezTo>
                    <a:pt x="-7003" y="4404"/>
                    <a:pt x="-3326" y="12355"/>
                    <a:pt x="3278" y="17333"/>
                  </a:cubicBezTo>
                  <a:cubicBezTo>
                    <a:pt x="6615" y="19850"/>
                    <a:pt x="10094" y="14375"/>
                    <a:pt x="6777" y="11869"/>
                  </a:cubicBezTo>
                  <a:cubicBezTo>
                    <a:pt x="1926" y="8212"/>
                    <a:pt x="-217" y="2328"/>
                    <a:pt x="553" y="-3618"/>
                  </a:cubicBezTo>
                  <a:cubicBezTo>
                    <a:pt x="1085" y="-7755"/>
                    <a:pt x="-5402" y="-8003"/>
                    <a:pt x="-5934" y="-3881"/>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6" name="Freeform: Shape 425">
              <a:extLst>
                <a:ext uri="{FF2B5EF4-FFF2-40B4-BE49-F238E27FC236}">
                  <a16:creationId xmlns:a16="http://schemas.microsoft.com/office/drawing/2014/main" id="{BA3778D3-471E-CF80-9D72-F82DC4E717E1}"/>
                </a:ext>
              </a:extLst>
            </p:cNvPr>
            <p:cNvSpPr/>
            <p:nvPr/>
          </p:nvSpPr>
          <p:spPr>
            <a:xfrm flipV="1">
              <a:off x="5446519" y="3224755"/>
              <a:ext cx="22186" cy="17705"/>
            </a:xfrm>
            <a:custGeom>
              <a:avLst/>
              <a:gdLst>
                <a:gd name="connsiteX0" fmla="*/ 15837 w 22186"/>
                <a:gd name="connsiteY0" fmla="*/ -6290 h 17705"/>
                <a:gd name="connsiteX1" fmla="*/ 14647 w 22186"/>
                <a:gd name="connsiteY1" fmla="*/ -6705 h 17705"/>
                <a:gd name="connsiteX2" fmla="*/ 7785 w 22186"/>
                <a:gd name="connsiteY2" fmla="*/ -2705 h 17705"/>
                <a:gd name="connsiteX3" fmla="*/ 10697 w 22186"/>
                <a:gd name="connsiteY3" fmla="*/ 1848 h 17705"/>
                <a:gd name="connsiteX4" fmla="*/ -4328 w 22186"/>
                <a:gd name="connsiteY4" fmla="*/ 7945 h 17705"/>
                <a:gd name="connsiteX5" fmla="*/ -5954 w 22186"/>
                <a:gd name="connsiteY5" fmla="*/ 8619 h 17705"/>
                <a:gd name="connsiteX6" fmla="*/ -5280 w 22186"/>
                <a:gd name="connsiteY6" fmla="*/ 10250 h 17705"/>
                <a:gd name="connsiteX7" fmla="*/ 12718 w 22186"/>
                <a:gd name="connsiteY7" fmla="*/ 3241 h 17705"/>
                <a:gd name="connsiteX8" fmla="*/ 13138 w 22186"/>
                <a:gd name="connsiteY8" fmla="*/ 1372 h 17705"/>
                <a:gd name="connsiteX9" fmla="*/ 12069 w 22186"/>
                <a:gd name="connsiteY9" fmla="*/ -243 h 17705"/>
                <a:gd name="connsiteX10" fmla="*/ 10241 w 22186"/>
                <a:gd name="connsiteY10" fmla="*/ -2223 h 17705"/>
                <a:gd name="connsiteX11" fmla="*/ 15128 w 22186"/>
                <a:gd name="connsiteY11" fmla="*/ -4259 h 17705"/>
                <a:gd name="connsiteX12" fmla="*/ 16111 w 22186"/>
                <a:gd name="connsiteY12" fmla="*/ -5723 h 17705"/>
                <a:gd name="connsiteX13" fmla="*/ 15837 w 22186"/>
                <a:gd name="connsiteY13" fmla="*/ -6290 h 1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186" h="17705">
                  <a:moveTo>
                    <a:pt x="15837" y="-6290"/>
                  </a:moveTo>
                  <a:cubicBezTo>
                    <a:pt x="15559" y="-6624"/>
                    <a:pt x="15108" y="-6796"/>
                    <a:pt x="14647" y="-6705"/>
                  </a:cubicBezTo>
                  <a:cubicBezTo>
                    <a:pt x="10338" y="-5864"/>
                    <a:pt x="8160" y="-4593"/>
                    <a:pt x="7785" y="-2705"/>
                  </a:cubicBezTo>
                  <a:cubicBezTo>
                    <a:pt x="7578" y="-1641"/>
                    <a:pt x="7917" y="10"/>
                    <a:pt x="10697" y="1848"/>
                  </a:cubicBezTo>
                  <a:cubicBezTo>
                    <a:pt x="3906" y="11202"/>
                    <a:pt x="-4247" y="7976"/>
                    <a:pt x="-4328" y="7945"/>
                  </a:cubicBezTo>
                  <a:cubicBezTo>
                    <a:pt x="-4966" y="7677"/>
                    <a:pt x="-5695" y="7981"/>
                    <a:pt x="-5954" y="8619"/>
                  </a:cubicBezTo>
                  <a:cubicBezTo>
                    <a:pt x="-6222" y="9257"/>
                    <a:pt x="-5923" y="9986"/>
                    <a:pt x="-5280" y="10250"/>
                  </a:cubicBezTo>
                  <a:cubicBezTo>
                    <a:pt x="-5179" y="10295"/>
                    <a:pt x="4797" y="14245"/>
                    <a:pt x="12718" y="3241"/>
                  </a:cubicBezTo>
                  <a:cubicBezTo>
                    <a:pt x="13103" y="2709"/>
                    <a:pt x="13255" y="2025"/>
                    <a:pt x="13138" y="1372"/>
                  </a:cubicBezTo>
                  <a:cubicBezTo>
                    <a:pt x="13017" y="709"/>
                    <a:pt x="12627" y="131"/>
                    <a:pt x="12069" y="-243"/>
                  </a:cubicBezTo>
                  <a:cubicBezTo>
                    <a:pt x="10631" y="-1190"/>
                    <a:pt x="10186" y="-1955"/>
                    <a:pt x="10241" y="-2223"/>
                  </a:cubicBezTo>
                  <a:cubicBezTo>
                    <a:pt x="10252" y="-2269"/>
                    <a:pt x="10510" y="-3353"/>
                    <a:pt x="15128" y="-4259"/>
                  </a:cubicBezTo>
                  <a:cubicBezTo>
                    <a:pt x="15802" y="-4391"/>
                    <a:pt x="16242" y="-5044"/>
                    <a:pt x="16111" y="-5723"/>
                  </a:cubicBezTo>
                  <a:lnTo>
                    <a:pt x="15837" y="-6290"/>
                  </a:lnTo>
                </a:path>
              </a:pathLst>
            </a:custGeom>
            <a:solidFill>
              <a:srgbClr val="E8E4E2">
                <a:lumMod val="5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7" name="Freeform: Shape 426">
              <a:extLst>
                <a:ext uri="{FF2B5EF4-FFF2-40B4-BE49-F238E27FC236}">
                  <a16:creationId xmlns:a16="http://schemas.microsoft.com/office/drawing/2014/main" id="{A815255C-587A-C9D7-8A9A-AD58951EF85B}"/>
                </a:ext>
              </a:extLst>
            </p:cNvPr>
            <p:cNvSpPr/>
            <p:nvPr/>
          </p:nvSpPr>
          <p:spPr>
            <a:xfrm flipV="1">
              <a:off x="5454629" y="3254560"/>
              <a:ext cx="21588" cy="8618"/>
            </a:xfrm>
            <a:custGeom>
              <a:avLst/>
              <a:gdLst>
                <a:gd name="connsiteX0" fmla="*/ 15523 w 21588"/>
                <a:gd name="connsiteY0" fmla="*/ 1945 h 8618"/>
                <a:gd name="connsiteX1" fmla="*/ -6065 w 21588"/>
                <a:gd name="connsiteY1" fmla="*/ -4912 h 8618"/>
                <a:gd name="connsiteX2" fmla="*/ -733 w 21588"/>
                <a:gd name="connsiteY2" fmla="*/ 56 h 8618"/>
                <a:gd name="connsiteX3" fmla="*/ 15523 w 21588"/>
                <a:gd name="connsiteY3" fmla="*/ 1945 h 8618"/>
              </a:gdLst>
              <a:ahLst/>
              <a:cxnLst>
                <a:cxn ang="0">
                  <a:pos x="connsiteX0" y="connsiteY0"/>
                </a:cxn>
                <a:cxn ang="0">
                  <a:pos x="connsiteX1" y="connsiteY1"/>
                </a:cxn>
                <a:cxn ang="0">
                  <a:pos x="connsiteX2" y="connsiteY2"/>
                </a:cxn>
                <a:cxn ang="0">
                  <a:pos x="connsiteX3" y="connsiteY3"/>
                </a:cxn>
              </a:cxnLst>
              <a:rect l="l" t="t" r="r" b="b"/>
              <a:pathLst>
                <a:path w="21588" h="8618">
                  <a:moveTo>
                    <a:pt x="15523" y="1945"/>
                  </a:moveTo>
                  <a:cubicBezTo>
                    <a:pt x="14328" y="-2526"/>
                    <a:pt x="7856" y="-10128"/>
                    <a:pt x="-6065" y="-4912"/>
                  </a:cubicBezTo>
                  <a:cubicBezTo>
                    <a:pt x="-6065" y="-4912"/>
                    <a:pt x="-5372" y="522"/>
                    <a:pt x="-733" y="56"/>
                  </a:cubicBezTo>
                  <a:cubicBezTo>
                    <a:pt x="-733" y="56"/>
                    <a:pt x="13356" y="-2405"/>
                    <a:pt x="15523" y="1945"/>
                  </a:cubicBezTo>
                </a:path>
              </a:pathLst>
            </a:custGeom>
            <a:solidFill>
              <a:srgbClr val="E8E4E2">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8" name="Freeform: Shape 427">
              <a:extLst>
                <a:ext uri="{FF2B5EF4-FFF2-40B4-BE49-F238E27FC236}">
                  <a16:creationId xmlns:a16="http://schemas.microsoft.com/office/drawing/2014/main" id="{A3E170E2-E2B4-1E89-4C66-8379941C920E}"/>
                </a:ext>
              </a:extLst>
            </p:cNvPr>
            <p:cNvSpPr/>
            <p:nvPr/>
          </p:nvSpPr>
          <p:spPr>
            <a:xfrm flipV="1">
              <a:off x="5513051" y="3244779"/>
              <a:ext cx="24947" cy="19270"/>
            </a:xfrm>
            <a:custGeom>
              <a:avLst/>
              <a:gdLst>
                <a:gd name="connsiteX0" fmla="*/ -3436 w 24947"/>
                <a:gd name="connsiteY0" fmla="*/ 10873 h 19270"/>
                <a:gd name="connsiteX1" fmla="*/ 16031 w 24947"/>
                <a:gd name="connsiteY1" fmla="*/ 12159 h 19270"/>
                <a:gd name="connsiteX2" fmla="*/ 18472 w 24947"/>
                <a:gd name="connsiteY2" fmla="*/ 9885 h 19270"/>
                <a:gd name="connsiteX3" fmla="*/ -5983 w 24947"/>
                <a:gd name="connsiteY3" fmla="*/ 8295 h 19270"/>
                <a:gd name="connsiteX4" fmla="*/ -3436 w 24947"/>
                <a:gd name="connsiteY4" fmla="*/ 10873 h 19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7" h="19270">
                  <a:moveTo>
                    <a:pt x="-3436" y="10873"/>
                  </a:moveTo>
                  <a:cubicBezTo>
                    <a:pt x="924" y="8523"/>
                    <a:pt x="8576" y="6118"/>
                    <a:pt x="16031" y="12159"/>
                  </a:cubicBezTo>
                  <a:cubicBezTo>
                    <a:pt x="17509" y="13359"/>
                    <a:pt x="18031" y="11855"/>
                    <a:pt x="18472" y="9885"/>
                  </a:cubicBezTo>
                  <a:cubicBezTo>
                    <a:pt x="20791" y="-516"/>
                    <a:pt x="9716" y="-20682"/>
                    <a:pt x="-5983" y="8295"/>
                  </a:cubicBezTo>
                  <a:cubicBezTo>
                    <a:pt x="-6788" y="9779"/>
                    <a:pt x="-4788" y="11602"/>
                    <a:pt x="-3436" y="10873"/>
                  </a:cubicBezTo>
                </a:path>
              </a:pathLst>
            </a:custGeom>
            <a:solidFill>
              <a:srgbClr val="FFFFFF"/>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9" name="Freeform: Shape 428">
              <a:extLst>
                <a:ext uri="{FF2B5EF4-FFF2-40B4-BE49-F238E27FC236}">
                  <a16:creationId xmlns:a16="http://schemas.microsoft.com/office/drawing/2014/main" id="{24DB1792-9ECB-D952-81E9-6B20593943AB}"/>
                </a:ext>
              </a:extLst>
            </p:cNvPr>
            <p:cNvSpPr/>
            <p:nvPr/>
          </p:nvSpPr>
          <p:spPr>
            <a:xfrm flipV="1">
              <a:off x="5378443" y="3103466"/>
              <a:ext cx="124880" cy="186714"/>
            </a:xfrm>
            <a:custGeom>
              <a:avLst/>
              <a:gdLst>
                <a:gd name="connsiteX0" fmla="*/ 108269 w 124880"/>
                <a:gd name="connsiteY0" fmla="*/ 178703 h 186714"/>
                <a:gd name="connsiteX1" fmla="*/ 100527 w 124880"/>
                <a:gd name="connsiteY1" fmla="*/ 178530 h 186714"/>
                <a:gd name="connsiteX2" fmla="*/ 78016 w 124880"/>
                <a:gd name="connsiteY2" fmla="*/ 169096 h 186714"/>
                <a:gd name="connsiteX3" fmla="*/ 49277 w 124880"/>
                <a:gd name="connsiteY3" fmla="*/ 164513 h 186714"/>
                <a:gd name="connsiteX4" fmla="*/ 24843 w 124880"/>
                <a:gd name="connsiteY4" fmla="*/ 149812 h 186714"/>
                <a:gd name="connsiteX5" fmla="*/ 22442 w 124880"/>
                <a:gd name="connsiteY5" fmla="*/ 145689 h 186714"/>
                <a:gd name="connsiteX6" fmla="*/ 20002 w 124880"/>
                <a:gd name="connsiteY6" fmla="*/ 150101 h 186714"/>
                <a:gd name="connsiteX7" fmla="*/ 14791 w 124880"/>
                <a:gd name="connsiteY7" fmla="*/ 149640 h 186714"/>
                <a:gd name="connsiteX8" fmla="*/ 16477 w 124880"/>
                <a:gd name="connsiteY8" fmla="*/ 114029 h 186714"/>
                <a:gd name="connsiteX9" fmla="*/ -3298 w 124880"/>
                <a:gd name="connsiteY9" fmla="*/ 92481 h 186714"/>
                <a:gd name="connsiteX10" fmla="*/ -67 w 124880"/>
                <a:gd name="connsiteY10" fmla="*/ 88612 h 186714"/>
                <a:gd name="connsiteX11" fmla="*/ 2738 w 124880"/>
                <a:gd name="connsiteY11" fmla="*/ 89331 h 186714"/>
                <a:gd name="connsiteX12" fmla="*/ 1477 w 124880"/>
                <a:gd name="connsiteY12" fmla="*/ 87766 h 186714"/>
                <a:gd name="connsiteX13" fmla="*/ -5750 w 124880"/>
                <a:gd name="connsiteY13" fmla="*/ 63585 h 186714"/>
                <a:gd name="connsiteX14" fmla="*/ 11342 w 124880"/>
                <a:gd name="connsiteY14" fmla="*/ 37489 h 186714"/>
                <a:gd name="connsiteX15" fmla="*/ 56443 w 124880"/>
                <a:gd name="connsiteY15" fmla="*/ -6812 h 186714"/>
                <a:gd name="connsiteX16" fmla="*/ 75819 w 124880"/>
                <a:gd name="connsiteY16" fmla="*/ 26814 h 186714"/>
                <a:gd name="connsiteX17" fmla="*/ 61284 w 124880"/>
                <a:gd name="connsiteY17" fmla="*/ 35459 h 186714"/>
                <a:gd name="connsiteX18" fmla="*/ 54934 w 124880"/>
                <a:gd name="connsiteY18" fmla="*/ 50489 h 186714"/>
                <a:gd name="connsiteX19" fmla="*/ 63867 w 124880"/>
                <a:gd name="connsiteY19" fmla="*/ 63534 h 186714"/>
                <a:gd name="connsiteX20" fmla="*/ 80949 w 124880"/>
                <a:gd name="connsiteY20" fmla="*/ 62000 h 186714"/>
                <a:gd name="connsiteX21" fmla="*/ 73925 w 124880"/>
                <a:gd name="connsiteY21" fmla="*/ 113051 h 186714"/>
                <a:gd name="connsiteX22" fmla="*/ 103296 w 124880"/>
                <a:gd name="connsiteY22" fmla="*/ 127180 h 186714"/>
                <a:gd name="connsiteX23" fmla="*/ 118798 w 124880"/>
                <a:gd name="connsiteY23" fmla="*/ 154744 h 186714"/>
                <a:gd name="connsiteX24" fmla="*/ 108269 w 124880"/>
                <a:gd name="connsiteY24" fmla="*/ 178703 h 1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4880" h="186714">
                  <a:moveTo>
                    <a:pt x="108269" y="178703"/>
                  </a:moveTo>
                  <a:cubicBezTo>
                    <a:pt x="106001" y="180399"/>
                    <a:pt x="102780" y="180257"/>
                    <a:pt x="100527" y="178530"/>
                  </a:cubicBezTo>
                  <a:cubicBezTo>
                    <a:pt x="94024" y="173542"/>
                    <a:pt x="86160" y="170585"/>
                    <a:pt x="78016" y="169096"/>
                  </a:cubicBezTo>
                  <a:cubicBezTo>
                    <a:pt x="68470" y="167354"/>
                    <a:pt x="58697" y="166848"/>
                    <a:pt x="49277" y="164513"/>
                  </a:cubicBezTo>
                  <a:cubicBezTo>
                    <a:pt x="39853" y="162173"/>
                    <a:pt x="30500" y="157697"/>
                    <a:pt x="24843" y="149812"/>
                  </a:cubicBezTo>
                  <a:cubicBezTo>
                    <a:pt x="23911" y="148510"/>
                    <a:pt x="23146" y="147113"/>
                    <a:pt x="22442" y="145689"/>
                  </a:cubicBezTo>
                  <a:lnTo>
                    <a:pt x="20002" y="150101"/>
                  </a:lnTo>
                  <a:cubicBezTo>
                    <a:pt x="18812" y="152258"/>
                    <a:pt x="15566" y="151979"/>
                    <a:pt x="14791" y="149640"/>
                  </a:cubicBezTo>
                  <a:cubicBezTo>
                    <a:pt x="9635" y="134052"/>
                    <a:pt x="13130" y="121356"/>
                    <a:pt x="16477" y="114029"/>
                  </a:cubicBezTo>
                  <a:cubicBezTo>
                    <a:pt x="16477" y="114029"/>
                    <a:pt x="3882" y="108261"/>
                    <a:pt x="-3298" y="92481"/>
                  </a:cubicBezTo>
                  <a:cubicBezTo>
                    <a:pt x="-4266" y="90359"/>
                    <a:pt x="-2321" y="88034"/>
                    <a:pt x="-67" y="88612"/>
                  </a:cubicBezTo>
                  <a:lnTo>
                    <a:pt x="2738" y="89331"/>
                  </a:lnTo>
                  <a:cubicBezTo>
                    <a:pt x="2328" y="88809"/>
                    <a:pt x="1862" y="88283"/>
                    <a:pt x="1477" y="87766"/>
                  </a:cubicBezTo>
                  <a:cubicBezTo>
                    <a:pt x="-3683" y="80838"/>
                    <a:pt x="-7031" y="72123"/>
                    <a:pt x="-5750" y="63585"/>
                  </a:cubicBezTo>
                  <a:cubicBezTo>
                    <a:pt x="-4180" y="53107"/>
                    <a:pt x="3786" y="44913"/>
                    <a:pt x="11342" y="37489"/>
                  </a:cubicBezTo>
                  <a:cubicBezTo>
                    <a:pt x="26377" y="22722"/>
                    <a:pt x="41408" y="7955"/>
                    <a:pt x="56443" y="-6812"/>
                  </a:cubicBezTo>
                  <a:cubicBezTo>
                    <a:pt x="59132" y="6254"/>
                    <a:pt x="65716" y="18099"/>
                    <a:pt x="75819" y="26814"/>
                  </a:cubicBezTo>
                  <a:cubicBezTo>
                    <a:pt x="70562" y="28723"/>
                    <a:pt x="65199" y="31463"/>
                    <a:pt x="61284" y="35459"/>
                  </a:cubicBezTo>
                  <a:cubicBezTo>
                    <a:pt x="57365" y="39449"/>
                    <a:pt x="54716" y="44898"/>
                    <a:pt x="54934" y="50489"/>
                  </a:cubicBezTo>
                  <a:cubicBezTo>
                    <a:pt x="55157" y="56075"/>
                    <a:pt x="58606" y="61635"/>
                    <a:pt x="63867" y="63534"/>
                  </a:cubicBezTo>
                  <a:cubicBezTo>
                    <a:pt x="69256" y="65484"/>
                    <a:pt x="75581" y="63990"/>
                    <a:pt x="80949" y="62000"/>
                  </a:cubicBezTo>
                  <a:cubicBezTo>
                    <a:pt x="80949" y="62000"/>
                    <a:pt x="95052" y="90673"/>
                    <a:pt x="73925" y="113051"/>
                  </a:cubicBezTo>
                  <a:cubicBezTo>
                    <a:pt x="84387" y="115897"/>
                    <a:pt x="94870" y="120354"/>
                    <a:pt x="103296" y="127180"/>
                  </a:cubicBezTo>
                  <a:cubicBezTo>
                    <a:pt x="111728" y="134012"/>
                    <a:pt x="118079" y="143922"/>
                    <a:pt x="118798" y="154744"/>
                  </a:cubicBezTo>
                  <a:cubicBezTo>
                    <a:pt x="119395" y="163819"/>
                    <a:pt x="115440" y="173340"/>
                    <a:pt x="108269" y="178703"/>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0" name="Freeform: Shape 429">
              <a:extLst>
                <a:ext uri="{FF2B5EF4-FFF2-40B4-BE49-F238E27FC236}">
                  <a16:creationId xmlns:a16="http://schemas.microsoft.com/office/drawing/2014/main" id="{18C935CE-03BF-8FBE-902A-A383685C54B2}"/>
                </a:ext>
              </a:extLst>
            </p:cNvPr>
            <p:cNvSpPr/>
            <p:nvPr/>
          </p:nvSpPr>
          <p:spPr>
            <a:xfrm flipV="1">
              <a:off x="5460665" y="3175217"/>
              <a:ext cx="65655" cy="46036"/>
            </a:xfrm>
            <a:custGeom>
              <a:avLst/>
              <a:gdLst>
                <a:gd name="connsiteX0" fmla="*/ 56834 w 65655"/>
                <a:gd name="connsiteY0" fmla="*/ 8966 h 46036"/>
                <a:gd name="connsiteX1" fmla="*/ 48103 w 65655"/>
                <a:gd name="connsiteY1" fmla="*/ -2717 h 46036"/>
                <a:gd name="connsiteX2" fmla="*/ 33534 w 65655"/>
                <a:gd name="connsiteY2" fmla="*/ -3405 h 46036"/>
                <a:gd name="connsiteX3" fmla="*/ 21521 w 65655"/>
                <a:gd name="connsiteY3" fmla="*/ 7432 h 46036"/>
                <a:gd name="connsiteX4" fmla="*/ 19278 w 65655"/>
                <a:gd name="connsiteY4" fmla="*/ 23450 h 46036"/>
                <a:gd name="connsiteX5" fmla="*/ 28003 w 65655"/>
                <a:gd name="connsiteY5" fmla="*/ 35133 h 46036"/>
                <a:gd name="connsiteX6" fmla="*/ 35473 w 65655"/>
                <a:gd name="connsiteY6" fmla="*/ 37077 h 46036"/>
                <a:gd name="connsiteX7" fmla="*/ 42568 w 65655"/>
                <a:gd name="connsiteY7" fmla="*/ 35826 h 46036"/>
                <a:gd name="connsiteX8" fmla="*/ 54585 w 65655"/>
                <a:gd name="connsiteY8" fmla="*/ 24984 h 46036"/>
                <a:gd name="connsiteX9" fmla="*/ 56834 w 65655"/>
                <a:gd name="connsiteY9" fmla="*/ 8966 h 46036"/>
                <a:gd name="connsiteX10" fmla="*/ 56469 w 65655"/>
                <a:gd name="connsiteY10" fmla="*/ 25987 h 46036"/>
                <a:gd name="connsiteX11" fmla="*/ 43328 w 65655"/>
                <a:gd name="connsiteY11" fmla="*/ 37822 h 46036"/>
                <a:gd name="connsiteX12" fmla="*/ 27001 w 65655"/>
                <a:gd name="connsiteY12" fmla="*/ 37022 h 46036"/>
                <a:gd name="connsiteX13" fmla="*/ 17192 w 65655"/>
                <a:gd name="connsiteY13" fmla="*/ 23946 h 46036"/>
                <a:gd name="connsiteX14" fmla="*/ 17293 w 65655"/>
                <a:gd name="connsiteY14" fmla="*/ 12962 h 46036"/>
                <a:gd name="connsiteX15" fmla="*/ -6113 w 65655"/>
                <a:gd name="connsiteY15" fmla="*/ -5507 h 46036"/>
                <a:gd name="connsiteX16" fmla="*/ -4017 w 65655"/>
                <a:gd name="connsiteY16" fmla="*/ -5917 h 46036"/>
                <a:gd name="connsiteX17" fmla="*/ 17774 w 65655"/>
                <a:gd name="connsiteY17" fmla="*/ 10881 h 46036"/>
                <a:gd name="connsiteX18" fmla="*/ 19632 w 65655"/>
                <a:gd name="connsiteY18" fmla="*/ 6429 h 46036"/>
                <a:gd name="connsiteX19" fmla="*/ 32779 w 65655"/>
                <a:gd name="connsiteY19" fmla="*/ -5401 h 46036"/>
                <a:gd name="connsiteX20" fmla="*/ 40684 w 65655"/>
                <a:gd name="connsiteY20" fmla="*/ -6803 h 46036"/>
                <a:gd name="connsiteX21" fmla="*/ 49106 w 65655"/>
                <a:gd name="connsiteY21" fmla="*/ -4605 h 46036"/>
                <a:gd name="connsiteX22" fmla="*/ 58910 w 65655"/>
                <a:gd name="connsiteY22" fmla="*/ 8475 h 46036"/>
                <a:gd name="connsiteX23" fmla="*/ 56469 w 65655"/>
                <a:gd name="connsiteY23" fmla="*/ 25987 h 4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655" h="46036">
                  <a:moveTo>
                    <a:pt x="56834" y="8966"/>
                  </a:moveTo>
                  <a:cubicBezTo>
                    <a:pt x="55593" y="3765"/>
                    <a:pt x="52494" y="-387"/>
                    <a:pt x="48103" y="-2717"/>
                  </a:cubicBezTo>
                  <a:cubicBezTo>
                    <a:pt x="43718" y="-5051"/>
                    <a:pt x="38532" y="-5294"/>
                    <a:pt x="33534" y="-3405"/>
                  </a:cubicBezTo>
                  <a:cubicBezTo>
                    <a:pt x="28485" y="-1496"/>
                    <a:pt x="24215" y="2353"/>
                    <a:pt x="21521" y="7432"/>
                  </a:cubicBezTo>
                  <a:cubicBezTo>
                    <a:pt x="18827" y="12511"/>
                    <a:pt x="18032" y="18198"/>
                    <a:pt x="19278" y="23450"/>
                  </a:cubicBezTo>
                  <a:cubicBezTo>
                    <a:pt x="20514" y="28656"/>
                    <a:pt x="23613" y="32803"/>
                    <a:pt x="28003" y="35133"/>
                  </a:cubicBezTo>
                  <a:cubicBezTo>
                    <a:pt x="30323" y="36368"/>
                    <a:pt x="32855" y="37017"/>
                    <a:pt x="35473" y="37077"/>
                  </a:cubicBezTo>
                  <a:cubicBezTo>
                    <a:pt x="37808" y="37133"/>
                    <a:pt x="40208" y="36713"/>
                    <a:pt x="42568" y="35826"/>
                  </a:cubicBezTo>
                  <a:cubicBezTo>
                    <a:pt x="47622" y="33912"/>
                    <a:pt x="51886" y="30064"/>
                    <a:pt x="54585" y="24984"/>
                  </a:cubicBezTo>
                  <a:cubicBezTo>
                    <a:pt x="57279" y="19910"/>
                    <a:pt x="58079" y="14218"/>
                    <a:pt x="56834" y="8966"/>
                  </a:cubicBezTo>
                  <a:close/>
                  <a:moveTo>
                    <a:pt x="56469" y="25987"/>
                  </a:moveTo>
                  <a:cubicBezTo>
                    <a:pt x="53532" y="31527"/>
                    <a:pt x="48863" y="35730"/>
                    <a:pt x="43328" y="37822"/>
                  </a:cubicBezTo>
                  <a:cubicBezTo>
                    <a:pt x="37737" y="39944"/>
                    <a:pt x="31943" y="39655"/>
                    <a:pt x="27001" y="37022"/>
                  </a:cubicBezTo>
                  <a:cubicBezTo>
                    <a:pt x="22053" y="34403"/>
                    <a:pt x="18574" y="29755"/>
                    <a:pt x="17192" y="23946"/>
                  </a:cubicBezTo>
                  <a:cubicBezTo>
                    <a:pt x="16341" y="20371"/>
                    <a:pt x="16457" y="16623"/>
                    <a:pt x="17293" y="12962"/>
                  </a:cubicBezTo>
                  <a:cubicBezTo>
                    <a:pt x="12857" y="12228"/>
                    <a:pt x="-3369" y="8586"/>
                    <a:pt x="-6113" y="-5507"/>
                  </a:cubicBezTo>
                  <a:lnTo>
                    <a:pt x="-4017" y="-5917"/>
                  </a:lnTo>
                  <a:cubicBezTo>
                    <a:pt x="-1495" y="7012"/>
                    <a:pt x="13930" y="10268"/>
                    <a:pt x="17774" y="10881"/>
                  </a:cubicBezTo>
                  <a:cubicBezTo>
                    <a:pt x="18255" y="9366"/>
                    <a:pt x="18868" y="7873"/>
                    <a:pt x="19632" y="6429"/>
                  </a:cubicBezTo>
                  <a:cubicBezTo>
                    <a:pt x="22575" y="889"/>
                    <a:pt x="27239" y="-3309"/>
                    <a:pt x="32779" y="-5401"/>
                  </a:cubicBezTo>
                  <a:cubicBezTo>
                    <a:pt x="35402" y="-6398"/>
                    <a:pt x="38076" y="-6864"/>
                    <a:pt x="40684" y="-6803"/>
                  </a:cubicBezTo>
                  <a:cubicBezTo>
                    <a:pt x="43626" y="-6733"/>
                    <a:pt x="46487" y="-5998"/>
                    <a:pt x="49106" y="-4605"/>
                  </a:cubicBezTo>
                  <a:cubicBezTo>
                    <a:pt x="54048" y="-1987"/>
                    <a:pt x="57527" y="2662"/>
                    <a:pt x="58910" y="8475"/>
                  </a:cubicBezTo>
                  <a:cubicBezTo>
                    <a:pt x="60277" y="14228"/>
                    <a:pt x="59411" y="20452"/>
                    <a:pt x="56469" y="25987"/>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1" name="Freeform: Shape 430">
              <a:extLst>
                <a:ext uri="{FF2B5EF4-FFF2-40B4-BE49-F238E27FC236}">
                  <a16:creationId xmlns:a16="http://schemas.microsoft.com/office/drawing/2014/main" id="{1C39C105-FF27-C5E5-4CB7-25125E2D9696}"/>
                </a:ext>
              </a:extLst>
            </p:cNvPr>
            <p:cNvSpPr/>
            <p:nvPr/>
          </p:nvSpPr>
          <p:spPr>
            <a:xfrm flipV="1">
              <a:off x="5530918" y="3323098"/>
              <a:ext cx="97679" cy="370861"/>
            </a:xfrm>
            <a:custGeom>
              <a:avLst/>
              <a:gdLst>
                <a:gd name="connsiteX0" fmla="*/ 821 w 97679"/>
                <a:gd name="connsiteY0" fmla="*/ 364748 h 370861"/>
                <a:gd name="connsiteX1" fmla="*/ 12296 w 97679"/>
                <a:gd name="connsiteY1" fmla="*/ 323809 h 370861"/>
                <a:gd name="connsiteX2" fmla="*/ 91307 w 97679"/>
                <a:gd name="connsiteY2" fmla="*/ 29882 h 370861"/>
                <a:gd name="connsiteX3" fmla="*/ 66741 w 97679"/>
                <a:gd name="connsiteY3" fmla="*/ -6114 h 370861"/>
                <a:gd name="connsiteX4" fmla="*/ 26390 w 97679"/>
                <a:gd name="connsiteY4" fmla="*/ 27041 h 370861"/>
                <a:gd name="connsiteX5" fmla="*/ 3540 w 97679"/>
                <a:gd name="connsiteY5" fmla="*/ 320477 h 370861"/>
                <a:gd name="connsiteX6" fmla="*/ 821 w 97679"/>
                <a:gd name="connsiteY6" fmla="*/ 364748 h 370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79" h="370861">
                  <a:moveTo>
                    <a:pt x="821" y="364748"/>
                  </a:moveTo>
                  <a:cubicBezTo>
                    <a:pt x="821" y="364748"/>
                    <a:pt x="20323" y="352386"/>
                    <a:pt x="12296" y="323809"/>
                  </a:cubicBezTo>
                  <a:cubicBezTo>
                    <a:pt x="12296" y="323809"/>
                    <a:pt x="94862" y="222476"/>
                    <a:pt x="91307" y="29882"/>
                  </a:cubicBezTo>
                  <a:lnTo>
                    <a:pt x="66741" y="-6114"/>
                  </a:lnTo>
                  <a:lnTo>
                    <a:pt x="26390" y="27041"/>
                  </a:lnTo>
                  <a:cubicBezTo>
                    <a:pt x="26390" y="27041"/>
                    <a:pt x="71096" y="225651"/>
                    <a:pt x="3540" y="320477"/>
                  </a:cubicBezTo>
                  <a:cubicBezTo>
                    <a:pt x="3540" y="320477"/>
                    <a:pt x="-16570" y="343706"/>
                    <a:pt x="821" y="364748"/>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2" name="Freeform: Shape 431">
              <a:extLst>
                <a:ext uri="{FF2B5EF4-FFF2-40B4-BE49-F238E27FC236}">
                  <a16:creationId xmlns:a16="http://schemas.microsoft.com/office/drawing/2014/main" id="{C75F792F-78B3-36ED-5154-BFDD29BD5442}"/>
                </a:ext>
              </a:extLst>
            </p:cNvPr>
            <p:cNvSpPr/>
            <p:nvPr/>
          </p:nvSpPr>
          <p:spPr>
            <a:xfrm flipV="1">
              <a:off x="5436605" y="3314818"/>
              <a:ext cx="101201" cy="47007"/>
            </a:xfrm>
            <a:custGeom>
              <a:avLst/>
              <a:gdLst>
                <a:gd name="connsiteX0" fmla="*/ -6103 w 101201"/>
                <a:gd name="connsiteY0" fmla="*/ 39753 h 47007"/>
                <a:gd name="connsiteX1" fmla="*/ 95099 w 101201"/>
                <a:gd name="connsiteY1" fmla="*/ 40513 h 47007"/>
                <a:gd name="connsiteX2" fmla="*/ 90060 w 101201"/>
                <a:gd name="connsiteY2" fmla="*/ -6472 h 47007"/>
                <a:gd name="connsiteX3" fmla="*/ -5257 w 101201"/>
                <a:gd name="connsiteY3" fmla="*/ 17592 h 47007"/>
                <a:gd name="connsiteX4" fmla="*/ -6103 w 101201"/>
                <a:gd name="connsiteY4" fmla="*/ 39753 h 47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01" h="47007">
                  <a:moveTo>
                    <a:pt x="-6103" y="39753"/>
                  </a:moveTo>
                  <a:lnTo>
                    <a:pt x="95099" y="40513"/>
                  </a:lnTo>
                  <a:cubicBezTo>
                    <a:pt x="95099" y="40513"/>
                    <a:pt x="90080" y="-7688"/>
                    <a:pt x="90060" y="-6472"/>
                  </a:cubicBezTo>
                  <a:cubicBezTo>
                    <a:pt x="90045" y="-5257"/>
                    <a:pt x="-5257" y="17592"/>
                    <a:pt x="-5257" y="17592"/>
                  </a:cubicBezTo>
                  <a:lnTo>
                    <a:pt x="-6103" y="39753"/>
                  </a:ln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3" name="Freeform: Shape 432">
              <a:extLst>
                <a:ext uri="{FF2B5EF4-FFF2-40B4-BE49-F238E27FC236}">
                  <a16:creationId xmlns:a16="http://schemas.microsoft.com/office/drawing/2014/main" id="{FC85D7A5-02CD-58C2-2099-92A8BF81BB9E}"/>
                </a:ext>
              </a:extLst>
            </p:cNvPr>
            <p:cNvSpPr/>
            <p:nvPr/>
          </p:nvSpPr>
          <p:spPr>
            <a:xfrm flipV="1">
              <a:off x="5188577" y="4701418"/>
              <a:ext cx="133866" cy="170084"/>
            </a:xfrm>
            <a:custGeom>
              <a:avLst/>
              <a:gdLst>
                <a:gd name="connsiteX0" fmla="*/ 115314 w 133866"/>
                <a:gd name="connsiteY0" fmla="*/ 113 h 170084"/>
                <a:gd name="connsiteX1" fmla="*/ 23152 w 133866"/>
                <a:gd name="connsiteY1" fmla="*/ -3254 h 170084"/>
                <a:gd name="connsiteX2" fmla="*/ -5415 w 133866"/>
                <a:gd name="connsiteY2" fmla="*/ 29450 h 170084"/>
                <a:gd name="connsiteX3" fmla="*/ -1 w 133866"/>
                <a:gd name="connsiteY3" fmla="*/ 51925 h 170084"/>
                <a:gd name="connsiteX4" fmla="*/ 29396 w 133866"/>
                <a:gd name="connsiteY4" fmla="*/ 165336 h 170084"/>
                <a:gd name="connsiteX5" fmla="*/ 94121 w 133866"/>
                <a:gd name="connsiteY5" fmla="*/ 166830 h 170084"/>
                <a:gd name="connsiteX6" fmla="*/ 116722 w 133866"/>
                <a:gd name="connsiteY6" fmla="*/ 36185 h 170084"/>
                <a:gd name="connsiteX7" fmla="*/ 127630 w 133866"/>
                <a:gd name="connsiteY7" fmla="*/ 15635 h 170084"/>
                <a:gd name="connsiteX8" fmla="*/ 127686 w 133866"/>
                <a:gd name="connsiteY8" fmla="*/ 15478 h 170084"/>
                <a:gd name="connsiteX9" fmla="*/ 115314 w 133866"/>
                <a:gd name="connsiteY9" fmla="*/ 113 h 170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866" h="170084">
                  <a:moveTo>
                    <a:pt x="115314" y="113"/>
                  </a:moveTo>
                  <a:lnTo>
                    <a:pt x="23152" y="-3254"/>
                  </a:lnTo>
                  <a:cubicBezTo>
                    <a:pt x="5919" y="-2854"/>
                    <a:pt x="-7907" y="12333"/>
                    <a:pt x="-5415" y="29450"/>
                  </a:cubicBezTo>
                  <a:cubicBezTo>
                    <a:pt x="-4311" y="37066"/>
                    <a:pt x="-2245" y="44759"/>
                    <a:pt x="-1" y="51925"/>
                  </a:cubicBezTo>
                  <a:cubicBezTo>
                    <a:pt x="12046" y="90387"/>
                    <a:pt x="18974" y="128140"/>
                    <a:pt x="29396" y="165336"/>
                  </a:cubicBezTo>
                  <a:lnTo>
                    <a:pt x="94121" y="166830"/>
                  </a:lnTo>
                  <a:cubicBezTo>
                    <a:pt x="76138" y="126205"/>
                    <a:pt x="92404" y="77012"/>
                    <a:pt x="116722" y="36185"/>
                  </a:cubicBezTo>
                  <a:cubicBezTo>
                    <a:pt x="120672" y="29485"/>
                    <a:pt x="125316" y="23069"/>
                    <a:pt x="127630" y="15635"/>
                  </a:cubicBezTo>
                  <a:lnTo>
                    <a:pt x="127686" y="15478"/>
                  </a:lnTo>
                  <a:cubicBezTo>
                    <a:pt x="130005" y="7619"/>
                    <a:pt x="123503" y="-125"/>
                    <a:pt x="115314" y="113"/>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4" name="Freeform: Shape 433">
              <a:extLst>
                <a:ext uri="{FF2B5EF4-FFF2-40B4-BE49-F238E27FC236}">
                  <a16:creationId xmlns:a16="http://schemas.microsoft.com/office/drawing/2014/main" id="{5D9D3695-F396-E324-E2D4-EEFC634A1D74}"/>
                </a:ext>
              </a:extLst>
            </p:cNvPr>
            <p:cNvSpPr/>
            <p:nvPr/>
          </p:nvSpPr>
          <p:spPr>
            <a:xfrm flipV="1">
              <a:off x="5726569" y="4502600"/>
              <a:ext cx="209357" cy="128442"/>
            </a:xfrm>
            <a:custGeom>
              <a:avLst/>
              <a:gdLst>
                <a:gd name="connsiteX0" fmla="*/ 201949 w 209357"/>
                <a:gd name="connsiteY0" fmla="*/ 23480 h 128442"/>
                <a:gd name="connsiteX1" fmla="*/ 185830 w 209357"/>
                <a:gd name="connsiteY1" fmla="*/ 36616 h 128442"/>
                <a:gd name="connsiteX2" fmla="*/ 75913 w 209357"/>
                <a:gd name="connsiteY2" fmla="*/ 124697 h 128442"/>
                <a:gd name="connsiteX3" fmla="*/ 22471 w 209357"/>
                <a:gd name="connsiteY3" fmla="*/ 123461 h 128442"/>
                <a:gd name="connsiteX4" fmla="*/ -5650 w 209357"/>
                <a:gd name="connsiteY4" fmla="*/ 22766 h 128442"/>
                <a:gd name="connsiteX5" fmla="*/ 13954 w 209357"/>
                <a:gd name="connsiteY5" fmla="*/ -3740 h 128442"/>
                <a:gd name="connsiteX6" fmla="*/ 184853 w 209357"/>
                <a:gd name="connsiteY6" fmla="*/ 225 h 128442"/>
                <a:gd name="connsiteX7" fmla="*/ 201949 w 209357"/>
                <a:gd name="connsiteY7" fmla="*/ 23480 h 12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357" h="128442">
                  <a:moveTo>
                    <a:pt x="201949" y="23480"/>
                  </a:moveTo>
                  <a:cubicBezTo>
                    <a:pt x="199843" y="30797"/>
                    <a:pt x="193432" y="36074"/>
                    <a:pt x="185830" y="36616"/>
                  </a:cubicBezTo>
                  <a:cubicBezTo>
                    <a:pt x="155886" y="38738"/>
                    <a:pt x="81874" y="51413"/>
                    <a:pt x="75913" y="124697"/>
                  </a:cubicBezTo>
                  <a:lnTo>
                    <a:pt x="22471" y="123461"/>
                  </a:lnTo>
                  <a:lnTo>
                    <a:pt x="-5650" y="22766"/>
                  </a:lnTo>
                  <a:cubicBezTo>
                    <a:pt x="-10040" y="9528"/>
                    <a:pt x="7" y="-4064"/>
                    <a:pt x="13954" y="-3740"/>
                  </a:cubicBezTo>
                  <a:lnTo>
                    <a:pt x="184853" y="225"/>
                  </a:lnTo>
                  <a:cubicBezTo>
                    <a:pt x="196789" y="504"/>
                    <a:pt x="205241" y="11994"/>
                    <a:pt x="201949" y="23480"/>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5" name="Freeform: Shape 434">
              <a:extLst>
                <a:ext uri="{FF2B5EF4-FFF2-40B4-BE49-F238E27FC236}">
                  <a16:creationId xmlns:a16="http://schemas.microsoft.com/office/drawing/2014/main" id="{3ABCC4CE-279F-3A59-E797-59B0C895D71B}"/>
                </a:ext>
              </a:extLst>
            </p:cNvPr>
            <p:cNvSpPr/>
            <p:nvPr/>
          </p:nvSpPr>
          <p:spPr>
            <a:xfrm flipV="1">
              <a:off x="5209064" y="3761757"/>
              <a:ext cx="765181" cy="960075"/>
            </a:xfrm>
            <a:custGeom>
              <a:avLst/>
              <a:gdLst>
                <a:gd name="connsiteX0" fmla="*/ 730433 w 765181"/>
                <a:gd name="connsiteY0" fmla="*/ 728272 h 960075"/>
                <a:gd name="connsiteX1" fmla="*/ 441636 w 765181"/>
                <a:gd name="connsiteY1" fmla="*/ 932276 h 960075"/>
                <a:gd name="connsiteX2" fmla="*/ 230077 w 765181"/>
                <a:gd name="connsiteY2" fmla="*/ 951940 h 960075"/>
                <a:gd name="connsiteX3" fmla="*/ 205612 w 765181"/>
                <a:gd name="connsiteY3" fmla="*/ 893920 h 960075"/>
                <a:gd name="connsiteX4" fmla="*/ 176205 w 765181"/>
                <a:gd name="connsiteY4" fmla="*/ 783258 h 960075"/>
                <a:gd name="connsiteX5" fmla="*/ 125644 w 765181"/>
                <a:gd name="connsiteY5" fmla="*/ 466993 h 960075"/>
                <a:gd name="connsiteX6" fmla="*/ -6281 w 765181"/>
                <a:gd name="connsiteY6" fmla="*/ 7985 h 960075"/>
                <a:gd name="connsiteX7" fmla="*/ 79930 w 765181"/>
                <a:gd name="connsiteY7" fmla="*/ 4638 h 960075"/>
                <a:gd name="connsiteX8" fmla="*/ 236873 w 765181"/>
                <a:gd name="connsiteY8" fmla="*/ 428698 h 960075"/>
                <a:gd name="connsiteX9" fmla="*/ 376177 w 765181"/>
                <a:gd name="connsiteY9" fmla="*/ 744077 h 960075"/>
                <a:gd name="connsiteX10" fmla="*/ 622603 w 765181"/>
                <a:gd name="connsiteY10" fmla="*/ 627901 h 960075"/>
                <a:gd name="connsiteX11" fmla="*/ 529818 w 765181"/>
                <a:gd name="connsiteY11" fmla="*/ 207790 h 960075"/>
                <a:gd name="connsiteX12" fmla="*/ 616536 w 765181"/>
                <a:gd name="connsiteY12" fmla="*/ 197141 h 960075"/>
                <a:gd name="connsiteX13" fmla="*/ 750128 w 765181"/>
                <a:gd name="connsiteY13" fmla="*/ 610531 h 960075"/>
                <a:gd name="connsiteX14" fmla="*/ 730433 w 765181"/>
                <a:gd name="connsiteY14" fmla="*/ 728272 h 96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5181" h="960075">
                  <a:moveTo>
                    <a:pt x="730433" y="728272"/>
                  </a:moveTo>
                  <a:cubicBezTo>
                    <a:pt x="614880" y="856273"/>
                    <a:pt x="441636" y="932276"/>
                    <a:pt x="441636" y="932276"/>
                  </a:cubicBezTo>
                  <a:cubicBezTo>
                    <a:pt x="441636" y="932276"/>
                    <a:pt x="285083" y="966656"/>
                    <a:pt x="230077" y="951940"/>
                  </a:cubicBezTo>
                  <a:lnTo>
                    <a:pt x="205612" y="893920"/>
                  </a:lnTo>
                  <a:cubicBezTo>
                    <a:pt x="191984" y="858157"/>
                    <a:pt x="182125" y="821067"/>
                    <a:pt x="176205" y="783258"/>
                  </a:cubicBezTo>
                  <a:lnTo>
                    <a:pt x="125644" y="466993"/>
                  </a:lnTo>
                  <a:cubicBezTo>
                    <a:pt x="125644" y="466993"/>
                    <a:pt x="35989" y="283408"/>
                    <a:pt x="-6281" y="7985"/>
                  </a:cubicBezTo>
                  <a:cubicBezTo>
                    <a:pt x="-6281" y="7985"/>
                    <a:pt x="41524" y="-17660"/>
                    <a:pt x="79930" y="4638"/>
                  </a:cubicBezTo>
                  <a:cubicBezTo>
                    <a:pt x="79930" y="4638"/>
                    <a:pt x="149365" y="294311"/>
                    <a:pt x="236873" y="428698"/>
                  </a:cubicBezTo>
                  <a:cubicBezTo>
                    <a:pt x="236873" y="428698"/>
                    <a:pt x="315752" y="596058"/>
                    <a:pt x="376177" y="744077"/>
                  </a:cubicBezTo>
                  <a:cubicBezTo>
                    <a:pt x="482301" y="699108"/>
                    <a:pt x="622603" y="627901"/>
                    <a:pt x="622603" y="627901"/>
                  </a:cubicBezTo>
                  <a:lnTo>
                    <a:pt x="529818" y="207790"/>
                  </a:lnTo>
                  <a:cubicBezTo>
                    <a:pt x="558617" y="167586"/>
                    <a:pt x="616536" y="197141"/>
                    <a:pt x="616536" y="197141"/>
                  </a:cubicBezTo>
                  <a:lnTo>
                    <a:pt x="750128" y="610531"/>
                  </a:lnTo>
                  <a:cubicBezTo>
                    <a:pt x="766849" y="650274"/>
                    <a:pt x="759329" y="696261"/>
                    <a:pt x="730433" y="728272"/>
                  </a:cubicBezTo>
                </a:path>
              </a:pathLst>
            </a:custGeom>
            <a:solidFill>
              <a:srgbClr val="74B6D6"/>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6" name="Freeform: Shape 435">
              <a:extLst>
                <a:ext uri="{FF2B5EF4-FFF2-40B4-BE49-F238E27FC236}">
                  <a16:creationId xmlns:a16="http://schemas.microsoft.com/office/drawing/2014/main" id="{BD193F55-F0C7-8786-CFE8-199222D40F1E}"/>
                </a:ext>
              </a:extLst>
            </p:cNvPr>
            <p:cNvSpPr/>
            <p:nvPr/>
          </p:nvSpPr>
          <p:spPr>
            <a:xfrm flipV="1">
              <a:off x="5445453" y="3738767"/>
              <a:ext cx="214811" cy="46306"/>
            </a:xfrm>
            <a:custGeom>
              <a:avLst/>
              <a:gdLst>
                <a:gd name="connsiteX0" fmla="*/ 206889 w 214811"/>
                <a:gd name="connsiteY0" fmla="*/ 94 h 46306"/>
                <a:gd name="connsiteX1" fmla="*/ 205324 w 214811"/>
                <a:gd name="connsiteY1" fmla="*/ -5547 h 46306"/>
                <a:gd name="connsiteX2" fmla="*/ 184784 w 214811"/>
                <a:gd name="connsiteY2" fmla="*/ -3511 h 46306"/>
                <a:gd name="connsiteX3" fmla="*/ 89092 w 214811"/>
                <a:gd name="connsiteY3" fmla="*/ 1097 h 46306"/>
                <a:gd name="connsiteX4" fmla="*/ 73869 w 214811"/>
                <a:gd name="connsiteY4" fmla="*/ 2789 h 46306"/>
                <a:gd name="connsiteX5" fmla="*/ -6215 w 214811"/>
                <a:gd name="connsiteY5" fmla="*/ 14127 h 46306"/>
                <a:gd name="connsiteX6" fmla="*/ -3329 w 214811"/>
                <a:gd name="connsiteY6" fmla="*/ 40759 h 46306"/>
                <a:gd name="connsiteX7" fmla="*/ 75404 w 214811"/>
                <a:gd name="connsiteY7" fmla="*/ 29856 h 46306"/>
                <a:gd name="connsiteX8" fmla="*/ 90682 w 214811"/>
                <a:gd name="connsiteY8" fmla="*/ 28286 h 46306"/>
                <a:gd name="connsiteX9" fmla="*/ 206129 w 214811"/>
                <a:gd name="connsiteY9" fmla="*/ 27871 h 46306"/>
                <a:gd name="connsiteX10" fmla="*/ 206185 w 214811"/>
                <a:gd name="connsiteY10" fmla="*/ 27871 h 46306"/>
                <a:gd name="connsiteX11" fmla="*/ 206479 w 214811"/>
                <a:gd name="connsiteY11" fmla="*/ 27937 h 46306"/>
                <a:gd name="connsiteX12" fmla="*/ 206889 w 214811"/>
                <a:gd name="connsiteY12" fmla="*/ 94 h 46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4811" h="46306">
                  <a:moveTo>
                    <a:pt x="206889" y="94"/>
                  </a:moveTo>
                  <a:cubicBezTo>
                    <a:pt x="206463" y="-1724"/>
                    <a:pt x="205982" y="-3602"/>
                    <a:pt x="205324" y="-5547"/>
                  </a:cubicBezTo>
                  <a:lnTo>
                    <a:pt x="184784" y="-3511"/>
                  </a:lnTo>
                  <a:cubicBezTo>
                    <a:pt x="159833" y="-5203"/>
                    <a:pt x="123452" y="-2600"/>
                    <a:pt x="89092" y="1097"/>
                  </a:cubicBezTo>
                  <a:cubicBezTo>
                    <a:pt x="83942" y="1680"/>
                    <a:pt x="78847" y="2262"/>
                    <a:pt x="73869" y="2789"/>
                  </a:cubicBezTo>
                  <a:cubicBezTo>
                    <a:pt x="30368" y="7969"/>
                    <a:pt x="-6215" y="14127"/>
                    <a:pt x="-6215" y="14127"/>
                  </a:cubicBezTo>
                  <a:cubicBezTo>
                    <a:pt x="-5076" y="22969"/>
                    <a:pt x="-4174" y="31867"/>
                    <a:pt x="-3329" y="40759"/>
                  </a:cubicBezTo>
                  <a:cubicBezTo>
                    <a:pt x="-3329" y="40759"/>
                    <a:pt x="32373" y="34703"/>
                    <a:pt x="75404" y="29856"/>
                  </a:cubicBezTo>
                  <a:cubicBezTo>
                    <a:pt x="80437" y="29335"/>
                    <a:pt x="85527" y="28752"/>
                    <a:pt x="90682" y="28286"/>
                  </a:cubicBezTo>
                  <a:cubicBezTo>
                    <a:pt x="134284" y="23866"/>
                    <a:pt x="181811" y="21409"/>
                    <a:pt x="206129" y="27871"/>
                  </a:cubicBezTo>
                  <a:lnTo>
                    <a:pt x="206185" y="27871"/>
                  </a:lnTo>
                  <a:lnTo>
                    <a:pt x="206479" y="27937"/>
                  </a:lnTo>
                  <a:cubicBezTo>
                    <a:pt x="207096" y="26372"/>
                    <a:pt x="210661" y="16122"/>
                    <a:pt x="206889" y="94"/>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7" name="Freeform: Shape 436">
              <a:extLst>
                <a:ext uri="{FF2B5EF4-FFF2-40B4-BE49-F238E27FC236}">
                  <a16:creationId xmlns:a16="http://schemas.microsoft.com/office/drawing/2014/main" id="{7C541B89-7CE6-A725-76B5-BE22E2563181}"/>
                </a:ext>
              </a:extLst>
            </p:cNvPr>
            <p:cNvSpPr/>
            <p:nvPr/>
          </p:nvSpPr>
          <p:spPr>
            <a:xfrm flipV="1">
              <a:off x="5629640" y="3746202"/>
              <a:ext cx="33706" cy="40518"/>
            </a:xfrm>
            <a:custGeom>
              <a:avLst/>
              <a:gdLst>
                <a:gd name="connsiteX0" fmla="*/ 19710 w 33706"/>
                <a:gd name="connsiteY0" fmla="*/ 34967 h 40518"/>
                <a:gd name="connsiteX1" fmla="*/ -3063 w 33706"/>
                <a:gd name="connsiteY1" fmla="*/ 32941 h 40518"/>
                <a:gd name="connsiteX2" fmla="*/ -6350 w 33706"/>
                <a:gd name="connsiteY2" fmla="*/ 28662 h 40518"/>
                <a:gd name="connsiteX3" fmla="*/ -2572 w 33706"/>
                <a:gd name="connsiteY3" fmla="*/ -2250 h 40518"/>
                <a:gd name="connsiteX4" fmla="*/ 1707 w 33706"/>
                <a:gd name="connsiteY4" fmla="*/ -5536 h 40518"/>
                <a:gd name="connsiteX5" fmla="*/ 24126 w 33706"/>
                <a:gd name="connsiteY5" fmla="*/ -5009 h 40518"/>
                <a:gd name="connsiteX6" fmla="*/ 23134 w 33706"/>
                <a:gd name="connsiteY6" fmla="*/ 2556 h 40518"/>
                <a:gd name="connsiteX7" fmla="*/ 4599 w 33706"/>
                <a:gd name="connsiteY7" fmla="*/ 2085 h 40518"/>
                <a:gd name="connsiteX8" fmla="*/ 1687 w 33706"/>
                <a:gd name="connsiteY8" fmla="*/ 25674 h 40518"/>
                <a:gd name="connsiteX9" fmla="*/ 20703 w 33706"/>
                <a:gd name="connsiteY9" fmla="*/ 27396 h 40518"/>
                <a:gd name="connsiteX10" fmla="*/ 19710 w 33706"/>
                <a:gd name="connsiteY10" fmla="*/ 34967 h 4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06" h="40518">
                  <a:moveTo>
                    <a:pt x="19710" y="34967"/>
                  </a:moveTo>
                  <a:cubicBezTo>
                    <a:pt x="9749" y="34167"/>
                    <a:pt x="6903" y="33736"/>
                    <a:pt x="-3063" y="32941"/>
                  </a:cubicBezTo>
                  <a:cubicBezTo>
                    <a:pt x="-5135" y="32774"/>
                    <a:pt x="-6588" y="30632"/>
                    <a:pt x="-6350" y="28662"/>
                  </a:cubicBezTo>
                  <a:cubicBezTo>
                    <a:pt x="-4967" y="17004"/>
                    <a:pt x="-3955" y="9413"/>
                    <a:pt x="-2572" y="-2250"/>
                  </a:cubicBezTo>
                  <a:cubicBezTo>
                    <a:pt x="-2303" y="-4468"/>
                    <a:pt x="-339" y="-5572"/>
                    <a:pt x="1707" y="-5536"/>
                  </a:cubicBezTo>
                  <a:cubicBezTo>
                    <a:pt x="11532" y="-5394"/>
                    <a:pt x="14297" y="-5156"/>
                    <a:pt x="24126" y="-5009"/>
                  </a:cubicBezTo>
                  <a:cubicBezTo>
                    <a:pt x="29033" y="-4939"/>
                    <a:pt x="27990" y="2627"/>
                    <a:pt x="23134" y="2556"/>
                  </a:cubicBezTo>
                  <a:cubicBezTo>
                    <a:pt x="14605" y="2435"/>
                    <a:pt x="13137" y="2212"/>
                    <a:pt x="4599" y="2085"/>
                  </a:cubicBezTo>
                  <a:cubicBezTo>
                    <a:pt x="3505" y="11307"/>
                    <a:pt x="2786" y="16457"/>
                    <a:pt x="1687" y="25674"/>
                  </a:cubicBezTo>
                  <a:cubicBezTo>
                    <a:pt x="10402" y="26373"/>
                    <a:pt x="11987" y="26697"/>
                    <a:pt x="20703" y="27396"/>
                  </a:cubicBezTo>
                  <a:cubicBezTo>
                    <a:pt x="25610" y="27791"/>
                    <a:pt x="24592" y="35357"/>
                    <a:pt x="19710" y="34967"/>
                  </a:cubicBezTo>
                </a:path>
              </a:pathLst>
            </a:custGeom>
            <a:solidFill>
              <a:srgbClr val="6BB4DA"/>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8" name="Freeform: Shape 437">
              <a:extLst>
                <a:ext uri="{FF2B5EF4-FFF2-40B4-BE49-F238E27FC236}">
                  <a16:creationId xmlns:a16="http://schemas.microsoft.com/office/drawing/2014/main" id="{ECA448D7-2539-CC7E-26FE-05817E24EA20}"/>
                </a:ext>
              </a:extLst>
            </p:cNvPr>
            <p:cNvSpPr/>
            <p:nvPr/>
          </p:nvSpPr>
          <p:spPr>
            <a:xfrm flipV="1">
              <a:off x="5525020" y="3749645"/>
              <a:ext cx="17349" cy="36360"/>
            </a:xfrm>
            <a:custGeom>
              <a:avLst/>
              <a:gdLst>
                <a:gd name="connsiteX0" fmla="*/ 11168 w 17349"/>
                <a:gd name="connsiteY0" fmla="*/ 29222 h 36360"/>
                <a:gd name="connsiteX1" fmla="*/ 9547 w 17349"/>
                <a:gd name="connsiteY1" fmla="*/ 2073 h 36360"/>
                <a:gd name="connsiteX2" fmla="*/ 9111 w 17349"/>
                <a:gd name="connsiteY2" fmla="*/ -5534 h 36360"/>
                <a:gd name="connsiteX3" fmla="*/ -6182 w 17349"/>
                <a:gd name="connsiteY3" fmla="*/ -4663 h 36360"/>
                <a:gd name="connsiteX4" fmla="*/ -5681 w 17349"/>
                <a:gd name="connsiteY4" fmla="*/ 3759 h 36360"/>
                <a:gd name="connsiteX5" fmla="*/ -4106 w 17349"/>
                <a:gd name="connsiteY5" fmla="*/ 30827 h 36360"/>
                <a:gd name="connsiteX6" fmla="*/ 11168 w 17349"/>
                <a:gd name="connsiteY6" fmla="*/ 29222 h 3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49" h="36360">
                  <a:moveTo>
                    <a:pt x="11168" y="29222"/>
                  </a:moveTo>
                  <a:lnTo>
                    <a:pt x="9547" y="2073"/>
                  </a:lnTo>
                  <a:lnTo>
                    <a:pt x="9111" y="-5534"/>
                  </a:lnTo>
                  <a:lnTo>
                    <a:pt x="-6182" y="-4663"/>
                  </a:lnTo>
                  <a:lnTo>
                    <a:pt x="-5681" y="3759"/>
                  </a:lnTo>
                  <a:lnTo>
                    <a:pt x="-4106" y="30827"/>
                  </a:lnTo>
                  <a:cubicBezTo>
                    <a:pt x="887" y="30290"/>
                    <a:pt x="6007" y="29718"/>
                    <a:pt x="11168" y="29222"/>
                  </a:cubicBezTo>
                </a:path>
              </a:pathLst>
            </a:custGeom>
            <a:solidFill>
              <a:srgbClr val="6BB4DA"/>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9" name="Freeform: Shape 438">
              <a:extLst>
                <a:ext uri="{FF2B5EF4-FFF2-40B4-BE49-F238E27FC236}">
                  <a16:creationId xmlns:a16="http://schemas.microsoft.com/office/drawing/2014/main" id="{04FDA7F3-19A9-739E-A788-8176DF00E56D}"/>
                </a:ext>
              </a:extLst>
            </p:cNvPr>
            <p:cNvSpPr/>
            <p:nvPr/>
          </p:nvSpPr>
          <p:spPr>
            <a:xfrm flipV="1">
              <a:off x="6505700" y="2806465"/>
              <a:ext cx="285526" cy="478425"/>
            </a:xfrm>
            <a:custGeom>
              <a:avLst/>
              <a:gdLst>
                <a:gd name="connsiteX0" fmla="*/ 277436 w 285526"/>
                <a:gd name="connsiteY0" fmla="*/ 19813 h 478425"/>
                <a:gd name="connsiteX1" fmla="*/ 222546 w 285526"/>
                <a:gd name="connsiteY1" fmla="*/ -611 h 478425"/>
                <a:gd name="connsiteX2" fmla="*/ 106861 w 285526"/>
                <a:gd name="connsiteY2" fmla="*/ -2540 h 478425"/>
                <a:gd name="connsiteX3" fmla="*/ 79185 w 285526"/>
                <a:gd name="connsiteY3" fmla="*/ 3572 h 478425"/>
                <a:gd name="connsiteX4" fmla="*/ 47276 w 285526"/>
                <a:gd name="connsiteY4" fmla="*/ 136784 h 478425"/>
                <a:gd name="connsiteX5" fmla="*/ -8090 w 285526"/>
                <a:gd name="connsiteY5" fmla="*/ 380177 h 478425"/>
                <a:gd name="connsiteX6" fmla="*/ 6029 w 285526"/>
                <a:gd name="connsiteY6" fmla="*/ 393895 h 478425"/>
                <a:gd name="connsiteX7" fmla="*/ 22366 w 285526"/>
                <a:gd name="connsiteY7" fmla="*/ 407543 h 478425"/>
                <a:gd name="connsiteX8" fmla="*/ 87404 w 285526"/>
                <a:gd name="connsiteY8" fmla="*/ 462145 h 478425"/>
                <a:gd name="connsiteX9" fmla="*/ 90372 w 285526"/>
                <a:gd name="connsiteY9" fmla="*/ 462332 h 478425"/>
                <a:gd name="connsiteX10" fmla="*/ 200086 w 285526"/>
                <a:gd name="connsiteY10" fmla="*/ 470759 h 478425"/>
                <a:gd name="connsiteX11" fmla="*/ 209966 w 285526"/>
                <a:gd name="connsiteY11" fmla="*/ 471275 h 478425"/>
                <a:gd name="connsiteX12" fmla="*/ 277436 w 285526"/>
                <a:gd name="connsiteY12" fmla="*/ 19813 h 47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526" h="478425">
                  <a:moveTo>
                    <a:pt x="277436" y="19813"/>
                  </a:moveTo>
                  <a:cubicBezTo>
                    <a:pt x="259499" y="10085"/>
                    <a:pt x="240904" y="3598"/>
                    <a:pt x="222546" y="-611"/>
                  </a:cubicBezTo>
                  <a:cubicBezTo>
                    <a:pt x="177318" y="-10916"/>
                    <a:pt x="133857" y="-7037"/>
                    <a:pt x="106861" y="-2540"/>
                  </a:cubicBezTo>
                  <a:cubicBezTo>
                    <a:pt x="89739" y="382"/>
                    <a:pt x="79185" y="3572"/>
                    <a:pt x="79185" y="3572"/>
                  </a:cubicBezTo>
                  <a:cubicBezTo>
                    <a:pt x="71088" y="51408"/>
                    <a:pt x="59739" y="96322"/>
                    <a:pt x="47276" y="136784"/>
                  </a:cubicBezTo>
                  <a:lnTo>
                    <a:pt x="-8090" y="380177"/>
                  </a:lnTo>
                  <a:lnTo>
                    <a:pt x="6029" y="393895"/>
                  </a:lnTo>
                  <a:lnTo>
                    <a:pt x="22366" y="407543"/>
                  </a:lnTo>
                  <a:lnTo>
                    <a:pt x="87404" y="462145"/>
                  </a:lnTo>
                  <a:lnTo>
                    <a:pt x="90372" y="462332"/>
                  </a:lnTo>
                  <a:lnTo>
                    <a:pt x="200086" y="470759"/>
                  </a:lnTo>
                  <a:cubicBezTo>
                    <a:pt x="203398" y="471012"/>
                    <a:pt x="206654" y="471144"/>
                    <a:pt x="209966" y="471275"/>
                  </a:cubicBezTo>
                  <a:lnTo>
                    <a:pt x="277436" y="19813"/>
                  </a:lnTo>
                </a:path>
              </a:pathLst>
            </a:custGeom>
            <a:solidFill>
              <a:srgbClr val="4DA5C3">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0" name="Freeform: Shape 439">
              <a:extLst>
                <a:ext uri="{FF2B5EF4-FFF2-40B4-BE49-F238E27FC236}">
                  <a16:creationId xmlns:a16="http://schemas.microsoft.com/office/drawing/2014/main" id="{4AC4F11B-C355-6529-A1B6-527F99EE95FA}"/>
                </a:ext>
              </a:extLst>
            </p:cNvPr>
            <p:cNvSpPr/>
            <p:nvPr/>
          </p:nvSpPr>
          <p:spPr>
            <a:xfrm flipV="1">
              <a:off x="6471640" y="4103349"/>
              <a:ext cx="191336" cy="135084"/>
            </a:xfrm>
            <a:custGeom>
              <a:avLst/>
              <a:gdLst>
                <a:gd name="connsiteX0" fmla="*/ -630 w 191336"/>
                <a:gd name="connsiteY0" fmla="*/ -2825 h 135084"/>
                <a:gd name="connsiteX1" fmla="*/ 12461 w 191336"/>
                <a:gd name="connsiteY1" fmla="*/ -4613 h 135084"/>
                <a:gd name="connsiteX2" fmla="*/ 183386 w 191336"/>
                <a:gd name="connsiteY2" fmla="*/ 13826 h 135084"/>
                <a:gd name="connsiteX3" fmla="*/ 159341 w 191336"/>
                <a:gd name="connsiteY3" fmla="*/ 130453 h 135084"/>
                <a:gd name="connsiteX4" fmla="*/ 99832 w 191336"/>
                <a:gd name="connsiteY4" fmla="*/ 117185 h 135084"/>
                <a:gd name="connsiteX5" fmla="*/ 5604 w 191336"/>
                <a:gd name="connsiteY5" fmla="*/ 27838 h 135084"/>
                <a:gd name="connsiteX6" fmla="*/ -7831 w 191336"/>
                <a:gd name="connsiteY6" fmla="*/ 18029 h 135084"/>
                <a:gd name="connsiteX7" fmla="*/ -630 w 191336"/>
                <a:gd name="connsiteY7" fmla="*/ -2825 h 13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336" h="135084">
                  <a:moveTo>
                    <a:pt x="-630" y="-2825"/>
                  </a:moveTo>
                  <a:cubicBezTo>
                    <a:pt x="3381" y="-4699"/>
                    <a:pt x="8025" y="-4674"/>
                    <a:pt x="12461" y="-4613"/>
                  </a:cubicBezTo>
                  <a:cubicBezTo>
                    <a:pt x="60844" y="-3823"/>
                    <a:pt x="135950" y="4330"/>
                    <a:pt x="183386" y="13826"/>
                  </a:cubicBezTo>
                  <a:cubicBezTo>
                    <a:pt x="183386" y="13826"/>
                    <a:pt x="166466" y="85736"/>
                    <a:pt x="159341" y="130453"/>
                  </a:cubicBezTo>
                  <a:lnTo>
                    <a:pt x="99832" y="117185"/>
                  </a:lnTo>
                  <a:cubicBezTo>
                    <a:pt x="92910" y="71911"/>
                    <a:pt x="49404" y="41202"/>
                    <a:pt x="5604" y="27838"/>
                  </a:cubicBezTo>
                  <a:cubicBezTo>
                    <a:pt x="-2" y="26137"/>
                    <a:pt x="-6752" y="23792"/>
                    <a:pt x="-7831" y="18029"/>
                  </a:cubicBezTo>
                  <a:cubicBezTo>
                    <a:pt x="-8702" y="13679"/>
                    <a:pt x="-4691" y="-952"/>
                    <a:pt x="-630" y="-2825"/>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1" name="Freeform: Shape 440">
              <a:extLst>
                <a:ext uri="{FF2B5EF4-FFF2-40B4-BE49-F238E27FC236}">
                  <a16:creationId xmlns:a16="http://schemas.microsoft.com/office/drawing/2014/main" id="{72F3EC65-46BD-3F5B-92ED-1F59D3FE47C3}"/>
                </a:ext>
              </a:extLst>
            </p:cNvPr>
            <p:cNvSpPr/>
            <p:nvPr/>
          </p:nvSpPr>
          <p:spPr>
            <a:xfrm flipV="1">
              <a:off x="7015658" y="4021077"/>
              <a:ext cx="135726" cy="161938"/>
            </a:xfrm>
            <a:custGeom>
              <a:avLst/>
              <a:gdLst>
                <a:gd name="connsiteX0" fmla="*/ -8835 w 135726"/>
                <a:gd name="connsiteY0" fmla="*/ 147161 h 161938"/>
                <a:gd name="connsiteX1" fmla="*/ 10308 w 135726"/>
                <a:gd name="connsiteY1" fmla="*/ 12896 h 161938"/>
                <a:gd name="connsiteX2" fmla="*/ 9295 w 135726"/>
                <a:gd name="connsiteY2" fmla="*/ -1324 h 161938"/>
                <a:gd name="connsiteX3" fmla="*/ 17347 w 135726"/>
                <a:gd name="connsiteY3" fmla="*/ -3897 h 161938"/>
                <a:gd name="connsiteX4" fmla="*/ 112401 w 135726"/>
                <a:gd name="connsiteY4" fmla="*/ 2135 h 161938"/>
                <a:gd name="connsiteX5" fmla="*/ 125365 w 135726"/>
                <a:gd name="connsiteY5" fmla="*/ 8931 h 161938"/>
                <a:gd name="connsiteX6" fmla="*/ 124960 w 135726"/>
                <a:gd name="connsiteY6" fmla="*/ 23925 h 161938"/>
                <a:gd name="connsiteX7" fmla="*/ 48441 w 135726"/>
                <a:gd name="connsiteY7" fmla="*/ 157153 h 161938"/>
                <a:gd name="connsiteX8" fmla="*/ -8835 w 135726"/>
                <a:gd name="connsiteY8" fmla="*/ 147161 h 16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726" h="161938">
                  <a:moveTo>
                    <a:pt x="-8835" y="147161"/>
                  </a:moveTo>
                  <a:cubicBezTo>
                    <a:pt x="8080" y="100531"/>
                    <a:pt x="33249" y="57648"/>
                    <a:pt x="10308" y="12896"/>
                  </a:cubicBezTo>
                  <a:cubicBezTo>
                    <a:pt x="7928" y="8308"/>
                    <a:pt x="5598" y="2282"/>
                    <a:pt x="9295" y="-1324"/>
                  </a:cubicBezTo>
                  <a:cubicBezTo>
                    <a:pt x="11321" y="-3279"/>
                    <a:pt x="14460" y="-3664"/>
                    <a:pt x="17347" y="-3897"/>
                  </a:cubicBezTo>
                  <a:cubicBezTo>
                    <a:pt x="45808" y="-6191"/>
                    <a:pt x="84396" y="-3998"/>
                    <a:pt x="112401" y="2135"/>
                  </a:cubicBezTo>
                  <a:cubicBezTo>
                    <a:pt x="117313" y="3223"/>
                    <a:pt x="122731" y="4783"/>
                    <a:pt x="125365" y="8931"/>
                  </a:cubicBezTo>
                  <a:cubicBezTo>
                    <a:pt x="128150" y="13392"/>
                    <a:pt x="126580" y="19018"/>
                    <a:pt x="124960" y="23925"/>
                  </a:cubicBezTo>
                  <a:cubicBezTo>
                    <a:pt x="109058" y="71777"/>
                    <a:pt x="64393" y="109302"/>
                    <a:pt x="48441" y="157153"/>
                  </a:cubicBezTo>
                  <a:cubicBezTo>
                    <a:pt x="30311" y="154960"/>
                    <a:pt x="7624" y="154925"/>
                    <a:pt x="-8835" y="147161"/>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2" name="Freeform: Shape 441">
              <a:extLst>
                <a:ext uri="{FF2B5EF4-FFF2-40B4-BE49-F238E27FC236}">
                  <a16:creationId xmlns:a16="http://schemas.microsoft.com/office/drawing/2014/main" id="{4C46E23C-7D68-C577-D2FB-ACD1F2477BCB}"/>
                </a:ext>
              </a:extLst>
            </p:cNvPr>
            <p:cNvSpPr/>
            <p:nvPr/>
          </p:nvSpPr>
          <p:spPr>
            <a:xfrm flipV="1">
              <a:off x="6447209" y="3225062"/>
              <a:ext cx="665375" cy="897044"/>
            </a:xfrm>
            <a:custGeom>
              <a:avLst/>
              <a:gdLst>
                <a:gd name="connsiteX0" fmla="*/ 657061 w 665375"/>
                <a:gd name="connsiteY0" fmla="*/ 81910 h 897044"/>
                <a:gd name="connsiteX1" fmla="*/ 632855 w 665375"/>
                <a:gd name="connsiteY1" fmla="*/ 62777 h 897044"/>
                <a:gd name="connsiteX2" fmla="*/ 575832 w 665375"/>
                <a:gd name="connsiteY2" fmla="*/ 44805 h 897044"/>
                <a:gd name="connsiteX3" fmla="*/ 561349 w 665375"/>
                <a:gd name="connsiteY3" fmla="*/ 43478 h 897044"/>
                <a:gd name="connsiteX4" fmla="*/ 321992 w 665375"/>
                <a:gd name="connsiteY4" fmla="*/ 395537 h 897044"/>
                <a:gd name="connsiteX5" fmla="*/ 293932 w 665375"/>
                <a:gd name="connsiteY5" fmla="*/ 463234 h 897044"/>
                <a:gd name="connsiteX6" fmla="*/ 248811 w 665375"/>
                <a:gd name="connsiteY6" fmla="*/ 732068 h 897044"/>
                <a:gd name="connsiteX7" fmla="*/ 248132 w 665375"/>
                <a:gd name="connsiteY7" fmla="*/ 736013 h 897044"/>
                <a:gd name="connsiteX8" fmla="*/ 246648 w 665375"/>
                <a:gd name="connsiteY8" fmla="*/ 732311 h 897044"/>
                <a:gd name="connsiteX9" fmla="*/ 129480 w 665375"/>
                <a:gd name="connsiteY9" fmla="*/ 437878 h 897044"/>
                <a:gd name="connsiteX10" fmla="*/ 202555 w 665375"/>
                <a:gd name="connsiteY10" fmla="*/ 15823 h 897044"/>
                <a:gd name="connsiteX11" fmla="*/ 184633 w 665375"/>
                <a:gd name="connsiteY11" fmla="*/ 5335 h 897044"/>
                <a:gd name="connsiteX12" fmla="*/ 122886 w 665375"/>
                <a:gd name="connsiteY12" fmla="*/ -5350 h 897044"/>
                <a:gd name="connsiteX13" fmla="*/ 106058 w 665375"/>
                <a:gd name="connsiteY13" fmla="*/ -2834 h 897044"/>
                <a:gd name="connsiteX14" fmla="*/ -2634 w 665375"/>
                <a:gd name="connsiteY14" fmla="*/ 411524 h 897044"/>
                <a:gd name="connsiteX15" fmla="*/ 668 w 665375"/>
                <a:gd name="connsiteY15" fmla="*/ 497351 h 897044"/>
                <a:gd name="connsiteX16" fmla="*/ 137506 w 665375"/>
                <a:gd name="connsiteY16" fmla="*/ 842193 h 897044"/>
                <a:gd name="connsiteX17" fmla="*/ 153919 w 665375"/>
                <a:gd name="connsiteY17" fmla="*/ 857532 h 897044"/>
                <a:gd name="connsiteX18" fmla="*/ 199537 w 665375"/>
                <a:gd name="connsiteY18" fmla="*/ 853238 h 897044"/>
                <a:gd name="connsiteX19" fmla="*/ 201162 w 665375"/>
                <a:gd name="connsiteY19" fmla="*/ 856241 h 897044"/>
                <a:gd name="connsiteX20" fmla="*/ 206520 w 665375"/>
                <a:gd name="connsiteY20" fmla="*/ 858408 h 897044"/>
                <a:gd name="connsiteX21" fmla="*/ 232606 w 665375"/>
                <a:gd name="connsiteY21" fmla="*/ 858312 h 897044"/>
                <a:gd name="connsiteX22" fmla="*/ 239092 w 665375"/>
                <a:gd name="connsiteY22" fmla="*/ 854737 h 897044"/>
                <a:gd name="connsiteX23" fmla="*/ 343940 w 665375"/>
                <a:gd name="connsiteY23" fmla="*/ 889770 h 897044"/>
                <a:gd name="connsiteX24" fmla="*/ 379820 w 665375"/>
                <a:gd name="connsiteY24" fmla="*/ 891300 h 897044"/>
                <a:gd name="connsiteX25" fmla="*/ 433429 w 665375"/>
                <a:gd name="connsiteY25" fmla="*/ 455293 h 897044"/>
                <a:gd name="connsiteX26" fmla="*/ 657061 w 665375"/>
                <a:gd name="connsiteY26" fmla="*/ 81910 h 89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5375" h="897044">
                  <a:moveTo>
                    <a:pt x="657061" y="81910"/>
                  </a:moveTo>
                  <a:cubicBezTo>
                    <a:pt x="650022" y="74004"/>
                    <a:pt x="641666" y="67755"/>
                    <a:pt x="632855" y="62777"/>
                  </a:cubicBezTo>
                  <a:cubicBezTo>
                    <a:pt x="612648" y="51423"/>
                    <a:pt x="590113" y="46704"/>
                    <a:pt x="575832" y="44805"/>
                  </a:cubicBezTo>
                  <a:cubicBezTo>
                    <a:pt x="567021" y="43609"/>
                    <a:pt x="561349" y="43478"/>
                    <a:pt x="561349" y="43478"/>
                  </a:cubicBezTo>
                  <a:lnTo>
                    <a:pt x="321992" y="395537"/>
                  </a:lnTo>
                  <a:cubicBezTo>
                    <a:pt x="306805" y="415216"/>
                    <a:pt x="297128" y="438566"/>
                    <a:pt x="293932" y="463234"/>
                  </a:cubicBezTo>
                  <a:lnTo>
                    <a:pt x="248811" y="732068"/>
                  </a:lnTo>
                  <a:lnTo>
                    <a:pt x="248132" y="736013"/>
                  </a:lnTo>
                  <a:lnTo>
                    <a:pt x="246648" y="732311"/>
                  </a:lnTo>
                  <a:lnTo>
                    <a:pt x="129480" y="437878"/>
                  </a:lnTo>
                  <a:lnTo>
                    <a:pt x="202555" y="15823"/>
                  </a:lnTo>
                  <a:cubicBezTo>
                    <a:pt x="196660" y="11554"/>
                    <a:pt x="190629" y="8095"/>
                    <a:pt x="184633" y="5335"/>
                  </a:cubicBezTo>
                  <a:cubicBezTo>
                    <a:pt x="161135" y="-5685"/>
                    <a:pt x="137931" y="-6515"/>
                    <a:pt x="122886" y="-5350"/>
                  </a:cubicBezTo>
                  <a:cubicBezTo>
                    <a:pt x="112504" y="-4601"/>
                    <a:pt x="106058" y="-2834"/>
                    <a:pt x="106058" y="-2834"/>
                  </a:cubicBezTo>
                  <a:lnTo>
                    <a:pt x="-2634" y="411524"/>
                  </a:lnTo>
                  <a:cubicBezTo>
                    <a:pt x="-11212" y="439736"/>
                    <a:pt x="-10048" y="469974"/>
                    <a:pt x="668" y="497351"/>
                  </a:cubicBezTo>
                  <a:lnTo>
                    <a:pt x="137506" y="842193"/>
                  </a:lnTo>
                  <a:cubicBezTo>
                    <a:pt x="139704" y="847951"/>
                    <a:pt x="145462" y="853086"/>
                    <a:pt x="153919" y="857532"/>
                  </a:cubicBezTo>
                  <a:cubicBezTo>
                    <a:pt x="165369" y="855648"/>
                    <a:pt x="181134" y="853684"/>
                    <a:pt x="199537" y="853238"/>
                  </a:cubicBezTo>
                  <a:cubicBezTo>
                    <a:pt x="199805" y="854347"/>
                    <a:pt x="200367" y="855410"/>
                    <a:pt x="201162" y="856241"/>
                  </a:cubicBezTo>
                  <a:cubicBezTo>
                    <a:pt x="202580" y="857730"/>
                    <a:pt x="204484" y="858535"/>
                    <a:pt x="206520" y="858408"/>
                  </a:cubicBezTo>
                  <a:cubicBezTo>
                    <a:pt x="212699" y="858140"/>
                    <a:pt x="224290" y="857826"/>
                    <a:pt x="232606" y="858312"/>
                  </a:cubicBezTo>
                  <a:cubicBezTo>
                    <a:pt x="235396" y="858434"/>
                    <a:pt x="237817" y="856975"/>
                    <a:pt x="239092" y="854737"/>
                  </a:cubicBezTo>
                  <a:cubicBezTo>
                    <a:pt x="272430" y="858130"/>
                    <a:pt x="309520" y="867838"/>
                    <a:pt x="343940" y="889770"/>
                  </a:cubicBezTo>
                  <a:cubicBezTo>
                    <a:pt x="365569" y="890971"/>
                    <a:pt x="379820" y="891300"/>
                    <a:pt x="379820" y="891300"/>
                  </a:cubicBezTo>
                  <a:cubicBezTo>
                    <a:pt x="451331" y="827704"/>
                    <a:pt x="433429" y="455293"/>
                    <a:pt x="433429" y="455293"/>
                  </a:cubicBezTo>
                  <a:lnTo>
                    <a:pt x="657061" y="81910"/>
                  </a:ln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3" name="Freeform: Shape 442">
              <a:extLst>
                <a:ext uri="{FF2B5EF4-FFF2-40B4-BE49-F238E27FC236}">
                  <a16:creationId xmlns:a16="http://schemas.microsoft.com/office/drawing/2014/main" id="{6F512936-6BCB-258B-0DBE-857EC56E148C}"/>
                </a:ext>
              </a:extLst>
            </p:cNvPr>
            <p:cNvSpPr/>
            <p:nvPr/>
          </p:nvSpPr>
          <p:spPr>
            <a:xfrm flipV="1">
              <a:off x="6589430" y="3201746"/>
              <a:ext cx="245914" cy="83113"/>
            </a:xfrm>
            <a:custGeom>
              <a:avLst/>
              <a:gdLst>
                <a:gd name="connsiteX0" fmla="*/ 237715 w 245914"/>
                <a:gd name="connsiteY0" fmla="*/ 53091 h 83113"/>
                <a:gd name="connsiteX1" fmla="*/ 99252 w 245914"/>
                <a:gd name="connsiteY1" fmla="*/ -5891 h 83113"/>
                <a:gd name="connsiteX2" fmla="*/ 59209 w 245914"/>
                <a:gd name="connsiteY2" fmla="*/ -6180 h 83113"/>
                <a:gd name="connsiteX3" fmla="*/ -4599 w 245914"/>
                <a:gd name="connsiteY3" fmla="*/ 3984 h 83113"/>
                <a:gd name="connsiteX4" fmla="*/ -4655 w 245914"/>
                <a:gd name="connsiteY4" fmla="*/ 3979 h 83113"/>
                <a:gd name="connsiteX5" fmla="*/ -8199 w 245914"/>
                <a:gd name="connsiteY5" fmla="*/ 23517 h 83113"/>
                <a:gd name="connsiteX6" fmla="*/ -8199 w 245914"/>
                <a:gd name="connsiteY6" fmla="*/ 23577 h 83113"/>
                <a:gd name="connsiteX7" fmla="*/ 11814 w 245914"/>
                <a:gd name="connsiteY7" fmla="*/ 19323 h 83113"/>
                <a:gd name="connsiteX8" fmla="*/ 57432 w 245914"/>
                <a:gd name="connsiteY8" fmla="*/ 15029 h 83113"/>
                <a:gd name="connsiteX9" fmla="*/ 96988 w 245914"/>
                <a:gd name="connsiteY9" fmla="*/ 16528 h 83113"/>
                <a:gd name="connsiteX10" fmla="*/ 201835 w 245914"/>
                <a:gd name="connsiteY10" fmla="*/ 51562 h 83113"/>
                <a:gd name="connsiteX11" fmla="*/ 233800 w 245914"/>
                <a:gd name="connsiteY11" fmla="*/ 76406 h 83113"/>
                <a:gd name="connsiteX12" fmla="*/ 237715 w 245914"/>
                <a:gd name="connsiteY12" fmla="*/ 53091 h 8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914" h="83113">
                  <a:moveTo>
                    <a:pt x="237715" y="53091"/>
                  </a:moveTo>
                  <a:cubicBezTo>
                    <a:pt x="196179" y="11783"/>
                    <a:pt x="144353" y="-2690"/>
                    <a:pt x="99252" y="-5891"/>
                  </a:cubicBezTo>
                  <a:cubicBezTo>
                    <a:pt x="85072" y="-6975"/>
                    <a:pt x="71510" y="-6884"/>
                    <a:pt x="59209" y="-6180"/>
                  </a:cubicBezTo>
                  <a:cubicBezTo>
                    <a:pt x="22778" y="-4053"/>
                    <a:pt x="-3135" y="3493"/>
                    <a:pt x="-4599" y="3984"/>
                  </a:cubicBezTo>
                  <a:lnTo>
                    <a:pt x="-4655" y="3979"/>
                  </a:lnTo>
                  <a:cubicBezTo>
                    <a:pt x="-5738" y="10537"/>
                    <a:pt x="-6938" y="17085"/>
                    <a:pt x="-8199" y="23517"/>
                  </a:cubicBezTo>
                  <a:lnTo>
                    <a:pt x="-8199" y="23577"/>
                  </a:lnTo>
                  <a:cubicBezTo>
                    <a:pt x="-8199" y="23577"/>
                    <a:pt x="-816" y="21481"/>
                    <a:pt x="11814" y="19323"/>
                  </a:cubicBezTo>
                  <a:cubicBezTo>
                    <a:pt x="23264" y="17440"/>
                    <a:pt x="39029" y="15475"/>
                    <a:pt x="57432" y="15029"/>
                  </a:cubicBezTo>
                  <a:cubicBezTo>
                    <a:pt x="69611" y="14669"/>
                    <a:pt x="82991" y="15039"/>
                    <a:pt x="96988" y="16528"/>
                  </a:cubicBezTo>
                  <a:cubicBezTo>
                    <a:pt x="130325" y="19921"/>
                    <a:pt x="167415" y="29629"/>
                    <a:pt x="201835" y="51562"/>
                  </a:cubicBezTo>
                  <a:cubicBezTo>
                    <a:pt x="212850" y="58515"/>
                    <a:pt x="223545" y="66739"/>
                    <a:pt x="233800" y="76406"/>
                  </a:cubicBezTo>
                  <a:lnTo>
                    <a:pt x="237715" y="53091"/>
                  </a:ln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4" name="Freeform: Shape 443">
              <a:extLst>
                <a:ext uri="{FF2B5EF4-FFF2-40B4-BE49-F238E27FC236}">
                  <a16:creationId xmlns:a16="http://schemas.microsoft.com/office/drawing/2014/main" id="{13D2E733-4AAE-8B44-5B10-DCE56F689627}"/>
                </a:ext>
              </a:extLst>
            </p:cNvPr>
            <p:cNvSpPr/>
            <p:nvPr/>
          </p:nvSpPr>
          <p:spPr>
            <a:xfrm flipV="1">
              <a:off x="6647978" y="3257940"/>
              <a:ext cx="49022" cy="32819"/>
            </a:xfrm>
            <a:custGeom>
              <a:avLst/>
              <a:gdLst>
                <a:gd name="connsiteX0" fmla="*/ 10513 w 49022"/>
                <a:gd name="connsiteY0" fmla="*/ 12181 h 32819"/>
                <a:gd name="connsiteX1" fmla="*/ 5449 w 49022"/>
                <a:gd name="connsiteY1" fmla="*/ 12125 h 32819"/>
                <a:gd name="connsiteX2" fmla="*/ 4704 w 49022"/>
                <a:gd name="connsiteY2" fmla="*/ 19149 h 32819"/>
                <a:gd name="connsiteX3" fmla="*/ 4978 w 49022"/>
                <a:gd name="connsiteY3" fmla="*/ 19914 h 32819"/>
                <a:gd name="connsiteX4" fmla="*/ 5490 w 49022"/>
                <a:gd name="connsiteY4" fmla="*/ 20218 h 32819"/>
                <a:gd name="connsiteX5" fmla="*/ 5672 w 49022"/>
                <a:gd name="connsiteY5" fmla="*/ 20223 h 32819"/>
                <a:gd name="connsiteX6" fmla="*/ 32395 w 49022"/>
                <a:gd name="connsiteY6" fmla="*/ 20086 h 32819"/>
                <a:gd name="connsiteX7" fmla="*/ 33403 w 49022"/>
                <a:gd name="connsiteY7" fmla="*/ 19235 h 32819"/>
                <a:gd name="connsiteX8" fmla="*/ 34867 w 49022"/>
                <a:gd name="connsiteY8" fmla="*/ 1106 h 32819"/>
                <a:gd name="connsiteX9" fmla="*/ 34076 w 49022"/>
                <a:gd name="connsiteY9" fmla="*/ 98 h 32819"/>
                <a:gd name="connsiteX10" fmla="*/ 7303 w 49022"/>
                <a:gd name="connsiteY10" fmla="*/ 58 h 32819"/>
                <a:gd name="connsiteX11" fmla="*/ 6583 w 49022"/>
                <a:gd name="connsiteY11" fmla="*/ 913 h 32819"/>
                <a:gd name="connsiteX12" fmla="*/ 6056 w 49022"/>
                <a:gd name="connsiteY12" fmla="*/ 6145 h 32819"/>
                <a:gd name="connsiteX13" fmla="*/ 10943 w 49022"/>
                <a:gd name="connsiteY13" fmla="*/ 6195 h 32819"/>
                <a:gd name="connsiteX14" fmla="*/ 11060 w 49022"/>
                <a:gd name="connsiteY14" fmla="*/ 6200 h 32819"/>
                <a:gd name="connsiteX15" fmla="*/ 13719 w 49022"/>
                <a:gd name="connsiteY15" fmla="*/ 9345 h 32819"/>
                <a:gd name="connsiteX16" fmla="*/ 10513 w 49022"/>
                <a:gd name="connsiteY16" fmla="*/ 12181 h 32819"/>
                <a:gd name="connsiteX17" fmla="*/ 39328 w 49022"/>
                <a:gd name="connsiteY17" fmla="*/ 19721 h 32819"/>
                <a:gd name="connsiteX18" fmla="*/ 38507 w 49022"/>
                <a:gd name="connsiteY18" fmla="*/ 22497 h 32819"/>
                <a:gd name="connsiteX19" fmla="*/ 32020 w 49022"/>
                <a:gd name="connsiteY19" fmla="*/ 26072 h 32819"/>
                <a:gd name="connsiteX20" fmla="*/ 5935 w 49022"/>
                <a:gd name="connsiteY20" fmla="*/ 26168 h 32819"/>
                <a:gd name="connsiteX21" fmla="*/ 577 w 49022"/>
                <a:gd name="connsiteY21" fmla="*/ 24001 h 32819"/>
                <a:gd name="connsiteX22" fmla="*/ -1048 w 49022"/>
                <a:gd name="connsiteY22" fmla="*/ 20998 h 32819"/>
                <a:gd name="connsiteX23" fmla="*/ -1276 w 49022"/>
                <a:gd name="connsiteY23" fmla="*/ 18491 h 32819"/>
                <a:gd name="connsiteX24" fmla="*/ -623 w 49022"/>
                <a:gd name="connsiteY24" fmla="*/ 12738 h 32819"/>
                <a:gd name="connsiteX25" fmla="*/ -4193 w 49022"/>
                <a:gd name="connsiteY25" fmla="*/ 13589 h 32819"/>
                <a:gd name="connsiteX26" fmla="*/ -7991 w 49022"/>
                <a:gd name="connsiteY26" fmla="*/ 11695 h 32819"/>
                <a:gd name="connsiteX27" fmla="*/ -6098 w 49022"/>
                <a:gd name="connsiteY27" fmla="*/ 7897 h 32819"/>
                <a:gd name="connsiteX28" fmla="*/ -10 w 49022"/>
                <a:gd name="connsiteY28" fmla="*/ 6585 h 32819"/>
                <a:gd name="connsiteX29" fmla="*/ 658 w 49022"/>
                <a:gd name="connsiteY29" fmla="*/ 311 h 32819"/>
                <a:gd name="connsiteX30" fmla="*/ 729 w 49022"/>
                <a:gd name="connsiteY30" fmla="*/ -211 h 32819"/>
                <a:gd name="connsiteX31" fmla="*/ 6447 w 49022"/>
                <a:gd name="connsiteY31" fmla="*/ -5842 h 32819"/>
                <a:gd name="connsiteX32" fmla="*/ 34623 w 49022"/>
                <a:gd name="connsiteY32" fmla="*/ -5883 h 32819"/>
                <a:gd name="connsiteX33" fmla="*/ 34684 w 49022"/>
                <a:gd name="connsiteY33" fmla="*/ -5883 h 32819"/>
                <a:gd name="connsiteX34" fmla="*/ 40771 w 49022"/>
                <a:gd name="connsiteY34" fmla="*/ 78 h 32819"/>
                <a:gd name="connsiteX35" fmla="*/ 40857 w 49022"/>
                <a:gd name="connsiteY35" fmla="*/ 1597 h 32819"/>
                <a:gd name="connsiteX36" fmla="*/ 39328 w 49022"/>
                <a:gd name="connsiteY36" fmla="*/ 19721 h 32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9022" h="32819">
                  <a:moveTo>
                    <a:pt x="10513" y="12181"/>
                  </a:moveTo>
                  <a:cubicBezTo>
                    <a:pt x="10513" y="12181"/>
                    <a:pt x="8300" y="12014"/>
                    <a:pt x="5449" y="12125"/>
                  </a:cubicBezTo>
                  <a:lnTo>
                    <a:pt x="4704" y="19149"/>
                  </a:lnTo>
                  <a:lnTo>
                    <a:pt x="4978" y="19914"/>
                  </a:lnTo>
                  <a:lnTo>
                    <a:pt x="5490" y="20218"/>
                  </a:lnTo>
                  <a:lnTo>
                    <a:pt x="5672" y="20223"/>
                  </a:lnTo>
                  <a:cubicBezTo>
                    <a:pt x="11961" y="19960"/>
                    <a:pt x="23791" y="19595"/>
                    <a:pt x="32395" y="20086"/>
                  </a:cubicBezTo>
                  <a:cubicBezTo>
                    <a:pt x="32912" y="20096"/>
                    <a:pt x="33332" y="19757"/>
                    <a:pt x="33403" y="19235"/>
                  </a:cubicBezTo>
                  <a:lnTo>
                    <a:pt x="34867" y="1106"/>
                  </a:lnTo>
                  <a:cubicBezTo>
                    <a:pt x="34942" y="584"/>
                    <a:pt x="34664" y="-3"/>
                    <a:pt x="34076" y="98"/>
                  </a:cubicBezTo>
                  <a:cubicBezTo>
                    <a:pt x="28040" y="-505"/>
                    <a:pt x="16590" y="-1239"/>
                    <a:pt x="7303" y="58"/>
                  </a:cubicBezTo>
                  <a:lnTo>
                    <a:pt x="6583" y="913"/>
                  </a:lnTo>
                  <a:lnTo>
                    <a:pt x="6056" y="6145"/>
                  </a:lnTo>
                  <a:cubicBezTo>
                    <a:pt x="8730" y="6089"/>
                    <a:pt x="10711" y="6190"/>
                    <a:pt x="10943" y="6195"/>
                  </a:cubicBezTo>
                  <a:lnTo>
                    <a:pt x="11060" y="6200"/>
                  </a:lnTo>
                  <a:cubicBezTo>
                    <a:pt x="12630" y="6352"/>
                    <a:pt x="13815" y="7775"/>
                    <a:pt x="13719" y="9345"/>
                  </a:cubicBezTo>
                  <a:cubicBezTo>
                    <a:pt x="13622" y="11032"/>
                    <a:pt x="12200" y="12282"/>
                    <a:pt x="10513" y="12181"/>
                  </a:cubicBezTo>
                  <a:close/>
                  <a:moveTo>
                    <a:pt x="39328" y="19721"/>
                  </a:moveTo>
                  <a:cubicBezTo>
                    <a:pt x="39247" y="20709"/>
                    <a:pt x="38933" y="21691"/>
                    <a:pt x="38507" y="22497"/>
                  </a:cubicBezTo>
                  <a:cubicBezTo>
                    <a:pt x="37231" y="24735"/>
                    <a:pt x="34811" y="26194"/>
                    <a:pt x="32020" y="26072"/>
                  </a:cubicBezTo>
                  <a:cubicBezTo>
                    <a:pt x="23705" y="25586"/>
                    <a:pt x="12114" y="25900"/>
                    <a:pt x="5935" y="26168"/>
                  </a:cubicBezTo>
                  <a:cubicBezTo>
                    <a:pt x="3899" y="26295"/>
                    <a:pt x="1995" y="25490"/>
                    <a:pt x="577" y="24001"/>
                  </a:cubicBezTo>
                  <a:cubicBezTo>
                    <a:pt x="-218" y="23170"/>
                    <a:pt x="-780" y="22107"/>
                    <a:pt x="-1048" y="20998"/>
                  </a:cubicBezTo>
                  <a:cubicBezTo>
                    <a:pt x="-1261" y="20177"/>
                    <a:pt x="-1357" y="19357"/>
                    <a:pt x="-1276" y="18491"/>
                  </a:cubicBezTo>
                  <a:lnTo>
                    <a:pt x="-623" y="12738"/>
                  </a:lnTo>
                  <a:cubicBezTo>
                    <a:pt x="-1848" y="12946"/>
                    <a:pt x="-3074" y="13209"/>
                    <a:pt x="-4193" y="13589"/>
                  </a:cubicBezTo>
                  <a:cubicBezTo>
                    <a:pt x="-5712" y="14136"/>
                    <a:pt x="-7444" y="13280"/>
                    <a:pt x="-7991" y="11695"/>
                  </a:cubicBezTo>
                  <a:cubicBezTo>
                    <a:pt x="-8472" y="10115"/>
                    <a:pt x="-7683" y="8444"/>
                    <a:pt x="-6098" y="7897"/>
                  </a:cubicBezTo>
                  <a:cubicBezTo>
                    <a:pt x="-4218" y="7244"/>
                    <a:pt x="-2056" y="6884"/>
                    <a:pt x="-10" y="6585"/>
                  </a:cubicBezTo>
                  <a:lnTo>
                    <a:pt x="658" y="311"/>
                  </a:lnTo>
                  <a:lnTo>
                    <a:pt x="729" y="-211"/>
                  </a:lnTo>
                  <a:cubicBezTo>
                    <a:pt x="1261" y="-3168"/>
                    <a:pt x="3585" y="-5442"/>
                    <a:pt x="6447" y="-5842"/>
                  </a:cubicBezTo>
                  <a:cubicBezTo>
                    <a:pt x="16378" y="-7240"/>
                    <a:pt x="28349" y="-6496"/>
                    <a:pt x="34623" y="-5883"/>
                  </a:cubicBezTo>
                  <a:lnTo>
                    <a:pt x="34684" y="-5883"/>
                  </a:lnTo>
                  <a:cubicBezTo>
                    <a:pt x="37880" y="-5579"/>
                    <a:pt x="40381" y="-3016"/>
                    <a:pt x="40771" y="78"/>
                  </a:cubicBezTo>
                  <a:cubicBezTo>
                    <a:pt x="40883" y="549"/>
                    <a:pt x="40928" y="1070"/>
                    <a:pt x="40857" y="1597"/>
                  </a:cubicBezTo>
                  <a:lnTo>
                    <a:pt x="39328" y="19721"/>
                  </a:lnTo>
                </a:path>
              </a:pathLst>
            </a:custGeom>
            <a:solidFill>
              <a:srgbClr val="FFFFFF"/>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5" name="Freeform: Shape 444">
              <a:extLst>
                <a:ext uri="{FF2B5EF4-FFF2-40B4-BE49-F238E27FC236}">
                  <a16:creationId xmlns:a16="http://schemas.microsoft.com/office/drawing/2014/main" id="{35B5E6FB-AE09-A2C1-420A-72F563B9F25B}"/>
                </a:ext>
              </a:extLst>
            </p:cNvPr>
            <p:cNvSpPr/>
            <p:nvPr/>
          </p:nvSpPr>
          <p:spPr>
            <a:xfrm flipV="1">
              <a:off x="6122721" y="2870208"/>
              <a:ext cx="518084" cy="481797"/>
            </a:xfrm>
            <a:custGeom>
              <a:avLst/>
              <a:gdLst>
                <a:gd name="connsiteX0" fmla="*/ 510451 w 518084"/>
                <a:gd name="connsiteY0" fmla="*/ -3352 h 481797"/>
                <a:gd name="connsiteX1" fmla="*/ 439973 w 518084"/>
                <a:gd name="connsiteY1" fmla="*/ 12747 h 481797"/>
                <a:gd name="connsiteX2" fmla="*/ 387650 w 518084"/>
                <a:gd name="connsiteY2" fmla="*/ 293827 h 481797"/>
                <a:gd name="connsiteX3" fmla="*/ 275080 w 518084"/>
                <a:gd name="connsiteY3" fmla="*/ 155753 h 481797"/>
                <a:gd name="connsiteX4" fmla="*/ 229255 w 518084"/>
                <a:gd name="connsiteY4" fmla="*/ 125657 h 481797"/>
                <a:gd name="connsiteX5" fmla="*/ 18759 w 518084"/>
                <a:gd name="connsiteY5" fmla="*/ 21999 h 481797"/>
                <a:gd name="connsiteX6" fmla="*/ -6618 w 518084"/>
                <a:gd name="connsiteY6" fmla="*/ 74555 h 481797"/>
                <a:gd name="connsiteX7" fmla="*/ 208153 w 518084"/>
                <a:gd name="connsiteY7" fmla="*/ 212613 h 481797"/>
                <a:gd name="connsiteX8" fmla="*/ 327119 w 518084"/>
                <a:gd name="connsiteY8" fmla="*/ 395616 h 481797"/>
                <a:gd name="connsiteX9" fmla="*/ 361120 w 518084"/>
                <a:gd name="connsiteY9" fmla="*/ 433658 h 481797"/>
                <a:gd name="connsiteX10" fmla="*/ 389469 w 518084"/>
                <a:gd name="connsiteY10" fmla="*/ 461125 h 481797"/>
                <a:gd name="connsiteX11" fmla="*/ 405775 w 518084"/>
                <a:gd name="connsiteY11" fmla="*/ 474794 h 481797"/>
                <a:gd name="connsiteX12" fmla="*/ 490316 w 518084"/>
                <a:gd name="connsiteY12" fmla="*/ 64741 h 481797"/>
                <a:gd name="connsiteX13" fmla="*/ 510451 w 518084"/>
                <a:gd name="connsiteY13" fmla="*/ -3352 h 48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084" h="481797">
                  <a:moveTo>
                    <a:pt x="510451" y="-3352"/>
                  </a:moveTo>
                  <a:cubicBezTo>
                    <a:pt x="510451" y="-3352"/>
                    <a:pt x="482396" y="-18448"/>
                    <a:pt x="439973" y="12747"/>
                  </a:cubicBezTo>
                  <a:cubicBezTo>
                    <a:pt x="439973" y="12747"/>
                    <a:pt x="430609" y="193461"/>
                    <a:pt x="387650" y="293827"/>
                  </a:cubicBezTo>
                  <a:lnTo>
                    <a:pt x="275080" y="155753"/>
                  </a:lnTo>
                  <a:cubicBezTo>
                    <a:pt x="261802" y="142987"/>
                    <a:pt x="246290" y="132767"/>
                    <a:pt x="229255" y="125657"/>
                  </a:cubicBezTo>
                  <a:lnTo>
                    <a:pt x="18759" y="21999"/>
                  </a:lnTo>
                  <a:cubicBezTo>
                    <a:pt x="-15414" y="37298"/>
                    <a:pt x="-6618" y="74555"/>
                    <a:pt x="-6618" y="74555"/>
                  </a:cubicBezTo>
                  <a:lnTo>
                    <a:pt x="208153" y="212613"/>
                  </a:lnTo>
                  <a:lnTo>
                    <a:pt x="327119" y="395616"/>
                  </a:lnTo>
                  <a:cubicBezTo>
                    <a:pt x="337531" y="409097"/>
                    <a:pt x="348884" y="421828"/>
                    <a:pt x="361120" y="433658"/>
                  </a:cubicBezTo>
                  <a:lnTo>
                    <a:pt x="389469" y="461125"/>
                  </a:lnTo>
                  <a:lnTo>
                    <a:pt x="405775" y="474794"/>
                  </a:lnTo>
                  <a:cubicBezTo>
                    <a:pt x="407158" y="463227"/>
                    <a:pt x="429136" y="282032"/>
                    <a:pt x="490316" y="64741"/>
                  </a:cubicBezTo>
                  <a:cubicBezTo>
                    <a:pt x="496590" y="42367"/>
                    <a:pt x="503300" y="19624"/>
                    <a:pt x="510451" y="-3352"/>
                  </a:cubicBezTo>
                </a:path>
              </a:pathLst>
            </a:custGeom>
            <a:solidFill>
              <a:srgbClr val="4DA5C3">
                <a:lumMod val="60000"/>
                <a:lumOff val="4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6" name="Freeform: Shape 445">
              <a:extLst>
                <a:ext uri="{FF2B5EF4-FFF2-40B4-BE49-F238E27FC236}">
                  <a16:creationId xmlns:a16="http://schemas.microsoft.com/office/drawing/2014/main" id="{54F200DB-82FC-AD55-43A3-EF8A733D51EC}"/>
                </a:ext>
              </a:extLst>
            </p:cNvPr>
            <p:cNvSpPr/>
            <p:nvPr/>
          </p:nvSpPr>
          <p:spPr>
            <a:xfrm flipV="1">
              <a:off x="6496918" y="2978975"/>
              <a:ext cx="25114" cy="76363"/>
            </a:xfrm>
            <a:custGeom>
              <a:avLst/>
              <a:gdLst>
                <a:gd name="connsiteX0" fmla="*/ 13341 w 25114"/>
                <a:gd name="connsiteY0" fmla="*/ -7213 h 76363"/>
                <a:gd name="connsiteX1" fmla="*/ 9554 w 25114"/>
                <a:gd name="connsiteY1" fmla="*/ -4746 h 76363"/>
                <a:gd name="connsiteX2" fmla="*/ -7826 w 25114"/>
                <a:gd name="connsiteY2" fmla="*/ 64678 h 76363"/>
                <a:gd name="connsiteX3" fmla="*/ -4302 w 25114"/>
                <a:gd name="connsiteY3" fmla="*/ 69124 h 76363"/>
                <a:gd name="connsiteX4" fmla="*/ 140 w 25114"/>
                <a:gd name="connsiteY4" fmla="*/ 65594 h 76363"/>
                <a:gd name="connsiteX5" fmla="*/ 16947 w 25114"/>
                <a:gd name="connsiteY5" fmla="*/ -1663 h 76363"/>
                <a:gd name="connsiteX6" fmla="*/ 14800 w 25114"/>
                <a:gd name="connsiteY6" fmla="*/ -6904 h 76363"/>
                <a:gd name="connsiteX7" fmla="*/ 13341 w 25114"/>
                <a:gd name="connsiteY7" fmla="*/ -7213 h 76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14" h="76363">
                  <a:moveTo>
                    <a:pt x="13341" y="-7213"/>
                  </a:moveTo>
                  <a:cubicBezTo>
                    <a:pt x="11742" y="-7248"/>
                    <a:pt x="10207" y="-6321"/>
                    <a:pt x="9554" y="-4746"/>
                  </a:cubicBezTo>
                  <a:cubicBezTo>
                    <a:pt x="9027" y="-3480"/>
                    <a:pt x="-3491" y="26808"/>
                    <a:pt x="-7826" y="64678"/>
                  </a:cubicBezTo>
                  <a:cubicBezTo>
                    <a:pt x="-8075" y="66881"/>
                    <a:pt x="-6500" y="68866"/>
                    <a:pt x="-4302" y="69124"/>
                  </a:cubicBezTo>
                  <a:cubicBezTo>
                    <a:pt x="-2064" y="69372"/>
                    <a:pt x="-109" y="67787"/>
                    <a:pt x="140" y="65594"/>
                  </a:cubicBezTo>
                  <a:cubicBezTo>
                    <a:pt x="4343" y="28900"/>
                    <a:pt x="16831" y="-1364"/>
                    <a:pt x="16947" y="-1663"/>
                  </a:cubicBezTo>
                  <a:cubicBezTo>
                    <a:pt x="17808" y="-3703"/>
                    <a:pt x="16841" y="-6053"/>
                    <a:pt x="14800" y="-6904"/>
                  </a:cubicBezTo>
                  <a:cubicBezTo>
                    <a:pt x="14319" y="-7101"/>
                    <a:pt x="13833" y="-7203"/>
                    <a:pt x="13341" y="-7213"/>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7" name="Freeform: Shape 446">
              <a:extLst>
                <a:ext uri="{FF2B5EF4-FFF2-40B4-BE49-F238E27FC236}">
                  <a16:creationId xmlns:a16="http://schemas.microsoft.com/office/drawing/2014/main" id="{BB338C71-9B20-5C22-A23E-E476BAD95088}"/>
                </a:ext>
              </a:extLst>
            </p:cNvPr>
            <p:cNvSpPr/>
            <p:nvPr/>
          </p:nvSpPr>
          <p:spPr>
            <a:xfrm flipV="1">
              <a:off x="6613257" y="2731714"/>
              <a:ext cx="601365" cy="604687"/>
            </a:xfrm>
            <a:custGeom>
              <a:avLst/>
              <a:gdLst>
                <a:gd name="connsiteX0" fmla="*/ 592522 w 601365"/>
                <a:gd name="connsiteY0" fmla="*/ 532245 h 604687"/>
                <a:gd name="connsiteX1" fmla="*/ 391122 w 601365"/>
                <a:gd name="connsiteY1" fmla="*/ 364516 h 604687"/>
                <a:gd name="connsiteX2" fmla="*/ 338571 w 601365"/>
                <a:gd name="connsiteY2" fmla="*/ 350737 h 604687"/>
                <a:gd name="connsiteX3" fmla="*/ 167201 w 601365"/>
                <a:gd name="connsiteY3" fmla="*/ 379855 h 604687"/>
                <a:gd name="connsiteX4" fmla="*/ 249594 w 601365"/>
                <a:gd name="connsiteY4" fmla="*/ 43764 h 604687"/>
                <a:gd name="connsiteX5" fmla="*/ 136421 w 601365"/>
                <a:gd name="connsiteY5" fmla="*/ -7176 h 604687"/>
                <a:gd name="connsiteX6" fmla="*/ 136370 w 601365"/>
                <a:gd name="connsiteY6" fmla="*/ -7080 h 604687"/>
                <a:gd name="connsiteX7" fmla="*/ -8544 w 601365"/>
                <a:gd name="connsiteY7" fmla="*/ 514531 h 604687"/>
                <a:gd name="connsiteX8" fmla="*/ 92054 w 601365"/>
                <a:gd name="connsiteY8" fmla="*/ 522228 h 604687"/>
                <a:gd name="connsiteX9" fmla="*/ 182399 w 601365"/>
                <a:gd name="connsiteY9" fmla="*/ 509877 h 604687"/>
                <a:gd name="connsiteX10" fmla="*/ 352928 w 601365"/>
                <a:gd name="connsiteY10" fmla="*/ 447983 h 604687"/>
                <a:gd name="connsiteX11" fmla="*/ 569278 w 601365"/>
                <a:gd name="connsiteY11" fmla="*/ 597512 h 604687"/>
                <a:gd name="connsiteX12" fmla="*/ 592522 w 601365"/>
                <a:gd name="connsiteY12" fmla="*/ 532245 h 60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1365" h="604687">
                  <a:moveTo>
                    <a:pt x="592522" y="532245"/>
                  </a:moveTo>
                  <a:lnTo>
                    <a:pt x="391122" y="364516"/>
                  </a:lnTo>
                  <a:cubicBezTo>
                    <a:pt x="376030" y="353198"/>
                    <a:pt x="357222" y="348271"/>
                    <a:pt x="338571" y="350737"/>
                  </a:cubicBezTo>
                  <a:lnTo>
                    <a:pt x="167201" y="379855"/>
                  </a:lnTo>
                  <a:cubicBezTo>
                    <a:pt x="201733" y="188801"/>
                    <a:pt x="249594" y="43764"/>
                    <a:pt x="249594" y="43764"/>
                  </a:cubicBezTo>
                  <a:cubicBezTo>
                    <a:pt x="207142" y="-699"/>
                    <a:pt x="136421" y="-7176"/>
                    <a:pt x="136421" y="-7176"/>
                  </a:cubicBezTo>
                  <a:lnTo>
                    <a:pt x="136370" y="-7080"/>
                  </a:lnTo>
                  <a:cubicBezTo>
                    <a:pt x="133509" y="-572"/>
                    <a:pt x="-6266" y="337129"/>
                    <a:pt x="-8544" y="514531"/>
                  </a:cubicBezTo>
                  <a:lnTo>
                    <a:pt x="92054" y="522228"/>
                  </a:lnTo>
                  <a:cubicBezTo>
                    <a:pt x="122682" y="524583"/>
                    <a:pt x="153508" y="520370"/>
                    <a:pt x="182399" y="509877"/>
                  </a:cubicBezTo>
                  <a:lnTo>
                    <a:pt x="352928" y="447983"/>
                  </a:lnTo>
                  <a:lnTo>
                    <a:pt x="569278" y="597512"/>
                  </a:lnTo>
                  <a:cubicBezTo>
                    <a:pt x="569278" y="597512"/>
                    <a:pt x="595915" y="594119"/>
                    <a:pt x="592522" y="532245"/>
                  </a:cubicBezTo>
                </a:path>
              </a:pathLst>
            </a:custGeom>
            <a:solidFill>
              <a:srgbClr val="4DA5C3">
                <a:lumMod val="60000"/>
                <a:lumOff val="4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8" name="Freeform: Shape 447">
              <a:extLst>
                <a:ext uri="{FF2B5EF4-FFF2-40B4-BE49-F238E27FC236}">
                  <a16:creationId xmlns:a16="http://schemas.microsoft.com/office/drawing/2014/main" id="{ECB0082E-AC07-4600-29F1-EC586A39A11D}"/>
                </a:ext>
              </a:extLst>
            </p:cNvPr>
            <p:cNvSpPr/>
            <p:nvPr/>
          </p:nvSpPr>
          <p:spPr>
            <a:xfrm flipV="1">
              <a:off x="6764988" y="3225513"/>
              <a:ext cx="80637" cy="29178"/>
            </a:xfrm>
            <a:custGeom>
              <a:avLst/>
              <a:gdLst>
                <a:gd name="connsiteX0" fmla="*/ 55906 w 80637"/>
                <a:gd name="connsiteY0" fmla="*/ -6690 h 29178"/>
                <a:gd name="connsiteX1" fmla="*/ -6940 w 80637"/>
                <a:gd name="connsiteY1" fmla="*/ 15395 h 29178"/>
                <a:gd name="connsiteX2" fmla="*/ -7406 w 80637"/>
                <a:gd name="connsiteY2" fmla="*/ 21046 h 29178"/>
                <a:gd name="connsiteX3" fmla="*/ -1760 w 80637"/>
                <a:gd name="connsiteY3" fmla="*/ 21512 h 29178"/>
                <a:gd name="connsiteX4" fmla="*/ 67599 w 80637"/>
                <a:gd name="connsiteY4" fmla="*/ 2456 h 29178"/>
                <a:gd name="connsiteX5" fmla="*/ 72222 w 80637"/>
                <a:gd name="connsiteY5" fmla="*/ -831 h 29178"/>
                <a:gd name="connsiteX6" fmla="*/ 68930 w 80637"/>
                <a:gd name="connsiteY6" fmla="*/ -5449 h 29178"/>
                <a:gd name="connsiteX7" fmla="*/ 55906 w 80637"/>
                <a:gd name="connsiteY7" fmla="*/ -6690 h 29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637" h="29178">
                  <a:moveTo>
                    <a:pt x="55906" y="-6690"/>
                  </a:moveTo>
                  <a:cubicBezTo>
                    <a:pt x="33203" y="-7217"/>
                    <a:pt x="10440" y="643"/>
                    <a:pt x="-6940" y="15395"/>
                  </a:cubicBezTo>
                  <a:cubicBezTo>
                    <a:pt x="-8632" y="16828"/>
                    <a:pt x="-8839" y="19360"/>
                    <a:pt x="-7406" y="21046"/>
                  </a:cubicBezTo>
                  <a:cubicBezTo>
                    <a:pt x="-5968" y="22748"/>
                    <a:pt x="-3441" y="22935"/>
                    <a:pt x="-1760" y="21512"/>
                  </a:cubicBezTo>
                  <a:cubicBezTo>
                    <a:pt x="17185" y="5434"/>
                    <a:pt x="43114" y="-1671"/>
                    <a:pt x="67599" y="2456"/>
                  </a:cubicBezTo>
                  <a:cubicBezTo>
                    <a:pt x="69746" y="2785"/>
                    <a:pt x="71848" y="1357"/>
                    <a:pt x="72222" y="-831"/>
                  </a:cubicBezTo>
                  <a:cubicBezTo>
                    <a:pt x="72592" y="-3008"/>
                    <a:pt x="71118" y="-5079"/>
                    <a:pt x="68930" y="-5449"/>
                  </a:cubicBezTo>
                  <a:cubicBezTo>
                    <a:pt x="64621" y="-6184"/>
                    <a:pt x="60266" y="-6589"/>
                    <a:pt x="55906" y="-6690"/>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9" name="Freeform: Shape 448">
              <a:extLst>
                <a:ext uri="{FF2B5EF4-FFF2-40B4-BE49-F238E27FC236}">
                  <a16:creationId xmlns:a16="http://schemas.microsoft.com/office/drawing/2014/main" id="{5632AE76-F682-F465-BBBD-C3535A37EF16}"/>
                </a:ext>
              </a:extLst>
            </p:cNvPr>
            <p:cNvSpPr/>
            <p:nvPr/>
          </p:nvSpPr>
          <p:spPr>
            <a:xfrm flipV="1">
              <a:off x="6624968" y="2831413"/>
              <a:ext cx="96793" cy="357906"/>
            </a:xfrm>
            <a:custGeom>
              <a:avLst/>
              <a:gdLst>
                <a:gd name="connsiteX0" fmla="*/ 84736 w 96793"/>
                <a:gd name="connsiteY0" fmla="*/ -7228 h 357906"/>
                <a:gd name="connsiteX1" fmla="*/ 80775 w 96793"/>
                <a:gd name="connsiteY1" fmla="*/ -4245 h 357906"/>
                <a:gd name="connsiteX2" fmla="*/ 53151 w 96793"/>
                <a:gd name="connsiteY2" fmla="*/ 242079 h 357906"/>
                <a:gd name="connsiteX3" fmla="*/ 33643 w 96793"/>
                <a:gd name="connsiteY3" fmla="*/ 250541 h 357906"/>
                <a:gd name="connsiteX4" fmla="*/ 11609 w 96793"/>
                <a:gd name="connsiteY4" fmla="*/ 260097 h 357906"/>
                <a:gd name="connsiteX5" fmla="*/ 7989 w 96793"/>
                <a:gd name="connsiteY5" fmla="*/ 261682 h 357906"/>
                <a:gd name="connsiteX6" fmla="*/ 34722 w 96793"/>
                <a:gd name="connsiteY6" fmla="*/ 325075 h 357906"/>
                <a:gd name="connsiteX7" fmla="*/ -5740 w 96793"/>
                <a:gd name="connsiteY7" fmla="*/ 342997 h 357906"/>
                <a:gd name="connsiteX8" fmla="*/ -7791 w 96793"/>
                <a:gd name="connsiteY8" fmla="*/ 348284 h 357906"/>
                <a:gd name="connsiteX9" fmla="*/ -2499 w 96793"/>
                <a:gd name="connsiteY9" fmla="*/ 350330 h 357906"/>
                <a:gd name="connsiteX10" fmla="*/ 45175 w 96793"/>
                <a:gd name="connsiteY10" fmla="*/ 329213 h 357906"/>
                <a:gd name="connsiteX11" fmla="*/ 18451 w 96793"/>
                <a:gd name="connsiteY11" fmla="*/ 265860 h 357906"/>
                <a:gd name="connsiteX12" fmla="*/ 36819 w 96793"/>
                <a:gd name="connsiteY12" fmla="*/ 257900 h 357906"/>
                <a:gd name="connsiteX13" fmla="*/ 58848 w 96793"/>
                <a:gd name="connsiteY13" fmla="*/ 248344 h 357906"/>
                <a:gd name="connsiteX14" fmla="*/ 61334 w 96793"/>
                <a:gd name="connsiteY14" fmla="*/ 247255 h 357906"/>
                <a:gd name="connsiteX15" fmla="*/ 61248 w 96793"/>
                <a:gd name="connsiteY15" fmla="*/ 244546 h 357906"/>
                <a:gd name="connsiteX16" fmla="*/ 88529 w 96793"/>
                <a:gd name="connsiteY16" fmla="*/ -2199 h 357906"/>
                <a:gd name="connsiteX17" fmla="*/ 85672 w 96793"/>
                <a:gd name="connsiteY17" fmla="*/ -7096 h 357906"/>
                <a:gd name="connsiteX18" fmla="*/ 84736 w 96793"/>
                <a:gd name="connsiteY18" fmla="*/ -7228 h 35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6793" h="357906">
                  <a:moveTo>
                    <a:pt x="84736" y="-7228"/>
                  </a:moveTo>
                  <a:cubicBezTo>
                    <a:pt x="82928" y="-7269"/>
                    <a:pt x="81252" y="-6073"/>
                    <a:pt x="80775" y="-4245"/>
                  </a:cubicBezTo>
                  <a:cubicBezTo>
                    <a:pt x="60007" y="74401"/>
                    <a:pt x="50714" y="157265"/>
                    <a:pt x="53151" y="242079"/>
                  </a:cubicBezTo>
                  <a:cubicBezTo>
                    <a:pt x="46663" y="244915"/>
                    <a:pt x="40151" y="247726"/>
                    <a:pt x="33643" y="250541"/>
                  </a:cubicBezTo>
                  <a:cubicBezTo>
                    <a:pt x="26290" y="253717"/>
                    <a:pt x="18932" y="256892"/>
                    <a:pt x="11609" y="260097"/>
                  </a:cubicBezTo>
                  <a:lnTo>
                    <a:pt x="7989" y="261682"/>
                  </a:lnTo>
                  <a:lnTo>
                    <a:pt x="34722" y="325075"/>
                  </a:lnTo>
                  <a:lnTo>
                    <a:pt x="-5740" y="342997"/>
                  </a:lnTo>
                  <a:cubicBezTo>
                    <a:pt x="-7771" y="343894"/>
                    <a:pt x="-8682" y="346264"/>
                    <a:pt x="-7791" y="348284"/>
                  </a:cubicBezTo>
                  <a:cubicBezTo>
                    <a:pt x="-6895" y="350305"/>
                    <a:pt x="-4540" y="351237"/>
                    <a:pt x="-2499" y="350330"/>
                  </a:cubicBezTo>
                  <a:lnTo>
                    <a:pt x="45175" y="329213"/>
                  </a:lnTo>
                  <a:lnTo>
                    <a:pt x="18451" y="265860"/>
                  </a:lnTo>
                  <a:cubicBezTo>
                    <a:pt x="24558" y="263197"/>
                    <a:pt x="30691" y="260548"/>
                    <a:pt x="36819" y="257900"/>
                  </a:cubicBezTo>
                  <a:cubicBezTo>
                    <a:pt x="44172" y="254719"/>
                    <a:pt x="51530" y="251544"/>
                    <a:pt x="58848" y="248344"/>
                  </a:cubicBezTo>
                  <a:lnTo>
                    <a:pt x="61334" y="247255"/>
                  </a:lnTo>
                  <a:lnTo>
                    <a:pt x="61248" y="244546"/>
                  </a:lnTo>
                  <a:cubicBezTo>
                    <a:pt x="58559" y="159559"/>
                    <a:pt x="67735" y="76543"/>
                    <a:pt x="88529" y="-2199"/>
                  </a:cubicBezTo>
                  <a:cubicBezTo>
                    <a:pt x="89091" y="-4341"/>
                    <a:pt x="87809" y="-6529"/>
                    <a:pt x="85672" y="-7096"/>
                  </a:cubicBezTo>
                  <a:lnTo>
                    <a:pt x="84736" y="-7228"/>
                  </a:ln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0" name="Freeform: Shape 449">
              <a:extLst>
                <a:ext uri="{FF2B5EF4-FFF2-40B4-BE49-F238E27FC236}">
                  <a16:creationId xmlns:a16="http://schemas.microsoft.com/office/drawing/2014/main" id="{4281A29F-227F-D9B0-5CEB-C48F2DF7E464}"/>
                </a:ext>
              </a:extLst>
            </p:cNvPr>
            <p:cNvSpPr/>
            <p:nvPr/>
          </p:nvSpPr>
          <p:spPr>
            <a:xfrm flipV="1">
              <a:off x="5866242" y="1836052"/>
              <a:ext cx="1519199" cy="460634"/>
            </a:xfrm>
            <a:custGeom>
              <a:avLst/>
              <a:gdLst>
                <a:gd name="connsiteX0" fmla="*/ 1443339 w 1519199"/>
                <a:gd name="connsiteY0" fmla="*/ 31710 h 460634"/>
                <a:gd name="connsiteX1" fmla="*/ 1511148 w 1519199"/>
                <a:gd name="connsiteY1" fmla="*/ 385080 h 460634"/>
                <a:gd name="connsiteX2" fmla="*/ 1276375 w 1519199"/>
                <a:gd name="connsiteY2" fmla="*/ 447754 h 460634"/>
                <a:gd name="connsiteX3" fmla="*/ 1045273 w 1519199"/>
                <a:gd name="connsiteY3" fmla="*/ 367204 h 460634"/>
                <a:gd name="connsiteX4" fmla="*/ 810920 w 1519199"/>
                <a:gd name="connsiteY4" fmla="*/ 299264 h 460634"/>
                <a:gd name="connsiteX5" fmla="*/ 521829 w 1519199"/>
                <a:gd name="connsiteY5" fmla="*/ 337660 h 460634"/>
                <a:gd name="connsiteX6" fmla="*/ 237412 w 1519199"/>
                <a:gd name="connsiteY6" fmla="*/ 266256 h 460634"/>
                <a:gd name="connsiteX7" fmla="*/ -8051 w 1519199"/>
                <a:gd name="connsiteY7" fmla="*/ 100410 h 460634"/>
                <a:gd name="connsiteX8" fmla="*/ 650139 w 1519199"/>
                <a:gd name="connsiteY8" fmla="*/ 119421 h 460634"/>
                <a:gd name="connsiteX9" fmla="*/ 989567 w 1519199"/>
                <a:gd name="connsiteY9" fmla="*/ -9031 h 460634"/>
                <a:gd name="connsiteX10" fmla="*/ 1218340 w 1519199"/>
                <a:gd name="connsiteY10" fmla="*/ 31113 h 460634"/>
                <a:gd name="connsiteX11" fmla="*/ 1443339 w 1519199"/>
                <a:gd name="connsiteY11" fmla="*/ 31710 h 460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19199" h="460634">
                  <a:moveTo>
                    <a:pt x="1443339" y="31710"/>
                  </a:moveTo>
                  <a:cubicBezTo>
                    <a:pt x="1443339" y="31710"/>
                    <a:pt x="1266601" y="287566"/>
                    <a:pt x="1511148" y="385080"/>
                  </a:cubicBezTo>
                  <a:cubicBezTo>
                    <a:pt x="1453670" y="443333"/>
                    <a:pt x="1357401" y="459381"/>
                    <a:pt x="1276375" y="447754"/>
                  </a:cubicBezTo>
                  <a:cubicBezTo>
                    <a:pt x="1195349" y="436132"/>
                    <a:pt x="1120045" y="400465"/>
                    <a:pt x="1045273" y="367204"/>
                  </a:cubicBezTo>
                  <a:cubicBezTo>
                    <a:pt x="970476" y="333943"/>
                    <a:pt x="892721" y="302201"/>
                    <a:pt x="810920" y="299264"/>
                  </a:cubicBezTo>
                  <a:cubicBezTo>
                    <a:pt x="713588" y="295770"/>
                    <a:pt x="619126" y="333340"/>
                    <a:pt x="521829" y="337660"/>
                  </a:cubicBezTo>
                  <a:cubicBezTo>
                    <a:pt x="423048" y="342055"/>
                    <a:pt x="325199" y="311747"/>
                    <a:pt x="237412" y="266256"/>
                  </a:cubicBezTo>
                  <a:cubicBezTo>
                    <a:pt x="149615" y="220760"/>
                    <a:pt x="70524" y="160425"/>
                    <a:pt x="-8051" y="100410"/>
                  </a:cubicBezTo>
                  <a:cubicBezTo>
                    <a:pt x="192574" y="205045"/>
                    <a:pt x="441836" y="207810"/>
                    <a:pt x="650139" y="119421"/>
                  </a:cubicBezTo>
                  <a:cubicBezTo>
                    <a:pt x="762310" y="71823"/>
                    <a:pt x="867836" y="-3637"/>
                    <a:pt x="989567" y="-9031"/>
                  </a:cubicBezTo>
                  <a:cubicBezTo>
                    <a:pt x="1067216" y="-12469"/>
                    <a:pt x="1142682" y="13388"/>
                    <a:pt x="1218340" y="31113"/>
                  </a:cubicBezTo>
                  <a:cubicBezTo>
                    <a:pt x="1294049" y="48837"/>
                    <a:pt x="1373860" y="66471"/>
                    <a:pt x="1443339" y="31710"/>
                  </a:cubicBezTo>
                </a:path>
              </a:pathLst>
            </a:custGeom>
            <a:solidFill>
              <a:srgbClr val="4DA5C3"/>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1" name="Freeform: Shape 450">
              <a:extLst>
                <a:ext uri="{FF2B5EF4-FFF2-40B4-BE49-F238E27FC236}">
                  <a16:creationId xmlns:a16="http://schemas.microsoft.com/office/drawing/2014/main" id="{2635427F-C960-D853-FDA9-2D754D7D5D86}"/>
                </a:ext>
              </a:extLst>
            </p:cNvPr>
            <p:cNvSpPr/>
            <p:nvPr/>
          </p:nvSpPr>
          <p:spPr>
            <a:xfrm flipV="1">
              <a:off x="6940144" y="1868679"/>
              <a:ext cx="456727" cy="2327859"/>
            </a:xfrm>
            <a:custGeom>
              <a:avLst/>
              <a:gdLst>
                <a:gd name="connsiteX0" fmla="*/ 14601 w 456727"/>
                <a:gd name="connsiteY0" fmla="*/ 1713 h 2327859"/>
                <a:gd name="connsiteX1" fmla="*/ 57672 w 456727"/>
                <a:gd name="connsiteY1" fmla="*/ 231027 h 2327859"/>
                <a:gd name="connsiteX2" fmla="*/ 161132 w 456727"/>
                <a:gd name="connsiteY2" fmla="*/ 781660 h 2327859"/>
                <a:gd name="connsiteX3" fmla="*/ 285761 w 456727"/>
                <a:gd name="connsiteY3" fmla="*/ 1445143 h 2327859"/>
                <a:gd name="connsiteX4" fmla="*/ 394386 w 456727"/>
                <a:gd name="connsiteY4" fmla="*/ 2023172 h 2327859"/>
                <a:gd name="connsiteX5" fmla="*/ 429835 w 456727"/>
                <a:gd name="connsiteY5" fmla="*/ 2212039 h 2327859"/>
                <a:gd name="connsiteX6" fmla="*/ 446749 w 456727"/>
                <a:gd name="connsiteY6" fmla="*/ 2301918 h 2327859"/>
                <a:gd name="connsiteX7" fmla="*/ 447509 w 456727"/>
                <a:gd name="connsiteY7" fmla="*/ 2305939 h 2327859"/>
                <a:gd name="connsiteX8" fmla="*/ 424163 w 456727"/>
                <a:gd name="connsiteY8" fmla="*/ 2311793 h 2327859"/>
                <a:gd name="connsiteX9" fmla="*/ 381068 w 456727"/>
                <a:gd name="connsiteY9" fmla="*/ 2082479 h 2327859"/>
                <a:gd name="connsiteX10" fmla="*/ 277607 w 456727"/>
                <a:gd name="connsiteY10" fmla="*/ 1531845 h 2327859"/>
                <a:gd name="connsiteX11" fmla="*/ 152979 w 456727"/>
                <a:gd name="connsiteY11" fmla="*/ 868363 h 2327859"/>
                <a:gd name="connsiteX12" fmla="*/ 44404 w 456727"/>
                <a:gd name="connsiteY12" fmla="*/ 290338 h 2327859"/>
                <a:gd name="connsiteX13" fmla="*/ 8904 w 456727"/>
                <a:gd name="connsiteY13" fmla="*/ 101466 h 2327859"/>
                <a:gd name="connsiteX14" fmla="*/ -7979 w 456727"/>
                <a:gd name="connsiteY14" fmla="*/ 11588 h 2327859"/>
                <a:gd name="connsiteX15" fmla="*/ -8739 w 456727"/>
                <a:gd name="connsiteY15" fmla="*/ 7567 h 2327859"/>
                <a:gd name="connsiteX16" fmla="*/ 14601 w 456727"/>
                <a:gd name="connsiteY16" fmla="*/ 1713 h 232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6727" h="2327859">
                  <a:moveTo>
                    <a:pt x="14601" y="1713"/>
                  </a:moveTo>
                  <a:cubicBezTo>
                    <a:pt x="28963" y="78151"/>
                    <a:pt x="43340" y="154589"/>
                    <a:pt x="57672" y="231027"/>
                  </a:cubicBezTo>
                  <a:cubicBezTo>
                    <a:pt x="92159" y="414571"/>
                    <a:pt x="126645" y="598116"/>
                    <a:pt x="161132" y="781660"/>
                  </a:cubicBezTo>
                  <a:cubicBezTo>
                    <a:pt x="202658" y="1002821"/>
                    <a:pt x="244235" y="1223982"/>
                    <a:pt x="285761" y="1445143"/>
                  </a:cubicBezTo>
                  <a:cubicBezTo>
                    <a:pt x="321969" y="1637818"/>
                    <a:pt x="358178" y="1830493"/>
                    <a:pt x="394386" y="2023172"/>
                  </a:cubicBezTo>
                  <a:cubicBezTo>
                    <a:pt x="406186" y="2086125"/>
                    <a:pt x="418036" y="2149082"/>
                    <a:pt x="429835" y="2212039"/>
                  </a:cubicBezTo>
                  <a:cubicBezTo>
                    <a:pt x="435355" y="2241452"/>
                    <a:pt x="444167" y="2272049"/>
                    <a:pt x="446749" y="2301918"/>
                  </a:cubicBezTo>
                  <a:cubicBezTo>
                    <a:pt x="446850" y="2303255"/>
                    <a:pt x="447255" y="2304617"/>
                    <a:pt x="447509" y="2305939"/>
                  </a:cubicBezTo>
                  <a:cubicBezTo>
                    <a:pt x="450345" y="2321106"/>
                    <a:pt x="426999" y="2327021"/>
                    <a:pt x="424163" y="2311793"/>
                  </a:cubicBezTo>
                  <a:cubicBezTo>
                    <a:pt x="409781" y="2235355"/>
                    <a:pt x="395449" y="2158917"/>
                    <a:pt x="381068" y="2082479"/>
                  </a:cubicBezTo>
                  <a:cubicBezTo>
                    <a:pt x="346581" y="1898934"/>
                    <a:pt x="312094" y="1715390"/>
                    <a:pt x="277607" y="1531845"/>
                  </a:cubicBezTo>
                  <a:cubicBezTo>
                    <a:pt x="236081" y="1310685"/>
                    <a:pt x="194505" y="1089524"/>
                    <a:pt x="152979" y="868363"/>
                  </a:cubicBezTo>
                  <a:cubicBezTo>
                    <a:pt x="116770" y="675693"/>
                    <a:pt x="80562" y="483013"/>
                    <a:pt x="44404" y="290338"/>
                  </a:cubicBezTo>
                  <a:cubicBezTo>
                    <a:pt x="32559" y="227380"/>
                    <a:pt x="20729" y="164423"/>
                    <a:pt x="8904" y="101466"/>
                  </a:cubicBezTo>
                  <a:cubicBezTo>
                    <a:pt x="3374" y="72053"/>
                    <a:pt x="-5427" y="41451"/>
                    <a:pt x="-7979" y="11588"/>
                  </a:cubicBezTo>
                  <a:cubicBezTo>
                    <a:pt x="-8101" y="10251"/>
                    <a:pt x="-8491" y="8894"/>
                    <a:pt x="-8739" y="7567"/>
                  </a:cubicBezTo>
                  <a:cubicBezTo>
                    <a:pt x="-11590" y="-7605"/>
                    <a:pt x="11740" y="-13520"/>
                    <a:pt x="14601" y="1713"/>
                  </a:cubicBezTo>
                </a:path>
              </a:pathLst>
            </a:custGeom>
            <a:solidFill>
              <a:srgbClr val="4DA5C3">
                <a:lumMod val="5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2" name="Freeform: Shape 451">
              <a:extLst>
                <a:ext uri="{FF2B5EF4-FFF2-40B4-BE49-F238E27FC236}">
                  <a16:creationId xmlns:a16="http://schemas.microsoft.com/office/drawing/2014/main" id="{6B178583-4771-D771-C0E2-997D4D4FA580}"/>
                </a:ext>
              </a:extLst>
            </p:cNvPr>
            <p:cNvSpPr/>
            <p:nvPr/>
          </p:nvSpPr>
          <p:spPr>
            <a:xfrm flipV="1">
              <a:off x="7190711" y="2709436"/>
              <a:ext cx="27815" cy="22181"/>
            </a:xfrm>
            <a:custGeom>
              <a:avLst/>
              <a:gdLst>
                <a:gd name="connsiteX0" fmla="*/ 18470 w 27815"/>
                <a:gd name="connsiteY0" fmla="*/ 6915 h 22181"/>
                <a:gd name="connsiteX1" fmla="*/ 11735 w 27815"/>
                <a:gd name="connsiteY1" fmla="*/ 4813 h 22181"/>
                <a:gd name="connsiteX2" fmla="*/ 11634 w 27815"/>
                <a:gd name="connsiteY2" fmla="*/ 4631 h 22181"/>
                <a:gd name="connsiteX3" fmla="*/ -6141 w 27815"/>
                <a:gd name="connsiteY3" fmla="*/ -7878 h 22181"/>
                <a:gd name="connsiteX4" fmla="*/ 8241 w 27815"/>
                <a:gd name="connsiteY4" fmla="*/ 14298 h 22181"/>
                <a:gd name="connsiteX5" fmla="*/ 17508 w 27815"/>
                <a:gd name="connsiteY5" fmla="*/ 9087 h 22181"/>
                <a:gd name="connsiteX6" fmla="*/ 18470 w 27815"/>
                <a:gd name="connsiteY6" fmla="*/ 6915 h 2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15" h="22181">
                  <a:moveTo>
                    <a:pt x="18470" y="6915"/>
                  </a:moveTo>
                  <a:cubicBezTo>
                    <a:pt x="17863" y="3339"/>
                    <a:pt x="13204" y="7295"/>
                    <a:pt x="11735" y="4813"/>
                  </a:cubicBezTo>
                  <a:lnTo>
                    <a:pt x="11634" y="4631"/>
                  </a:lnTo>
                  <a:cubicBezTo>
                    <a:pt x="5355" y="-5710"/>
                    <a:pt x="-6141" y="-7878"/>
                    <a:pt x="-6141" y="-7878"/>
                  </a:cubicBezTo>
                  <a:cubicBezTo>
                    <a:pt x="-15155" y="10571"/>
                    <a:pt x="-1128" y="14030"/>
                    <a:pt x="8241" y="14298"/>
                  </a:cubicBezTo>
                  <a:cubicBezTo>
                    <a:pt x="11431" y="14460"/>
                    <a:pt x="15483" y="11275"/>
                    <a:pt x="17508" y="9087"/>
                  </a:cubicBezTo>
                  <a:cubicBezTo>
                    <a:pt x="18673" y="7806"/>
                    <a:pt x="19129" y="6854"/>
                    <a:pt x="18470" y="6915"/>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3" name="Freeform: Shape 452">
              <a:extLst>
                <a:ext uri="{FF2B5EF4-FFF2-40B4-BE49-F238E27FC236}">
                  <a16:creationId xmlns:a16="http://schemas.microsoft.com/office/drawing/2014/main" id="{FD84B9A8-B688-216E-5183-FA57BF673D9A}"/>
                </a:ext>
              </a:extLst>
            </p:cNvPr>
            <p:cNvSpPr/>
            <p:nvPr/>
          </p:nvSpPr>
          <p:spPr>
            <a:xfrm flipV="1">
              <a:off x="7209715" y="2714653"/>
              <a:ext cx="8810" cy="4456"/>
            </a:xfrm>
            <a:custGeom>
              <a:avLst/>
              <a:gdLst>
                <a:gd name="connsiteX0" fmla="*/ -550 w 8810"/>
                <a:gd name="connsiteY0" fmla="*/ -5602 h 4456"/>
                <a:gd name="connsiteX1" fmla="*/ -7286 w 8810"/>
                <a:gd name="connsiteY1" fmla="*/ -7703 h 4456"/>
                <a:gd name="connsiteX2" fmla="*/ -7387 w 8810"/>
                <a:gd name="connsiteY2" fmla="*/ -7886 h 4456"/>
                <a:gd name="connsiteX3" fmla="*/ -9058 w 8810"/>
                <a:gd name="connsiteY3" fmla="*/ -7288 h 4456"/>
                <a:gd name="connsiteX4" fmla="*/ -1512 w 8810"/>
                <a:gd name="connsiteY4" fmla="*/ -3429 h 4456"/>
                <a:gd name="connsiteX5" fmla="*/ -550 w 8810"/>
                <a:gd name="connsiteY5" fmla="*/ -5602 h 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10" h="4456">
                  <a:moveTo>
                    <a:pt x="-550" y="-5602"/>
                  </a:moveTo>
                  <a:cubicBezTo>
                    <a:pt x="-1158" y="-9177"/>
                    <a:pt x="-5817" y="-5222"/>
                    <a:pt x="-7286" y="-7703"/>
                  </a:cubicBezTo>
                  <a:lnTo>
                    <a:pt x="-7387" y="-7886"/>
                  </a:lnTo>
                  <a:lnTo>
                    <a:pt x="-9058" y="-7288"/>
                  </a:lnTo>
                  <a:cubicBezTo>
                    <a:pt x="-9058" y="-7288"/>
                    <a:pt x="-6121" y="-5298"/>
                    <a:pt x="-1512" y="-3429"/>
                  </a:cubicBezTo>
                  <a:cubicBezTo>
                    <a:pt x="-348" y="-4711"/>
                    <a:pt x="108" y="-5663"/>
                    <a:pt x="-550" y="-5602"/>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4" name="Freeform: Shape 453">
              <a:extLst>
                <a:ext uri="{FF2B5EF4-FFF2-40B4-BE49-F238E27FC236}">
                  <a16:creationId xmlns:a16="http://schemas.microsoft.com/office/drawing/2014/main" id="{4686DCC7-AE78-C2B1-A377-6E0CA96A7D70}"/>
                </a:ext>
              </a:extLst>
            </p:cNvPr>
            <p:cNvSpPr/>
            <p:nvPr/>
          </p:nvSpPr>
          <p:spPr>
            <a:xfrm flipV="1">
              <a:off x="7190582" y="2715825"/>
              <a:ext cx="59991" cy="84265"/>
            </a:xfrm>
            <a:custGeom>
              <a:avLst/>
              <a:gdLst>
                <a:gd name="connsiteX0" fmla="*/ 24447 w 59991"/>
                <a:gd name="connsiteY0" fmla="*/ -7069 h 84265"/>
                <a:gd name="connsiteX1" fmla="*/ 14419 w 59991"/>
                <a:gd name="connsiteY1" fmla="*/ -7671 h 84265"/>
                <a:gd name="connsiteX2" fmla="*/ 4899 w 59991"/>
                <a:gd name="connsiteY2" fmla="*/ -6035 h 84265"/>
                <a:gd name="connsiteX3" fmla="*/ -925 w 59991"/>
                <a:gd name="connsiteY3" fmla="*/ 1171 h 84265"/>
                <a:gd name="connsiteX4" fmla="*/ -1077 w 59991"/>
                <a:gd name="connsiteY4" fmla="*/ 7856 h 84265"/>
                <a:gd name="connsiteX5" fmla="*/ -1127 w 59991"/>
                <a:gd name="connsiteY5" fmla="*/ 7911 h 84265"/>
                <a:gd name="connsiteX6" fmla="*/ -4014 w 59991"/>
                <a:gd name="connsiteY6" fmla="*/ 25210 h 84265"/>
                <a:gd name="connsiteX7" fmla="*/ -9027 w 59991"/>
                <a:gd name="connsiteY7" fmla="*/ 33293 h 84265"/>
                <a:gd name="connsiteX8" fmla="*/ -5128 w 59991"/>
                <a:gd name="connsiteY8" fmla="*/ 42844 h 84265"/>
                <a:gd name="connsiteX9" fmla="*/ -8116 w 59991"/>
                <a:gd name="connsiteY9" fmla="*/ 50176 h 84265"/>
                <a:gd name="connsiteX10" fmla="*/ -3862 w 59991"/>
                <a:gd name="connsiteY10" fmla="*/ 57697 h 84265"/>
                <a:gd name="connsiteX11" fmla="*/ -5685 w 59991"/>
                <a:gd name="connsiteY11" fmla="*/ 66306 h 84265"/>
                <a:gd name="connsiteX12" fmla="*/ 2620 w 59991"/>
                <a:gd name="connsiteY12" fmla="*/ 71608 h 84265"/>
                <a:gd name="connsiteX13" fmla="*/ 30371 w 59991"/>
                <a:gd name="connsiteY13" fmla="*/ 76454 h 84265"/>
                <a:gd name="connsiteX14" fmla="*/ 40854 w 59991"/>
                <a:gd name="connsiteY14" fmla="*/ 75208 h 84265"/>
                <a:gd name="connsiteX15" fmla="*/ 48552 w 59991"/>
                <a:gd name="connsiteY15" fmla="*/ 68276 h 84265"/>
                <a:gd name="connsiteX16" fmla="*/ 48704 w 59991"/>
                <a:gd name="connsiteY16" fmla="*/ 60978 h 84265"/>
                <a:gd name="connsiteX17" fmla="*/ 49463 w 59991"/>
                <a:gd name="connsiteY17" fmla="*/ 54521 h 84265"/>
                <a:gd name="connsiteX18" fmla="*/ 50881 w 59991"/>
                <a:gd name="connsiteY18" fmla="*/ 47710 h 84265"/>
                <a:gd name="connsiteX19" fmla="*/ 48450 w 59991"/>
                <a:gd name="connsiteY19" fmla="*/ 42687 h 84265"/>
                <a:gd name="connsiteX20" fmla="*/ 45311 w 59991"/>
                <a:gd name="connsiteY20" fmla="*/ 33455 h 84265"/>
                <a:gd name="connsiteX21" fmla="*/ 44906 w 59991"/>
                <a:gd name="connsiteY21" fmla="*/ 26724 h 84265"/>
                <a:gd name="connsiteX22" fmla="*/ 41766 w 59991"/>
                <a:gd name="connsiteY22" fmla="*/ 21523 h 84265"/>
                <a:gd name="connsiteX23" fmla="*/ 38880 w 59991"/>
                <a:gd name="connsiteY23" fmla="*/ 12945 h 84265"/>
                <a:gd name="connsiteX24" fmla="*/ 36448 w 59991"/>
                <a:gd name="connsiteY24" fmla="*/ 3191 h 84265"/>
                <a:gd name="connsiteX25" fmla="*/ 24447 w 59991"/>
                <a:gd name="connsiteY25" fmla="*/ -7069 h 84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991" h="84265">
                  <a:moveTo>
                    <a:pt x="24447" y="-7069"/>
                  </a:moveTo>
                  <a:cubicBezTo>
                    <a:pt x="21307" y="-8117"/>
                    <a:pt x="17661" y="-7347"/>
                    <a:pt x="14419" y="-7671"/>
                  </a:cubicBezTo>
                  <a:cubicBezTo>
                    <a:pt x="11179" y="-8026"/>
                    <a:pt x="7735" y="-7651"/>
                    <a:pt x="4899" y="-6035"/>
                  </a:cubicBezTo>
                  <a:cubicBezTo>
                    <a:pt x="2165" y="-4471"/>
                    <a:pt x="38" y="-1772"/>
                    <a:pt x="-925" y="1171"/>
                  </a:cubicBezTo>
                  <a:cubicBezTo>
                    <a:pt x="-1684" y="3333"/>
                    <a:pt x="-1836" y="5663"/>
                    <a:pt x="-1077" y="7856"/>
                  </a:cubicBezTo>
                  <a:lnTo>
                    <a:pt x="-1127" y="7911"/>
                  </a:lnTo>
                  <a:cubicBezTo>
                    <a:pt x="-6191" y="12018"/>
                    <a:pt x="-7559" y="19766"/>
                    <a:pt x="-4014" y="25210"/>
                  </a:cubicBezTo>
                  <a:cubicBezTo>
                    <a:pt x="-7457" y="25874"/>
                    <a:pt x="-9382" y="29864"/>
                    <a:pt x="-9027" y="33293"/>
                  </a:cubicBezTo>
                  <a:cubicBezTo>
                    <a:pt x="-8622" y="36782"/>
                    <a:pt x="-7154" y="39962"/>
                    <a:pt x="-5128" y="42844"/>
                  </a:cubicBezTo>
                  <a:cubicBezTo>
                    <a:pt x="-7255" y="44631"/>
                    <a:pt x="-8369" y="47482"/>
                    <a:pt x="-8116" y="50176"/>
                  </a:cubicBezTo>
                  <a:cubicBezTo>
                    <a:pt x="-7913" y="52906"/>
                    <a:pt x="-6242" y="56294"/>
                    <a:pt x="-3862" y="57697"/>
                  </a:cubicBezTo>
                  <a:cubicBezTo>
                    <a:pt x="-6951" y="58958"/>
                    <a:pt x="-7508" y="63520"/>
                    <a:pt x="-5685" y="66306"/>
                  </a:cubicBezTo>
                  <a:cubicBezTo>
                    <a:pt x="-3862" y="69121"/>
                    <a:pt x="-520" y="70555"/>
                    <a:pt x="2620" y="71608"/>
                  </a:cubicBezTo>
                  <a:cubicBezTo>
                    <a:pt x="11533" y="74651"/>
                    <a:pt x="20952" y="76313"/>
                    <a:pt x="30371" y="76454"/>
                  </a:cubicBezTo>
                  <a:cubicBezTo>
                    <a:pt x="33916" y="76530"/>
                    <a:pt x="37512" y="76399"/>
                    <a:pt x="40854" y="75208"/>
                  </a:cubicBezTo>
                  <a:cubicBezTo>
                    <a:pt x="44197" y="73958"/>
                    <a:pt x="47286" y="71618"/>
                    <a:pt x="48552" y="68276"/>
                  </a:cubicBezTo>
                  <a:cubicBezTo>
                    <a:pt x="49413" y="66088"/>
                    <a:pt x="49565" y="63232"/>
                    <a:pt x="48704" y="60978"/>
                  </a:cubicBezTo>
                  <a:cubicBezTo>
                    <a:pt x="47894" y="58846"/>
                    <a:pt x="48400" y="56527"/>
                    <a:pt x="49463" y="54521"/>
                  </a:cubicBezTo>
                  <a:cubicBezTo>
                    <a:pt x="50527" y="52460"/>
                    <a:pt x="51084" y="50055"/>
                    <a:pt x="50881" y="47710"/>
                  </a:cubicBezTo>
                  <a:cubicBezTo>
                    <a:pt x="50729" y="45776"/>
                    <a:pt x="49767" y="44110"/>
                    <a:pt x="48450" y="42687"/>
                  </a:cubicBezTo>
                  <a:cubicBezTo>
                    <a:pt x="46172" y="40150"/>
                    <a:pt x="44754" y="36822"/>
                    <a:pt x="45311" y="33455"/>
                  </a:cubicBezTo>
                  <a:cubicBezTo>
                    <a:pt x="45665" y="31014"/>
                    <a:pt x="45665" y="28537"/>
                    <a:pt x="44906" y="26724"/>
                  </a:cubicBezTo>
                  <a:cubicBezTo>
                    <a:pt x="44095" y="24825"/>
                    <a:pt x="43083" y="23007"/>
                    <a:pt x="41766" y="21523"/>
                  </a:cubicBezTo>
                  <a:cubicBezTo>
                    <a:pt x="39639" y="19199"/>
                    <a:pt x="38880" y="16075"/>
                    <a:pt x="38880" y="12945"/>
                  </a:cubicBezTo>
                  <a:cubicBezTo>
                    <a:pt x="38880" y="9557"/>
                    <a:pt x="38019" y="6169"/>
                    <a:pt x="36448" y="3191"/>
                  </a:cubicBezTo>
                  <a:cubicBezTo>
                    <a:pt x="33967" y="-1604"/>
                    <a:pt x="29561" y="-5327"/>
                    <a:pt x="24447" y="-7069"/>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5" name="Freeform: Shape 454">
              <a:extLst>
                <a:ext uri="{FF2B5EF4-FFF2-40B4-BE49-F238E27FC236}">
                  <a16:creationId xmlns:a16="http://schemas.microsoft.com/office/drawing/2014/main" id="{726D2D77-9451-3484-ECC0-FF0E1D0DAADB}"/>
                </a:ext>
              </a:extLst>
            </p:cNvPr>
            <p:cNvSpPr/>
            <p:nvPr/>
          </p:nvSpPr>
          <p:spPr>
            <a:xfrm flipV="1">
              <a:off x="7198075" y="2784386"/>
              <a:ext cx="22326" cy="7717"/>
            </a:xfrm>
            <a:custGeom>
              <a:avLst/>
              <a:gdLst>
                <a:gd name="connsiteX0" fmla="*/ 13276 w 22326"/>
                <a:gd name="connsiteY0" fmla="*/ -7149 h 7717"/>
                <a:gd name="connsiteX1" fmla="*/ 4160 w 22326"/>
                <a:gd name="connsiteY1" fmla="*/ -7600 h 7717"/>
                <a:gd name="connsiteX2" fmla="*/ -8399 w 22326"/>
                <a:gd name="connsiteY2" fmla="*/ -6749 h 7717"/>
                <a:gd name="connsiteX3" fmla="*/ -8550 w 22326"/>
                <a:gd name="connsiteY3" fmla="*/ -64 h 7717"/>
                <a:gd name="connsiteX4" fmla="*/ -8601 w 22326"/>
                <a:gd name="connsiteY4" fmla="*/ -9 h 7717"/>
                <a:gd name="connsiteX5" fmla="*/ 4768 w 22326"/>
                <a:gd name="connsiteY5" fmla="*/ -3842 h 7717"/>
                <a:gd name="connsiteX6" fmla="*/ 13276 w 22326"/>
                <a:gd name="connsiteY6" fmla="*/ -7149 h 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6" h="7717">
                  <a:moveTo>
                    <a:pt x="13276" y="-7149"/>
                  </a:moveTo>
                  <a:cubicBezTo>
                    <a:pt x="13124" y="-7767"/>
                    <a:pt x="9681" y="-7838"/>
                    <a:pt x="4160" y="-7600"/>
                  </a:cubicBezTo>
                  <a:cubicBezTo>
                    <a:pt x="666" y="-7463"/>
                    <a:pt x="-3638" y="-7189"/>
                    <a:pt x="-8399" y="-6749"/>
                  </a:cubicBezTo>
                  <a:cubicBezTo>
                    <a:pt x="-9158" y="-4587"/>
                    <a:pt x="-9310" y="-2257"/>
                    <a:pt x="-8550" y="-64"/>
                  </a:cubicBezTo>
                  <a:lnTo>
                    <a:pt x="-8601" y="-9"/>
                  </a:lnTo>
                  <a:cubicBezTo>
                    <a:pt x="-3436" y="-1366"/>
                    <a:pt x="1173" y="-2804"/>
                    <a:pt x="4768" y="-3842"/>
                  </a:cubicBezTo>
                  <a:cubicBezTo>
                    <a:pt x="10086" y="-5397"/>
                    <a:pt x="13327" y="-6531"/>
                    <a:pt x="13276" y="-7149"/>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6" name="Freeform: Shape 455">
              <a:extLst>
                <a:ext uri="{FF2B5EF4-FFF2-40B4-BE49-F238E27FC236}">
                  <a16:creationId xmlns:a16="http://schemas.microsoft.com/office/drawing/2014/main" id="{1AB5F771-6509-B45A-7AE3-782EF4B71733}"/>
                </a:ext>
              </a:extLst>
            </p:cNvPr>
            <p:cNvSpPr/>
            <p:nvPr/>
          </p:nvSpPr>
          <p:spPr>
            <a:xfrm flipV="1">
              <a:off x="6520376" y="2791866"/>
              <a:ext cx="92744" cy="104501"/>
            </a:xfrm>
            <a:custGeom>
              <a:avLst/>
              <a:gdLst>
                <a:gd name="connsiteX0" fmla="*/ 70270 w 92744"/>
                <a:gd name="connsiteY0" fmla="*/ 96900 h 104501"/>
                <a:gd name="connsiteX1" fmla="*/ -7950 w 92744"/>
                <a:gd name="connsiteY1" fmla="*/ 26478 h 104501"/>
                <a:gd name="connsiteX2" fmla="*/ 32851 w 92744"/>
                <a:gd name="connsiteY2" fmla="*/ -7583 h 104501"/>
                <a:gd name="connsiteX3" fmla="*/ 84794 w 92744"/>
                <a:gd name="connsiteY3" fmla="*/ 79657 h 104501"/>
                <a:gd name="connsiteX4" fmla="*/ 70270 w 92744"/>
                <a:gd name="connsiteY4" fmla="*/ 96900 h 104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44" h="104501">
                  <a:moveTo>
                    <a:pt x="70270" y="96900"/>
                  </a:moveTo>
                  <a:lnTo>
                    <a:pt x="-7950" y="26478"/>
                  </a:lnTo>
                  <a:cubicBezTo>
                    <a:pt x="-7950" y="26478"/>
                    <a:pt x="33727" y="-8510"/>
                    <a:pt x="32851" y="-7583"/>
                  </a:cubicBezTo>
                  <a:cubicBezTo>
                    <a:pt x="31980" y="-6651"/>
                    <a:pt x="84794" y="79657"/>
                    <a:pt x="84794" y="79657"/>
                  </a:cubicBezTo>
                  <a:lnTo>
                    <a:pt x="70270" y="96900"/>
                  </a:lnTo>
                </a:path>
              </a:pathLst>
            </a:custGeom>
            <a:solidFill>
              <a:srgbClr val="94B7E5"/>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7" name="Freeform: Shape 456">
              <a:extLst>
                <a:ext uri="{FF2B5EF4-FFF2-40B4-BE49-F238E27FC236}">
                  <a16:creationId xmlns:a16="http://schemas.microsoft.com/office/drawing/2014/main" id="{371F5E28-4917-3AA0-6FD6-90EAA99CA00F}"/>
                </a:ext>
              </a:extLst>
            </p:cNvPr>
            <p:cNvSpPr/>
            <p:nvPr/>
          </p:nvSpPr>
          <p:spPr>
            <a:xfrm flipV="1">
              <a:off x="6527764" y="2758961"/>
              <a:ext cx="84722" cy="109405"/>
            </a:xfrm>
            <a:custGeom>
              <a:avLst/>
              <a:gdLst>
                <a:gd name="connsiteX0" fmla="*/ 73556 w 84722"/>
                <a:gd name="connsiteY0" fmla="*/ 53037 h 109405"/>
                <a:gd name="connsiteX1" fmla="*/ 76767 w 84722"/>
                <a:gd name="connsiteY1" fmla="*/ 56698 h 109405"/>
                <a:gd name="connsiteX2" fmla="*/ 59433 w 84722"/>
                <a:gd name="connsiteY2" fmla="*/ 76575 h 109405"/>
                <a:gd name="connsiteX3" fmla="*/ 59382 w 84722"/>
                <a:gd name="connsiteY3" fmla="*/ 76646 h 109405"/>
                <a:gd name="connsiteX4" fmla="*/ -7956 w 84722"/>
                <a:gd name="connsiteY4" fmla="*/ 47800 h 109405"/>
                <a:gd name="connsiteX5" fmla="*/ -7176 w 84722"/>
                <a:gd name="connsiteY5" fmla="*/ 46200 h 109405"/>
                <a:gd name="connsiteX6" fmla="*/ 7586 w 84722"/>
                <a:gd name="connsiteY6" fmla="*/ -7505 h 109405"/>
                <a:gd name="connsiteX7" fmla="*/ 73556 w 84722"/>
                <a:gd name="connsiteY7" fmla="*/ 53037 h 109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22" h="109405">
                  <a:moveTo>
                    <a:pt x="73556" y="53037"/>
                  </a:moveTo>
                  <a:lnTo>
                    <a:pt x="76767" y="56698"/>
                  </a:lnTo>
                  <a:lnTo>
                    <a:pt x="59433" y="76575"/>
                  </a:lnTo>
                  <a:lnTo>
                    <a:pt x="59382" y="76646"/>
                  </a:lnTo>
                  <a:cubicBezTo>
                    <a:pt x="6527" y="146708"/>
                    <a:pt x="-7956" y="47800"/>
                    <a:pt x="-7956" y="47800"/>
                  </a:cubicBezTo>
                  <a:cubicBezTo>
                    <a:pt x="-7698" y="47269"/>
                    <a:pt x="-7434" y="46737"/>
                    <a:pt x="-7176" y="46200"/>
                  </a:cubicBezTo>
                  <a:cubicBezTo>
                    <a:pt x="1585" y="27220"/>
                    <a:pt x="5747" y="8224"/>
                    <a:pt x="7586" y="-7505"/>
                  </a:cubicBezTo>
                  <a:cubicBezTo>
                    <a:pt x="7996" y="-11333"/>
                    <a:pt x="73556" y="53037"/>
                    <a:pt x="73556" y="53037"/>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8" name="Freeform: Shape 457">
              <a:extLst>
                <a:ext uri="{FF2B5EF4-FFF2-40B4-BE49-F238E27FC236}">
                  <a16:creationId xmlns:a16="http://schemas.microsoft.com/office/drawing/2014/main" id="{74196A61-0F9C-2373-ACCD-F218850D4D06}"/>
                </a:ext>
              </a:extLst>
            </p:cNvPr>
            <p:cNvSpPr/>
            <p:nvPr/>
          </p:nvSpPr>
          <p:spPr>
            <a:xfrm flipV="1">
              <a:off x="6528524" y="2796357"/>
              <a:ext cx="35332" cy="71864"/>
            </a:xfrm>
            <a:custGeom>
              <a:avLst/>
              <a:gdLst>
                <a:gd name="connsiteX0" fmla="*/ 27417 w 35332"/>
                <a:gd name="connsiteY0" fmla="*/ 64237 h 71864"/>
                <a:gd name="connsiteX1" fmla="*/ 6872 w 35332"/>
                <a:gd name="connsiteY1" fmla="*/ -7627 h 71864"/>
                <a:gd name="connsiteX2" fmla="*/ -7915 w 35332"/>
                <a:gd name="connsiteY2" fmla="*/ 46108 h 71864"/>
                <a:gd name="connsiteX3" fmla="*/ 27417 w 35332"/>
                <a:gd name="connsiteY3" fmla="*/ 64237 h 71864"/>
              </a:gdLst>
              <a:ahLst/>
              <a:cxnLst>
                <a:cxn ang="0">
                  <a:pos x="connsiteX0" y="connsiteY0"/>
                </a:cxn>
                <a:cxn ang="0">
                  <a:pos x="connsiteX1" y="connsiteY1"/>
                </a:cxn>
                <a:cxn ang="0">
                  <a:pos x="connsiteX2" y="connsiteY2"/>
                </a:cxn>
                <a:cxn ang="0">
                  <a:pos x="connsiteX3" y="connsiteY3"/>
                </a:cxn>
              </a:cxnLst>
              <a:rect l="l" t="t" r="r" b="b"/>
              <a:pathLst>
                <a:path w="35332" h="71864">
                  <a:moveTo>
                    <a:pt x="27417" y="64237"/>
                  </a:moveTo>
                  <a:lnTo>
                    <a:pt x="6872" y="-7627"/>
                  </a:lnTo>
                  <a:cubicBezTo>
                    <a:pt x="5019" y="8117"/>
                    <a:pt x="881" y="27113"/>
                    <a:pt x="-7915" y="46108"/>
                  </a:cubicBezTo>
                  <a:lnTo>
                    <a:pt x="27417" y="64237"/>
                  </a:ln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9" name="Freeform: Shape 458">
              <a:extLst>
                <a:ext uri="{FF2B5EF4-FFF2-40B4-BE49-F238E27FC236}">
                  <a16:creationId xmlns:a16="http://schemas.microsoft.com/office/drawing/2014/main" id="{DE3273E2-580D-C029-5DD0-B7E7C22262A1}"/>
                </a:ext>
              </a:extLst>
            </p:cNvPr>
            <p:cNvSpPr/>
            <p:nvPr/>
          </p:nvSpPr>
          <p:spPr>
            <a:xfrm flipV="1">
              <a:off x="6449929" y="2679314"/>
              <a:ext cx="125485" cy="161063"/>
            </a:xfrm>
            <a:custGeom>
              <a:avLst/>
              <a:gdLst>
                <a:gd name="connsiteX0" fmla="*/ 45392 w 125485"/>
                <a:gd name="connsiteY0" fmla="*/ -7736 h 161063"/>
                <a:gd name="connsiteX1" fmla="*/ 47949 w 125485"/>
                <a:gd name="connsiteY1" fmla="*/ -7771 h 161063"/>
                <a:gd name="connsiteX2" fmla="*/ 75027 w 125485"/>
                <a:gd name="connsiteY2" fmla="*/ 787 h 161063"/>
                <a:gd name="connsiteX3" fmla="*/ 107321 w 125485"/>
                <a:gd name="connsiteY3" fmla="*/ 36697 h 161063"/>
                <a:gd name="connsiteX4" fmla="*/ 107943 w 125485"/>
                <a:gd name="connsiteY4" fmla="*/ 42658 h 161063"/>
                <a:gd name="connsiteX5" fmla="*/ 114623 w 125485"/>
                <a:gd name="connsiteY5" fmla="*/ 69244 h 161063"/>
                <a:gd name="connsiteX6" fmla="*/ 110764 w 125485"/>
                <a:gd name="connsiteY6" fmla="*/ 153258 h 161063"/>
                <a:gd name="connsiteX7" fmla="*/ 34569 w 125485"/>
                <a:gd name="connsiteY7" fmla="*/ 140370 h 161063"/>
                <a:gd name="connsiteX8" fmla="*/ -4956 w 125485"/>
                <a:gd name="connsiteY8" fmla="*/ 133088 h 161063"/>
                <a:gd name="connsiteX9" fmla="*/ -7594 w 125485"/>
                <a:gd name="connsiteY9" fmla="*/ 117880 h 161063"/>
                <a:gd name="connsiteX10" fmla="*/ -6440 w 125485"/>
                <a:gd name="connsiteY10" fmla="*/ 101508 h 161063"/>
                <a:gd name="connsiteX11" fmla="*/ 4969 w 125485"/>
                <a:gd name="connsiteY11" fmla="*/ 69067 h 161063"/>
                <a:gd name="connsiteX12" fmla="*/ 5015 w 125485"/>
                <a:gd name="connsiteY12" fmla="*/ 69031 h 161063"/>
                <a:gd name="connsiteX13" fmla="*/ 4979 w 125485"/>
                <a:gd name="connsiteY13" fmla="*/ 68986 h 161063"/>
                <a:gd name="connsiteX14" fmla="*/ -171 w 125485"/>
                <a:gd name="connsiteY14" fmla="*/ 34788 h 161063"/>
                <a:gd name="connsiteX15" fmla="*/ 3394 w 125485"/>
                <a:gd name="connsiteY15" fmla="*/ 30073 h 161063"/>
                <a:gd name="connsiteX16" fmla="*/ 12925 w 125485"/>
                <a:gd name="connsiteY16" fmla="*/ 29815 h 161063"/>
                <a:gd name="connsiteX17" fmla="*/ 45392 w 125485"/>
                <a:gd name="connsiteY17" fmla="*/ -7736 h 16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485" h="161063">
                  <a:moveTo>
                    <a:pt x="45392" y="-7736"/>
                  </a:moveTo>
                  <a:cubicBezTo>
                    <a:pt x="46197" y="-7812"/>
                    <a:pt x="47072" y="-7791"/>
                    <a:pt x="47949" y="-7771"/>
                  </a:cubicBezTo>
                  <a:cubicBezTo>
                    <a:pt x="57535" y="-7599"/>
                    <a:pt x="66792" y="-4095"/>
                    <a:pt x="75027" y="787"/>
                  </a:cubicBezTo>
                  <a:cubicBezTo>
                    <a:pt x="89049" y="9148"/>
                    <a:pt x="100312" y="21940"/>
                    <a:pt x="107321" y="36697"/>
                  </a:cubicBezTo>
                  <a:cubicBezTo>
                    <a:pt x="107635" y="38637"/>
                    <a:pt x="107852" y="40637"/>
                    <a:pt x="107943" y="42658"/>
                  </a:cubicBezTo>
                  <a:cubicBezTo>
                    <a:pt x="110800" y="51332"/>
                    <a:pt x="113033" y="60235"/>
                    <a:pt x="114623" y="69244"/>
                  </a:cubicBezTo>
                  <a:cubicBezTo>
                    <a:pt x="119632" y="97097"/>
                    <a:pt x="118401" y="126044"/>
                    <a:pt x="110764" y="153258"/>
                  </a:cubicBezTo>
                  <a:cubicBezTo>
                    <a:pt x="85261" y="153578"/>
                    <a:pt x="59059" y="149131"/>
                    <a:pt x="34569" y="140370"/>
                  </a:cubicBezTo>
                  <a:cubicBezTo>
                    <a:pt x="20744" y="135397"/>
                    <a:pt x="-4956" y="133088"/>
                    <a:pt x="-4956" y="133088"/>
                  </a:cubicBezTo>
                  <a:cubicBezTo>
                    <a:pt x="-5762" y="131361"/>
                    <a:pt x="-7261" y="119941"/>
                    <a:pt x="-7594" y="117880"/>
                  </a:cubicBezTo>
                  <a:cubicBezTo>
                    <a:pt x="-8227" y="113009"/>
                    <a:pt x="-7671" y="107286"/>
                    <a:pt x="-6440" y="101508"/>
                  </a:cubicBezTo>
                  <a:cubicBezTo>
                    <a:pt x="-3285" y="85926"/>
                    <a:pt x="4519" y="70034"/>
                    <a:pt x="4969" y="69067"/>
                  </a:cubicBezTo>
                  <a:lnTo>
                    <a:pt x="5015" y="69031"/>
                  </a:lnTo>
                  <a:lnTo>
                    <a:pt x="4979" y="68986"/>
                  </a:lnTo>
                  <a:lnTo>
                    <a:pt x="-171" y="34788"/>
                  </a:lnTo>
                  <a:cubicBezTo>
                    <a:pt x="-353" y="32540"/>
                    <a:pt x="1227" y="30544"/>
                    <a:pt x="3394" y="30073"/>
                  </a:cubicBezTo>
                  <a:lnTo>
                    <a:pt x="12925" y="29815"/>
                  </a:lnTo>
                  <a:cubicBezTo>
                    <a:pt x="12925" y="29815"/>
                    <a:pt x="8241" y="-6768"/>
                    <a:pt x="45392" y="-7736"/>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0" name="Freeform: Shape 459">
              <a:extLst>
                <a:ext uri="{FF2B5EF4-FFF2-40B4-BE49-F238E27FC236}">
                  <a16:creationId xmlns:a16="http://schemas.microsoft.com/office/drawing/2014/main" id="{250E9191-4318-57B5-697A-233810862765}"/>
                </a:ext>
              </a:extLst>
            </p:cNvPr>
            <p:cNvSpPr/>
            <p:nvPr/>
          </p:nvSpPr>
          <p:spPr>
            <a:xfrm flipV="1">
              <a:off x="6472338" y="2748068"/>
              <a:ext cx="10777" cy="15889"/>
            </a:xfrm>
            <a:custGeom>
              <a:avLst/>
              <a:gdLst>
                <a:gd name="connsiteX0" fmla="*/ 2309 w 10777"/>
                <a:gd name="connsiteY0" fmla="*/ 1724 h 15889"/>
                <a:gd name="connsiteX1" fmla="*/ 192 w 10777"/>
                <a:gd name="connsiteY1" fmla="*/ -7640 h 15889"/>
                <a:gd name="connsiteX2" fmla="*/ -7131 w 10777"/>
                <a:gd name="connsiteY2" fmla="*/ -1426 h 15889"/>
                <a:gd name="connsiteX3" fmla="*/ -5009 w 10777"/>
                <a:gd name="connsiteY3" fmla="*/ 7932 h 15889"/>
                <a:gd name="connsiteX4" fmla="*/ 2309 w 10777"/>
                <a:gd name="connsiteY4" fmla="*/ 1724 h 15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7" h="15889">
                  <a:moveTo>
                    <a:pt x="2309" y="1724"/>
                  </a:moveTo>
                  <a:cubicBezTo>
                    <a:pt x="3747" y="-2576"/>
                    <a:pt x="2795" y="-6769"/>
                    <a:pt x="192" y="-7640"/>
                  </a:cubicBezTo>
                  <a:cubicBezTo>
                    <a:pt x="-2416" y="-8506"/>
                    <a:pt x="-5697" y="-5726"/>
                    <a:pt x="-7131" y="-1426"/>
                  </a:cubicBezTo>
                  <a:cubicBezTo>
                    <a:pt x="-8564" y="2873"/>
                    <a:pt x="-7612" y="7066"/>
                    <a:pt x="-5009" y="7932"/>
                  </a:cubicBezTo>
                  <a:cubicBezTo>
                    <a:pt x="-2401" y="8803"/>
                    <a:pt x="876" y="6023"/>
                    <a:pt x="2309" y="1724"/>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1" name="Freeform: Shape 460">
              <a:extLst>
                <a:ext uri="{FF2B5EF4-FFF2-40B4-BE49-F238E27FC236}">
                  <a16:creationId xmlns:a16="http://schemas.microsoft.com/office/drawing/2014/main" id="{3DC99AF8-B725-614C-9B63-EAB6041A8AFF}"/>
                </a:ext>
              </a:extLst>
            </p:cNvPr>
            <p:cNvSpPr/>
            <p:nvPr/>
          </p:nvSpPr>
          <p:spPr>
            <a:xfrm flipV="1">
              <a:off x="6464734" y="2727008"/>
              <a:ext cx="25304" cy="16233"/>
            </a:xfrm>
            <a:custGeom>
              <a:avLst/>
              <a:gdLst>
                <a:gd name="connsiteX0" fmla="*/ 16898 w 25304"/>
                <a:gd name="connsiteY0" fmla="*/ -2211 h 16233"/>
                <a:gd name="connsiteX1" fmla="*/ -4964 w 25304"/>
                <a:gd name="connsiteY1" fmla="*/ 8332 h 16233"/>
                <a:gd name="connsiteX2" fmla="*/ -4002 w 25304"/>
                <a:gd name="connsiteY2" fmla="*/ 1592 h 16233"/>
                <a:gd name="connsiteX3" fmla="*/ 11565 w 25304"/>
                <a:gd name="connsiteY3" fmla="*/ -6445 h 16233"/>
                <a:gd name="connsiteX4" fmla="*/ 16898 w 25304"/>
                <a:gd name="connsiteY4" fmla="*/ -2211 h 16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04" h="16233">
                  <a:moveTo>
                    <a:pt x="16898" y="-2211"/>
                  </a:moveTo>
                  <a:cubicBezTo>
                    <a:pt x="12066" y="5107"/>
                    <a:pt x="3695" y="8905"/>
                    <a:pt x="-4964" y="8332"/>
                  </a:cubicBezTo>
                  <a:cubicBezTo>
                    <a:pt x="-9339" y="8044"/>
                    <a:pt x="-8357" y="1303"/>
                    <a:pt x="-4002" y="1592"/>
                  </a:cubicBezTo>
                  <a:cubicBezTo>
                    <a:pt x="2363" y="2012"/>
                    <a:pt x="8096" y="-1193"/>
                    <a:pt x="11565" y="-6445"/>
                  </a:cubicBezTo>
                  <a:cubicBezTo>
                    <a:pt x="13976" y="-10101"/>
                    <a:pt x="19303" y="-5852"/>
                    <a:pt x="16898" y="-2211"/>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2" name="Freeform: Shape 461">
              <a:extLst>
                <a:ext uri="{FF2B5EF4-FFF2-40B4-BE49-F238E27FC236}">
                  <a16:creationId xmlns:a16="http://schemas.microsoft.com/office/drawing/2014/main" id="{33C9CFE5-221F-32D0-22C0-E1460FC0A88F}"/>
                </a:ext>
              </a:extLst>
            </p:cNvPr>
            <p:cNvSpPr/>
            <p:nvPr/>
          </p:nvSpPr>
          <p:spPr>
            <a:xfrm flipV="1">
              <a:off x="6533649" y="2733767"/>
              <a:ext cx="11319" cy="27709"/>
            </a:xfrm>
            <a:custGeom>
              <a:avLst/>
              <a:gdLst>
                <a:gd name="connsiteX0" fmla="*/ -3751 w 11319"/>
                <a:gd name="connsiteY0" fmla="*/ -7801 h 27709"/>
                <a:gd name="connsiteX1" fmla="*/ -2510 w 11319"/>
                <a:gd name="connsiteY1" fmla="*/ -7315 h 27709"/>
                <a:gd name="connsiteX2" fmla="*/ 194 w 11319"/>
                <a:gd name="connsiteY2" fmla="*/ 565 h 27709"/>
                <a:gd name="connsiteX3" fmla="*/ -5240 w 11319"/>
                <a:gd name="connsiteY3" fmla="*/ 2190 h 27709"/>
                <a:gd name="connsiteX4" fmla="*/ 2519 w 11319"/>
                <a:gd name="connsiteY4" fmla="*/ 17337 h 27709"/>
                <a:gd name="connsiteX5" fmla="*/ 3349 w 11319"/>
                <a:gd name="connsiteY5" fmla="*/ 18993 h 27709"/>
                <a:gd name="connsiteX6" fmla="*/ 1693 w 11319"/>
                <a:gd name="connsiteY6" fmla="*/ 19824 h 27709"/>
                <a:gd name="connsiteX7" fmla="*/ -7802 w 11319"/>
                <a:gd name="connsiteY7" fmla="*/ 1912 h 27709"/>
                <a:gd name="connsiteX8" fmla="*/ -6850 w 11319"/>
                <a:gd name="connsiteY8" fmla="*/ 139 h 27709"/>
                <a:gd name="connsiteX9" fmla="*/ -4895 w 11319"/>
                <a:gd name="connsiteY9" fmla="*/ -413 h 27709"/>
                <a:gd name="connsiteX10" fmla="*/ -2084 w 11319"/>
                <a:gd name="connsiteY10" fmla="*/ -727 h 27709"/>
                <a:gd name="connsiteX11" fmla="*/ -4576 w 11319"/>
                <a:gd name="connsiteY11" fmla="*/ -5695 h 27709"/>
                <a:gd name="connsiteX12" fmla="*/ -4353 w 11319"/>
                <a:gd name="connsiteY12" fmla="*/ -7538 h 27709"/>
                <a:gd name="connsiteX13" fmla="*/ -3751 w 11319"/>
                <a:gd name="connsiteY13" fmla="*/ -7801 h 27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19" h="27709">
                  <a:moveTo>
                    <a:pt x="-3751" y="-7801"/>
                  </a:moveTo>
                  <a:cubicBezTo>
                    <a:pt x="-3290" y="-7872"/>
                    <a:pt x="-2814" y="-7700"/>
                    <a:pt x="-2510" y="-7315"/>
                  </a:cubicBezTo>
                  <a:cubicBezTo>
                    <a:pt x="336" y="-3689"/>
                    <a:pt x="1197" y="-1188"/>
                    <a:pt x="194" y="565"/>
                  </a:cubicBezTo>
                  <a:cubicBezTo>
                    <a:pt x="-368" y="1557"/>
                    <a:pt x="-1765" y="2636"/>
                    <a:pt x="-5240" y="2190"/>
                  </a:cubicBezTo>
                  <a:cubicBezTo>
                    <a:pt x="-6252" y="14278"/>
                    <a:pt x="2433" y="17307"/>
                    <a:pt x="2519" y="17337"/>
                  </a:cubicBezTo>
                  <a:cubicBezTo>
                    <a:pt x="3207" y="17560"/>
                    <a:pt x="3577" y="18304"/>
                    <a:pt x="3349" y="18993"/>
                  </a:cubicBezTo>
                  <a:cubicBezTo>
                    <a:pt x="3132" y="19677"/>
                    <a:pt x="2387" y="20057"/>
                    <a:pt x="1693" y="19824"/>
                  </a:cubicBezTo>
                  <a:cubicBezTo>
                    <a:pt x="1592" y="19788"/>
                    <a:pt x="-9048" y="16091"/>
                    <a:pt x="-7802" y="1912"/>
                  </a:cubicBezTo>
                  <a:cubicBezTo>
                    <a:pt x="-7742" y="1223"/>
                    <a:pt x="-7397" y="580"/>
                    <a:pt x="-6850" y="139"/>
                  </a:cubicBezTo>
                  <a:cubicBezTo>
                    <a:pt x="-6303" y="-301"/>
                    <a:pt x="-5594" y="-494"/>
                    <a:pt x="-4895" y="-413"/>
                  </a:cubicBezTo>
                  <a:cubicBezTo>
                    <a:pt x="-3108" y="-180"/>
                    <a:pt x="-2221" y="-484"/>
                    <a:pt x="-2084" y="-727"/>
                  </a:cubicBezTo>
                  <a:cubicBezTo>
                    <a:pt x="-2059" y="-772"/>
                    <a:pt x="-1528" y="-1815"/>
                    <a:pt x="-4576" y="-5695"/>
                  </a:cubicBezTo>
                  <a:cubicBezTo>
                    <a:pt x="-5022" y="-6267"/>
                    <a:pt x="-4921" y="-7092"/>
                    <a:pt x="-4353" y="-7538"/>
                  </a:cubicBezTo>
                  <a:lnTo>
                    <a:pt x="-3751" y="-7801"/>
                  </a:lnTo>
                </a:path>
              </a:pathLst>
            </a:custGeom>
            <a:solidFill>
              <a:srgbClr val="E8E4E2">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3" name="Freeform: Shape 462">
              <a:extLst>
                <a:ext uri="{FF2B5EF4-FFF2-40B4-BE49-F238E27FC236}">
                  <a16:creationId xmlns:a16="http://schemas.microsoft.com/office/drawing/2014/main" id="{A6C866B4-D54A-FF40-4BAB-241101B42A04}"/>
                </a:ext>
              </a:extLst>
            </p:cNvPr>
            <p:cNvSpPr/>
            <p:nvPr/>
          </p:nvSpPr>
          <p:spPr>
            <a:xfrm flipV="1">
              <a:off x="6540201" y="2768107"/>
              <a:ext cx="19284" cy="10802"/>
            </a:xfrm>
            <a:custGeom>
              <a:avLst/>
              <a:gdLst>
                <a:gd name="connsiteX0" fmla="*/ -7921 w 19284"/>
                <a:gd name="connsiteY0" fmla="*/ -5628 h 10802"/>
                <a:gd name="connsiteX1" fmla="*/ 11363 w 19284"/>
                <a:gd name="connsiteY1" fmla="*/ 2864 h 10802"/>
                <a:gd name="connsiteX2" fmla="*/ 2926 w 19284"/>
                <a:gd name="connsiteY2" fmla="*/ 469 h 10802"/>
                <a:gd name="connsiteX3" fmla="*/ -7921 w 19284"/>
                <a:gd name="connsiteY3" fmla="*/ -5628 h 10802"/>
              </a:gdLst>
              <a:ahLst/>
              <a:cxnLst>
                <a:cxn ang="0">
                  <a:pos x="connsiteX0" y="connsiteY0"/>
                </a:cxn>
                <a:cxn ang="0">
                  <a:pos x="connsiteX1" y="connsiteY1"/>
                </a:cxn>
                <a:cxn ang="0">
                  <a:pos x="connsiteX2" y="connsiteY2"/>
                </a:cxn>
                <a:cxn ang="0">
                  <a:pos x="connsiteX3" y="connsiteY3"/>
                </a:cxn>
              </a:cxnLst>
              <a:rect l="l" t="t" r="r" b="b"/>
              <a:pathLst>
                <a:path w="19284" h="10802">
                  <a:moveTo>
                    <a:pt x="-7921" y="-5628"/>
                  </a:moveTo>
                  <a:cubicBezTo>
                    <a:pt x="-3911" y="-8358"/>
                    <a:pt x="3879" y="-10819"/>
                    <a:pt x="11363" y="2864"/>
                  </a:cubicBezTo>
                  <a:cubicBezTo>
                    <a:pt x="11363" y="2864"/>
                    <a:pt x="6284" y="4019"/>
                    <a:pt x="2926" y="469"/>
                  </a:cubicBezTo>
                  <a:cubicBezTo>
                    <a:pt x="2926" y="469"/>
                    <a:pt x="-3222" y="-7593"/>
                    <a:pt x="-7921" y="-5628"/>
                  </a:cubicBezTo>
                </a:path>
              </a:pathLst>
            </a:custGeom>
            <a:solidFill>
              <a:srgbClr val="E8E4E2">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4" name="Freeform: Shape 463">
              <a:extLst>
                <a:ext uri="{FF2B5EF4-FFF2-40B4-BE49-F238E27FC236}">
                  <a16:creationId xmlns:a16="http://schemas.microsoft.com/office/drawing/2014/main" id="{F5F79CB2-F82D-2507-14A3-8741EC107613}"/>
                </a:ext>
              </a:extLst>
            </p:cNvPr>
            <p:cNvSpPr/>
            <p:nvPr/>
          </p:nvSpPr>
          <p:spPr>
            <a:xfrm flipV="1">
              <a:off x="6413994" y="2619262"/>
              <a:ext cx="194269" cy="162221"/>
            </a:xfrm>
            <a:custGeom>
              <a:avLst/>
              <a:gdLst>
                <a:gd name="connsiteX0" fmla="*/ 74760 w 194269"/>
                <a:gd name="connsiteY0" fmla="*/ 75954 h 162221"/>
                <a:gd name="connsiteX1" fmla="*/ 104178 w 194269"/>
                <a:gd name="connsiteY1" fmla="*/ 30565 h 162221"/>
                <a:gd name="connsiteX2" fmla="*/ 111344 w 194269"/>
                <a:gd name="connsiteY2" fmla="*/ 43124 h 162221"/>
                <a:gd name="connsiteX3" fmla="*/ 125716 w 194269"/>
                <a:gd name="connsiteY3" fmla="*/ 44380 h 162221"/>
                <a:gd name="connsiteX4" fmla="*/ 137034 w 194269"/>
                <a:gd name="connsiteY4" fmla="*/ 25480 h 162221"/>
                <a:gd name="connsiteX5" fmla="*/ 129195 w 194269"/>
                <a:gd name="connsiteY5" fmla="*/ 2879 h 162221"/>
                <a:gd name="connsiteX6" fmla="*/ 129418 w 194269"/>
                <a:gd name="connsiteY6" fmla="*/ 2920 h 162221"/>
                <a:gd name="connsiteX7" fmla="*/ 171273 w 194269"/>
                <a:gd name="connsiteY7" fmla="*/ -7923 h 162221"/>
                <a:gd name="connsiteX8" fmla="*/ 183427 w 194269"/>
                <a:gd name="connsiteY8" fmla="*/ 48218 h 162221"/>
                <a:gd name="connsiteX9" fmla="*/ 183245 w 194269"/>
                <a:gd name="connsiteY9" fmla="*/ 87151 h 162221"/>
                <a:gd name="connsiteX10" fmla="*/ 168852 w 194269"/>
                <a:gd name="connsiteY10" fmla="*/ 103169 h 162221"/>
                <a:gd name="connsiteX11" fmla="*/ 172473 w 194269"/>
                <a:gd name="connsiteY11" fmla="*/ 104111 h 162221"/>
                <a:gd name="connsiteX12" fmla="*/ 173623 w 194269"/>
                <a:gd name="connsiteY12" fmla="*/ 110021 h 162221"/>
                <a:gd name="connsiteX13" fmla="*/ 137444 w 194269"/>
                <a:gd name="connsiteY13" fmla="*/ 120423 h 162221"/>
                <a:gd name="connsiteX14" fmla="*/ 76093 w 194269"/>
                <a:gd name="connsiteY14" fmla="*/ 153476 h 162221"/>
                <a:gd name="connsiteX15" fmla="*/ 74447 w 194269"/>
                <a:gd name="connsiteY15" fmla="*/ 149172 h 162221"/>
                <a:gd name="connsiteX16" fmla="*/ 77885 w 194269"/>
                <a:gd name="connsiteY16" fmla="*/ 145206 h 162221"/>
                <a:gd name="connsiteX17" fmla="*/ 72649 w 194269"/>
                <a:gd name="connsiteY17" fmla="*/ 143480 h 162221"/>
                <a:gd name="connsiteX18" fmla="*/ -3566 w 194269"/>
                <a:gd name="connsiteY18" fmla="*/ 113921 h 162221"/>
                <a:gd name="connsiteX19" fmla="*/ -3850 w 194269"/>
                <a:gd name="connsiteY19" fmla="*/ 113870 h 162221"/>
                <a:gd name="connsiteX20" fmla="*/ -7835 w 194269"/>
                <a:gd name="connsiteY20" fmla="*/ 108254 h 162221"/>
                <a:gd name="connsiteX21" fmla="*/ 25755 w 194269"/>
                <a:gd name="connsiteY21" fmla="*/ 68536 h 162221"/>
                <a:gd name="connsiteX22" fmla="*/ 74760 w 194269"/>
                <a:gd name="connsiteY22" fmla="*/ 75954 h 16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4269" h="162221">
                  <a:moveTo>
                    <a:pt x="74760" y="75954"/>
                  </a:moveTo>
                  <a:cubicBezTo>
                    <a:pt x="76695" y="59050"/>
                    <a:pt x="88368" y="36819"/>
                    <a:pt x="104178" y="30565"/>
                  </a:cubicBezTo>
                  <a:cubicBezTo>
                    <a:pt x="104371" y="35558"/>
                    <a:pt x="107116" y="40419"/>
                    <a:pt x="111344" y="43124"/>
                  </a:cubicBezTo>
                  <a:cubicBezTo>
                    <a:pt x="115542" y="45843"/>
                    <a:pt x="121128" y="46324"/>
                    <a:pt x="125716" y="44380"/>
                  </a:cubicBezTo>
                  <a:cubicBezTo>
                    <a:pt x="132887" y="41377"/>
                    <a:pt x="136867" y="33234"/>
                    <a:pt x="137034" y="25480"/>
                  </a:cubicBezTo>
                  <a:cubicBezTo>
                    <a:pt x="137242" y="17702"/>
                    <a:pt x="132512" y="9928"/>
                    <a:pt x="129195" y="2879"/>
                  </a:cubicBezTo>
                  <a:lnTo>
                    <a:pt x="129418" y="2920"/>
                  </a:lnTo>
                  <a:cubicBezTo>
                    <a:pt x="131540" y="3441"/>
                    <a:pt x="155417" y="1264"/>
                    <a:pt x="171273" y="-7923"/>
                  </a:cubicBezTo>
                  <a:cubicBezTo>
                    <a:pt x="173972" y="5153"/>
                    <a:pt x="180753" y="35178"/>
                    <a:pt x="183427" y="48218"/>
                  </a:cubicBezTo>
                  <a:cubicBezTo>
                    <a:pt x="186096" y="61172"/>
                    <a:pt x="188623" y="75114"/>
                    <a:pt x="183245" y="87151"/>
                  </a:cubicBezTo>
                  <a:cubicBezTo>
                    <a:pt x="180257" y="93836"/>
                    <a:pt x="175046" y="99219"/>
                    <a:pt x="168852" y="103169"/>
                  </a:cubicBezTo>
                  <a:lnTo>
                    <a:pt x="172473" y="104111"/>
                  </a:lnTo>
                  <a:cubicBezTo>
                    <a:pt x="175172" y="104815"/>
                    <a:pt x="175821" y="108289"/>
                    <a:pt x="173623" y="110021"/>
                  </a:cubicBezTo>
                  <a:cubicBezTo>
                    <a:pt x="156936" y="123041"/>
                    <a:pt x="137444" y="120423"/>
                    <a:pt x="137444" y="120423"/>
                  </a:cubicBezTo>
                  <a:cubicBezTo>
                    <a:pt x="131742" y="131999"/>
                    <a:pt x="116236" y="159376"/>
                    <a:pt x="76093" y="153476"/>
                  </a:cubicBezTo>
                  <a:cubicBezTo>
                    <a:pt x="74047" y="153198"/>
                    <a:pt x="73084" y="150747"/>
                    <a:pt x="74447" y="149172"/>
                  </a:cubicBezTo>
                  <a:lnTo>
                    <a:pt x="77885" y="145206"/>
                  </a:lnTo>
                  <a:lnTo>
                    <a:pt x="72649" y="143480"/>
                  </a:lnTo>
                  <a:cubicBezTo>
                    <a:pt x="51010" y="136319"/>
                    <a:pt x="18604" y="119248"/>
                    <a:pt x="-3566" y="113921"/>
                  </a:cubicBezTo>
                  <a:lnTo>
                    <a:pt x="-3850" y="113870"/>
                  </a:lnTo>
                  <a:cubicBezTo>
                    <a:pt x="-6367" y="113282"/>
                    <a:pt x="-8058" y="110856"/>
                    <a:pt x="-7835" y="108254"/>
                  </a:cubicBezTo>
                  <a:cubicBezTo>
                    <a:pt x="-6185" y="89911"/>
                    <a:pt x="7793" y="73048"/>
                    <a:pt x="25755" y="68536"/>
                  </a:cubicBezTo>
                  <a:cubicBezTo>
                    <a:pt x="42036" y="64474"/>
                    <a:pt x="59047" y="70176"/>
                    <a:pt x="74760" y="75954"/>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5" name="Freeform: Shape 464">
              <a:extLst>
                <a:ext uri="{FF2B5EF4-FFF2-40B4-BE49-F238E27FC236}">
                  <a16:creationId xmlns:a16="http://schemas.microsoft.com/office/drawing/2014/main" id="{1CD2AD6F-161B-C45A-3C06-AC336BA798E6}"/>
                </a:ext>
              </a:extLst>
            </p:cNvPr>
            <p:cNvSpPr/>
            <p:nvPr/>
          </p:nvSpPr>
          <p:spPr>
            <a:xfrm flipV="1">
              <a:off x="6485560" y="2796422"/>
              <a:ext cx="22928" cy="25599"/>
            </a:xfrm>
            <a:custGeom>
              <a:avLst/>
              <a:gdLst>
                <a:gd name="connsiteX0" fmla="*/ 9837 w 22928"/>
                <a:gd name="connsiteY0" fmla="*/ 16850 h 25599"/>
                <a:gd name="connsiteX1" fmla="*/ -6515 w 22928"/>
                <a:gd name="connsiteY1" fmla="*/ 4529 h 25599"/>
                <a:gd name="connsiteX2" fmla="*/ -6899 w 22928"/>
                <a:gd name="connsiteY2" fmla="*/ 1050 h 25599"/>
                <a:gd name="connsiteX3" fmla="*/ 13631 w 22928"/>
                <a:gd name="connsiteY3" fmla="*/ 16552 h 25599"/>
                <a:gd name="connsiteX4" fmla="*/ 9837 w 22928"/>
                <a:gd name="connsiteY4" fmla="*/ 16850 h 25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28" h="25599">
                  <a:moveTo>
                    <a:pt x="9837" y="16850"/>
                  </a:moveTo>
                  <a:cubicBezTo>
                    <a:pt x="7984" y="11994"/>
                    <a:pt x="3553" y="4838"/>
                    <a:pt x="-6515" y="4529"/>
                  </a:cubicBezTo>
                  <a:cubicBezTo>
                    <a:pt x="-8510" y="4468"/>
                    <a:pt x="-7897" y="2914"/>
                    <a:pt x="-6899" y="1050"/>
                  </a:cubicBezTo>
                  <a:cubicBezTo>
                    <a:pt x="-1613" y="-8810"/>
                    <a:pt x="21014" y="-17241"/>
                    <a:pt x="13631" y="16552"/>
                  </a:cubicBezTo>
                  <a:cubicBezTo>
                    <a:pt x="13251" y="18284"/>
                    <a:pt x="10410" y="18359"/>
                    <a:pt x="9837" y="16850"/>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6" name="Freeform: Shape 465">
              <a:extLst>
                <a:ext uri="{FF2B5EF4-FFF2-40B4-BE49-F238E27FC236}">
                  <a16:creationId xmlns:a16="http://schemas.microsoft.com/office/drawing/2014/main" id="{D53BFAC9-0BF1-1886-BADF-13A7E92D1723}"/>
                </a:ext>
              </a:extLst>
            </p:cNvPr>
            <p:cNvSpPr/>
            <p:nvPr/>
          </p:nvSpPr>
          <p:spPr>
            <a:xfrm flipV="1">
              <a:off x="6544542" y="2868866"/>
              <a:ext cx="137840" cy="369894"/>
            </a:xfrm>
            <a:custGeom>
              <a:avLst/>
              <a:gdLst>
                <a:gd name="connsiteX0" fmla="*/ -7509 w 137840"/>
                <a:gd name="connsiteY0" fmla="*/ 362763 h 369894"/>
                <a:gd name="connsiteX1" fmla="*/ 9846 w 137840"/>
                <a:gd name="connsiteY1" fmla="*/ 317267 h 369894"/>
                <a:gd name="connsiteX2" fmla="*/ 71922 w 137840"/>
                <a:gd name="connsiteY2" fmla="*/ 14244 h 369894"/>
                <a:gd name="connsiteX3" fmla="*/ 109867 w 137840"/>
                <a:gd name="connsiteY3" fmla="*/ -7132 h 369894"/>
                <a:gd name="connsiteX4" fmla="*/ 129810 w 137840"/>
                <a:gd name="connsiteY4" fmla="*/ 40441 h 369894"/>
                <a:gd name="connsiteX5" fmla="*/ 20222 w 137840"/>
                <a:gd name="connsiteY5" fmla="*/ 322341 h 369894"/>
                <a:gd name="connsiteX6" fmla="*/ -7509 w 137840"/>
                <a:gd name="connsiteY6" fmla="*/ 362763 h 36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840" h="369894">
                  <a:moveTo>
                    <a:pt x="-7509" y="362763"/>
                  </a:moveTo>
                  <a:cubicBezTo>
                    <a:pt x="-7509" y="362763"/>
                    <a:pt x="-12725" y="327010"/>
                    <a:pt x="9846" y="317267"/>
                  </a:cubicBezTo>
                  <a:cubicBezTo>
                    <a:pt x="9846" y="317267"/>
                    <a:pt x="20288" y="131413"/>
                    <a:pt x="71922" y="14244"/>
                  </a:cubicBezTo>
                  <a:lnTo>
                    <a:pt x="109867" y="-7132"/>
                  </a:lnTo>
                  <a:lnTo>
                    <a:pt x="129810" y="40441"/>
                  </a:lnTo>
                  <a:cubicBezTo>
                    <a:pt x="129810" y="40441"/>
                    <a:pt x="39076" y="162132"/>
                    <a:pt x="20222" y="322341"/>
                  </a:cubicBezTo>
                  <a:cubicBezTo>
                    <a:pt x="20222" y="322341"/>
                    <a:pt x="23352" y="359856"/>
                    <a:pt x="-7509" y="362763"/>
                  </a:cubicBezTo>
                </a:path>
              </a:pathLst>
            </a:custGeom>
            <a:solidFill>
              <a:srgbClr val="FFFFFF"/>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7" name="Freeform: Shape 466">
              <a:extLst>
                <a:ext uri="{FF2B5EF4-FFF2-40B4-BE49-F238E27FC236}">
                  <a16:creationId xmlns:a16="http://schemas.microsoft.com/office/drawing/2014/main" id="{540E524D-3BEA-6F3B-6AD8-73DCB39FC60A}"/>
                </a:ext>
              </a:extLst>
            </p:cNvPr>
            <p:cNvSpPr/>
            <p:nvPr/>
          </p:nvSpPr>
          <p:spPr>
            <a:xfrm flipV="1">
              <a:off x="6536054" y="2796236"/>
              <a:ext cx="92328" cy="105120"/>
            </a:xfrm>
            <a:custGeom>
              <a:avLst/>
              <a:gdLst>
                <a:gd name="connsiteX0" fmla="*/ 68795 w 92328"/>
                <a:gd name="connsiteY0" fmla="*/ 97530 h 105120"/>
                <a:gd name="connsiteX1" fmla="*/ -7977 w 92328"/>
                <a:gd name="connsiteY1" fmla="*/ 24125 h 105120"/>
                <a:gd name="connsiteX2" fmla="*/ 30171 w 92328"/>
                <a:gd name="connsiteY2" fmla="*/ -7571 h 105120"/>
                <a:gd name="connsiteX3" fmla="*/ 84352 w 92328"/>
                <a:gd name="connsiteY3" fmla="*/ 80226 h 105120"/>
                <a:gd name="connsiteX4" fmla="*/ 68795 w 92328"/>
                <a:gd name="connsiteY4" fmla="*/ 97530 h 105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28" h="105120">
                  <a:moveTo>
                    <a:pt x="68795" y="97530"/>
                  </a:moveTo>
                  <a:lnTo>
                    <a:pt x="-7977" y="24125"/>
                  </a:lnTo>
                  <a:cubicBezTo>
                    <a:pt x="-7977" y="24125"/>
                    <a:pt x="31042" y="-8503"/>
                    <a:pt x="30171" y="-7571"/>
                  </a:cubicBezTo>
                  <a:cubicBezTo>
                    <a:pt x="29295" y="-6644"/>
                    <a:pt x="84352" y="80226"/>
                    <a:pt x="84352" y="80226"/>
                  </a:cubicBezTo>
                  <a:lnTo>
                    <a:pt x="68795" y="97530"/>
                  </a:lnTo>
                </a:path>
              </a:pathLst>
            </a:custGeom>
            <a:solidFill>
              <a:srgbClr val="4DA5C3">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8" name="Freeform: Shape 467">
              <a:extLst>
                <a:ext uri="{FF2B5EF4-FFF2-40B4-BE49-F238E27FC236}">
                  <a16:creationId xmlns:a16="http://schemas.microsoft.com/office/drawing/2014/main" id="{05244C88-1486-E9EA-5302-073408EB6458}"/>
                </a:ext>
              </a:extLst>
            </p:cNvPr>
            <p:cNvSpPr/>
            <p:nvPr/>
          </p:nvSpPr>
          <p:spPr>
            <a:xfrm flipV="1">
              <a:off x="6071375" y="3275678"/>
              <a:ext cx="57137" cy="50250"/>
            </a:xfrm>
            <a:custGeom>
              <a:avLst/>
              <a:gdLst>
                <a:gd name="connsiteX0" fmla="*/ 49987 w 57137"/>
                <a:gd name="connsiteY0" fmla="*/ 43424 h 50250"/>
                <a:gd name="connsiteX1" fmla="*/ 6420 w 57137"/>
                <a:gd name="connsiteY1" fmla="*/ 35316 h 50250"/>
                <a:gd name="connsiteX2" fmla="*/ -7147 w 57137"/>
                <a:gd name="connsiteY2" fmla="*/ 3078 h 50250"/>
                <a:gd name="connsiteX3" fmla="*/ -2220 w 57137"/>
                <a:gd name="connsiteY3" fmla="*/ -6382 h 50250"/>
                <a:gd name="connsiteX4" fmla="*/ 7458 w 57137"/>
                <a:gd name="connsiteY4" fmla="*/ 475 h 50250"/>
                <a:gd name="connsiteX5" fmla="*/ 16209 w 57137"/>
                <a:gd name="connsiteY5" fmla="*/ 23891 h 50250"/>
                <a:gd name="connsiteX6" fmla="*/ 43722 w 57137"/>
                <a:gd name="connsiteY6" fmla="*/ 34030 h 50250"/>
                <a:gd name="connsiteX7" fmla="*/ 49987 w 57137"/>
                <a:gd name="connsiteY7" fmla="*/ 43424 h 5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37" h="50250">
                  <a:moveTo>
                    <a:pt x="49987" y="43424"/>
                  </a:moveTo>
                  <a:cubicBezTo>
                    <a:pt x="38015" y="44198"/>
                    <a:pt x="15115" y="43581"/>
                    <a:pt x="6420" y="35316"/>
                  </a:cubicBezTo>
                  <a:cubicBezTo>
                    <a:pt x="-2270" y="27051"/>
                    <a:pt x="-7319" y="15075"/>
                    <a:pt x="-7147" y="3078"/>
                  </a:cubicBezTo>
                  <a:cubicBezTo>
                    <a:pt x="-7097" y="-741"/>
                    <a:pt x="-5896" y="-5344"/>
                    <a:pt x="-2220" y="-6382"/>
                  </a:cubicBezTo>
                  <a:cubicBezTo>
                    <a:pt x="1912" y="-7547"/>
                    <a:pt x="5452" y="-3323"/>
                    <a:pt x="7458" y="475"/>
                  </a:cubicBezTo>
                  <a:cubicBezTo>
                    <a:pt x="11367" y="7858"/>
                    <a:pt x="14315" y="15753"/>
                    <a:pt x="16209" y="23891"/>
                  </a:cubicBezTo>
                  <a:lnTo>
                    <a:pt x="43722" y="34030"/>
                  </a:lnTo>
                  <a:lnTo>
                    <a:pt x="49987" y="43424"/>
                  </a:ln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9" name="Freeform: Shape 468">
              <a:extLst>
                <a:ext uri="{FF2B5EF4-FFF2-40B4-BE49-F238E27FC236}">
                  <a16:creationId xmlns:a16="http://schemas.microsoft.com/office/drawing/2014/main" id="{24AFB264-F89D-AD4E-A52F-8541CD66EC48}"/>
                </a:ext>
              </a:extLst>
            </p:cNvPr>
            <p:cNvSpPr/>
            <p:nvPr/>
          </p:nvSpPr>
          <p:spPr>
            <a:xfrm flipV="1">
              <a:off x="6076200" y="3339611"/>
              <a:ext cx="55092" cy="32089"/>
            </a:xfrm>
            <a:custGeom>
              <a:avLst/>
              <a:gdLst>
                <a:gd name="connsiteX0" fmla="*/ 47935 w 55092"/>
                <a:gd name="connsiteY0" fmla="*/ 15297 h 32089"/>
                <a:gd name="connsiteX1" fmla="*/ 30160 w 55092"/>
                <a:gd name="connsiteY1" fmla="*/ 25592 h 32089"/>
                <a:gd name="connsiteX2" fmla="*/ 10293 w 55092"/>
                <a:gd name="connsiteY2" fmla="*/ 18988 h 32089"/>
                <a:gd name="connsiteX3" fmla="*/ -7158 w 55092"/>
                <a:gd name="connsiteY3" fmla="*/ 2464 h 32089"/>
                <a:gd name="connsiteX4" fmla="*/ 15124 w 55092"/>
                <a:gd name="connsiteY4" fmla="*/ -6454 h 32089"/>
                <a:gd name="connsiteX5" fmla="*/ 34141 w 55092"/>
                <a:gd name="connsiteY5" fmla="*/ 236 h 32089"/>
                <a:gd name="connsiteX6" fmla="*/ 47935 w 55092"/>
                <a:gd name="connsiteY6" fmla="*/ 15297 h 3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92" h="32089">
                  <a:moveTo>
                    <a:pt x="47935" y="15297"/>
                  </a:moveTo>
                  <a:cubicBezTo>
                    <a:pt x="44304" y="21434"/>
                    <a:pt x="37275" y="25177"/>
                    <a:pt x="30160" y="25592"/>
                  </a:cubicBezTo>
                  <a:cubicBezTo>
                    <a:pt x="23045" y="26002"/>
                    <a:pt x="15945" y="23333"/>
                    <a:pt x="10293" y="18988"/>
                  </a:cubicBezTo>
                  <a:cubicBezTo>
                    <a:pt x="4637" y="14648"/>
                    <a:pt x="-3932" y="8819"/>
                    <a:pt x="-7158" y="2464"/>
                  </a:cubicBezTo>
                  <a:cubicBezTo>
                    <a:pt x="-3512" y="-3324"/>
                    <a:pt x="8288" y="-6363"/>
                    <a:pt x="15124" y="-6454"/>
                  </a:cubicBezTo>
                  <a:cubicBezTo>
                    <a:pt x="21961" y="-6545"/>
                    <a:pt x="28620" y="-3800"/>
                    <a:pt x="34141" y="236"/>
                  </a:cubicBezTo>
                  <a:cubicBezTo>
                    <a:pt x="39660" y="4272"/>
                    <a:pt x="43828" y="9832"/>
                    <a:pt x="47935" y="15297"/>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grpSp>
    </p:spTree>
    <p:extLst>
      <p:ext uri="{BB962C8B-B14F-4D97-AF65-F5344CB8AC3E}">
        <p14:creationId xmlns:p14="http://schemas.microsoft.com/office/powerpoint/2010/main" val="30565770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US" sz="1733" b="0" i="0" u="none" strike="noStrike" kern="1200" cap="none" spc="0" normalizeH="0" baseline="0" noProof="0" smtClean="0">
                <a:ln>
                  <a:noFill/>
                </a:ln>
                <a:solidFill>
                  <a:prstClr val="white">
                    <a:lumMod val="10000"/>
                  </a:prst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3</a:t>
            </a:fld>
            <a:endParaRPr kumimoji="0" lang="en-US" sz="1733" b="0" i="0" u="none" strike="noStrike" kern="1200" cap="none" spc="0" normalizeH="0" baseline="0" noProof="0">
              <a:ln>
                <a:noFill/>
              </a:ln>
              <a:solidFill>
                <a:prstClr val="white">
                  <a:lumMod val="10000"/>
                </a:prstClr>
              </a:solidFill>
              <a:effectLst/>
              <a:uLnTx/>
              <a:uFillTx/>
              <a:latin typeface="Poppins" panose="00000500000000000000" pitchFamily="2" charset="0"/>
              <a:cs typeface="Poppins" panose="00000500000000000000" pitchFamily="2" charset="0"/>
              <a:sym typeface="Ubuntu Light"/>
            </a:endParaRPr>
          </a:p>
        </p:txBody>
      </p:sp>
      <p:pic>
        <p:nvPicPr>
          <p:cNvPr id="28" name="Picture 27">
            <a:extLst>
              <a:ext uri="{FF2B5EF4-FFF2-40B4-BE49-F238E27FC236}">
                <a16:creationId xmlns:a16="http://schemas.microsoft.com/office/drawing/2014/main" id="{D2756322-53FE-FF4E-B0D8-F5C388590C0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29" name="Picture 28">
            <a:extLst>
              <a:ext uri="{FF2B5EF4-FFF2-40B4-BE49-F238E27FC236}">
                <a16:creationId xmlns:a16="http://schemas.microsoft.com/office/drawing/2014/main" id="{FBB66E5C-005D-DDA5-F2B2-FBA03938D1C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6" name="Title 3">
            <a:extLst>
              <a:ext uri="{FF2B5EF4-FFF2-40B4-BE49-F238E27FC236}">
                <a16:creationId xmlns:a16="http://schemas.microsoft.com/office/drawing/2014/main" id="{BA7DA431-BDE0-3273-D963-2DB5206A235E}"/>
              </a:ext>
            </a:extLst>
          </p:cNvPr>
          <p:cNvSpPr>
            <a:spLocks noGrp="1"/>
          </p:cNvSpPr>
          <p:nvPr>
            <p:ph type="ctrTitle"/>
          </p:nvPr>
        </p:nvSpPr>
        <p:spPr>
          <a:xfrm>
            <a:off x="243440" y="336182"/>
            <a:ext cx="11705119" cy="698513"/>
          </a:xfrm>
        </p:spPr>
        <p:txBody>
          <a:bodyPr vert="horz" tIns="0" bIns="0" anchor="t"/>
          <a:lstStyle/>
          <a:p>
            <a:pPr algn="ctr"/>
            <a:r>
              <a:rPr lang="en-US" altLang="en-GB" dirty="0">
                <a:solidFill>
                  <a:srgbClr val="145275"/>
                </a:solidFill>
                <a:latin typeface="Poppins"/>
                <a:cs typeface="Poppins"/>
              </a:rPr>
              <a:t>Sprint (4 Weeks) </a:t>
            </a:r>
            <a:endParaRPr lang="en-US" altLang="en-GB" dirty="0">
              <a:solidFill>
                <a:srgbClr val="145275"/>
              </a:solidFill>
              <a:latin typeface="Poppins" panose="00000500000000000000" pitchFamily="2" charset="0"/>
              <a:cs typeface="Poppins" panose="00000500000000000000" pitchFamily="2" charset="0"/>
            </a:endParaRPr>
          </a:p>
        </p:txBody>
      </p:sp>
      <p:graphicFrame>
        <p:nvGraphicFramePr>
          <p:cNvPr id="2" name="Table 4">
            <a:extLst>
              <a:ext uri="{FF2B5EF4-FFF2-40B4-BE49-F238E27FC236}">
                <a16:creationId xmlns:a16="http://schemas.microsoft.com/office/drawing/2014/main" id="{DAFC9DB0-7EEC-4E65-8C4D-EFE0328FE554}"/>
              </a:ext>
            </a:extLst>
          </p:cNvPr>
          <p:cNvGraphicFramePr>
            <a:graphicFrameLocks/>
          </p:cNvGraphicFramePr>
          <p:nvPr>
            <p:extLst>
              <p:ext uri="{D42A27DB-BD31-4B8C-83A1-F6EECF244321}">
                <p14:modId xmlns:p14="http://schemas.microsoft.com/office/powerpoint/2010/main" val="3572237760"/>
              </p:ext>
            </p:extLst>
          </p:nvPr>
        </p:nvGraphicFramePr>
        <p:xfrm>
          <a:off x="555171" y="1654628"/>
          <a:ext cx="11099331" cy="4150003"/>
        </p:xfrm>
        <a:graphic>
          <a:graphicData uri="http://schemas.openxmlformats.org/drawingml/2006/table">
            <a:tbl>
              <a:tblPr firstRow="1" bandRow="1">
                <a:tableStyleId>{5C22544A-7EE6-4342-B048-85BDC9FD1C3A}</a:tableStyleId>
              </a:tblPr>
              <a:tblGrid>
                <a:gridCol w="860781">
                  <a:extLst>
                    <a:ext uri="{9D8B030D-6E8A-4147-A177-3AD203B41FA5}">
                      <a16:colId xmlns:a16="http://schemas.microsoft.com/office/drawing/2014/main" val="3148197563"/>
                    </a:ext>
                  </a:extLst>
                </a:gridCol>
                <a:gridCol w="2047710">
                  <a:extLst>
                    <a:ext uri="{9D8B030D-6E8A-4147-A177-3AD203B41FA5}">
                      <a16:colId xmlns:a16="http://schemas.microsoft.com/office/drawing/2014/main" val="1013132554"/>
                    </a:ext>
                  </a:extLst>
                </a:gridCol>
                <a:gridCol w="2047710">
                  <a:extLst>
                    <a:ext uri="{9D8B030D-6E8A-4147-A177-3AD203B41FA5}">
                      <a16:colId xmlns:a16="http://schemas.microsoft.com/office/drawing/2014/main" val="2630841"/>
                    </a:ext>
                  </a:extLst>
                </a:gridCol>
                <a:gridCol w="2047710">
                  <a:extLst>
                    <a:ext uri="{9D8B030D-6E8A-4147-A177-3AD203B41FA5}">
                      <a16:colId xmlns:a16="http://schemas.microsoft.com/office/drawing/2014/main" val="2574730845"/>
                    </a:ext>
                  </a:extLst>
                </a:gridCol>
                <a:gridCol w="2047710">
                  <a:extLst>
                    <a:ext uri="{9D8B030D-6E8A-4147-A177-3AD203B41FA5}">
                      <a16:colId xmlns:a16="http://schemas.microsoft.com/office/drawing/2014/main" val="2553014414"/>
                    </a:ext>
                  </a:extLst>
                </a:gridCol>
                <a:gridCol w="2047710">
                  <a:extLst>
                    <a:ext uri="{9D8B030D-6E8A-4147-A177-3AD203B41FA5}">
                      <a16:colId xmlns:a16="http://schemas.microsoft.com/office/drawing/2014/main" val="3905377017"/>
                    </a:ext>
                  </a:extLst>
                </a:gridCol>
              </a:tblGrid>
              <a:tr h="355715">
                <a:tc>
                  <a:txBody>
                    <a:bodyPr/>
                    <a:lstStyle/>
                    <a:p>
                      <a:endParaRPr lang="LID4096" sz="1200" dirty="0">
                        <a:latin typeface="Poppins" panose="00000500000000000000" pitchFamily="2" charset="0"/>
                        <a:cs typeface="Poppins" panose="00000500000000000000" pitchFamily="2"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1200" dirty="0">
                          <a:latin typeface="Poppins"/>
                          <a:cs typeface="Poppins"/>
                        </a:rPr>
                        <a:t>MON</a:t>
                      </a:r>
                      <a:endParaRPr lang="LID4096" sz="1200" dirty="0">
                        <a:latin typeface="Poppins"/>
                        <a:cs typeface="Poppins"/>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45275"/>
                    </a:solidFill>
                  </a:tcPr>
                </a:tc>
                <a:tc>
                  <a:txBody>
                    <a:bodyPr/>
                    <a:lstStyle/>
                    <a:p>
                      <a:pPr algn="ctr"/>
                      <a:r>
                        <a:rPr lang="en-US" sz="1200" dirty="0">
                          <a:latin typeface="Poppins"/>
                          <a:cs typeface="Poppins"/>
                        </a:rPr>
                        <a:t>TUE</a:t>
                      </a:r>
                      <a:endParaRPr lang="LID4096" sz="1200" dirty="0">
                        <a:latin typeface="Poppins"/>
                        <a:cs typeface="Poppin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45275"/>
                    </a:solidFill>
                  </a:tcPr>
                </a:tc>
                <a:tc>
                  <a:txBody>
                    <a:bodyPr/>
                    <a:lstStyle/>
                    <a:p>
                      <a:pPr algn="ctr"/>
                      <a:r>
                        <a:rPr lang="en-US" sz="1200" dirty="0">
                          <a:latin typeface="Poppins"/>
                          <a:cs typeface="Poppins"/>
                        </a:rPr>
                        <a:t>WED</a:t>
                      </a:r>
                      <a:endParaRPr lang="LID4096" sz="1200" dirty="0">
                        <a:latin typeface="Poppins"/>
                        <a:cs typeface="Poppin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45275"/>
                    </a:solidFill>
                  </a:tcPr>
                </a:tc>
                <a:tc>
                  <a:txBody>
                    <a:bodyPr/>
                    <a:lstStyle/>
                    <a:p>
                      <a:pPr algn="ctr"/>
                      <a:r>
                        <a:rPr lang="en-US" sz="1200" dirty="0">
                          <a:latin typeface="Poppins"/>
                          <a:cs typeface="Poppins"/>
                        </a:rPr>
                        <a:t>THUR</a:t>
                      </a:r>
                      <a:endParaRPr lang="LID4096" sz="1200" dirty="0">
                        <a:latin typeface="Poppins"/>
                        <a:cs typeface="Poppin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45275"/>
                    </a:solidFill>
                  </a:tcPr>
                </a:tc>
                <a:tc>
                  <a:txBody>
                    <a:bodyPr/>
                    <a:lstStyle/>
                    <a:p>
                      <a:pPr algn="ctr"/>
                      <a:r>
                        <a:rPr lang="en-US" sz="1200" dirty="0">
                          <a:latin typeface="Poppins"/>
                          <a:cs typeface="Poppins"/>
                        </a:rPr>
                        <a:t>FRI</a:t>
                      </a:r>
                      <a:endParaRPr lang="LID4096" sz="1200" dirty="0">
                        <a:latin typeface="Poppins"/>
                        <a:cs typeface="Poppins"/>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45275"/>
                    </a:solidFill>
                  </a:tcPr>
                </a:tc>
                <a:extLst>
                  <a:ext uri="{0D108BD9-81ED-4DB2-BD59-A6C34878D82A}">
                    <a16:rowId xmlns:a16="http://schemas.microsoft.com/office/drawing/2014/main" val="3863818657"/>
                  </a:ext>
                </a:extLst>
              </a:tr>
              <a:tr h="948572">
                <a:tc>
                  <a:txBody>
                    <a:bodyPr/>
                    <a:lstStyle/>
                    <a:p>
                      <a:r>
                        <a:rPr lang="en-US" sz="1200" b="1" dirty="0">
                          <a:solidFill>
                            <a:schemeClr val="bg1"/>
                          </a:solidFill>
                          <a:latin typeface="Poppins"/>
                          <a:cs typeface="Poppins"/>
                        </a:rPr>
                        <a:t>Week 1</a:t>
                      </a:r>
                      <a:endParaRPr lang="LID4096" sz="1200" b="1" dirty="0">
                        <a:solidFill>
                          <a:schemeClr val="bg1"/>
                        </a:solidFill>
                        <a:latin typeface="Poppins"/>
                        <a:cs typeface="Poppins"/>
                      </a:endParaRP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45275"/>
                    </a:solidFill>
                  </a:tcPr>
                </a:tc>
                <a:tc>
                  <a:txBody>
                    <a:bodyPr/>
                    <a:lstStyle/>
                    <a:p>
                      <a:pPr lvl="0" algn="ctr">
                        <a:spcAft>
                          <a:spcPts val="600"/>
                        </a:spcAft>
                        <a:buNone/>
                      </a:pPr>
                      <a:r>
                        <a:rPr lang="de-DE" sz="1400" b="1" i="0" u="none" strike="noStrike" dirty="0">
                          <a:solidFill>
                            <a:schemeClr val="bg1"/>
                          </a:solidFill>
                          <a:effectLst/>
                          <a:latin typeface="Poppins"/>
                          <a:cs typeface="Poppins"/>
                        </a:rPr>
                        <a:t>Sprint Planning </a:t>
                      </a:r>
                      <a:endParaRPr lang="de-DE" sz="1400" b="1" i="0" u="none" strike="noStrike">
                        <a:solidFill>
                          <a:schemeClr val="bg1"/>
                        </a:solidFill>
                        <a:effectLst/>
                        <a:latin typeface="Poppins"/>
                        <a:cs typeface="Poppins"/>
                      </a:endParaRPr>
                    </a:p>
                    <a:p>
                      <a:pPr lvl="0" algn="ctr">
                        <a:spcAft>
                          <a:spcPts val="600"/>
                        </a:spcAft>
                        <a:buNone/>
                      </a:pPr>
                      <a:r>
                        <a:rPr lang="de-DE" sz="1400" b="1" i="0" u="none" strike="noStrike" dirty="0">
                          <a:solidFill>
                            <a:schemeClr val="bg1"/>
                          </a:solidFill>
                          <a:effectLst/>
                          <a:latin typeface="Poppins"/>
                          <a:cs typeface="Poppins"/>
                        </a:rPr>
                        <a:t>(4-6 pm GMT)</a:t>
                      </a:r>
                      <a:endParaRPr lang="de-DE"/>
                    </a:p>
                  </a:txBody>
                  <a:tcPr marL="9525" marR="9525" marT="952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50"/>
                    </a:solidFill>
                  </a:tcPr>
                </a:tc>
                <a:tc>
                  <a:txBody>
                    <a:bodyPr/>
                    <a:lstStyle/>
                    <a:p>
                      <a:pPr lvl="0" algn="ctr">
                        <a:spcAft>
                          <a:spcPts val="600"/>
                        </a:spcAft>
                        <a:buNone/>
                      </a:pPr>
                      <a:r>
                        <a:rPr lang="de-DE" sz="1300" b="0" i="0" u="none" strike="noStrike" dirty="0">
                          <a:solidFill>
                            <a:srgbClr val="000000"/>
                          </a:solidFill>
                          <a:effectLst/>
                          <a:latin typeface="Poppins"/>
                          <a:cs typeface="Poppins"/>
                        </a:rPr>
                        <a:t>Team Sync</a:t>
                      </a:r>
                      <a:endParaRPr lang="en-US"/>
                    </a:p>
                    <a:p>
                      <a:pPr lvl="0" algn="ctr">
                        <a:spcAft>
                          <a:spcPts val="600"/>
                        </a:spcAft>
                        <a:buNone/>
                      </a:pPr>
                      <a:r>
                        <a:rPr lang="de-DE" sz="1300" b="0" i="0" u="none" strike="noStrike" dirty="0">
                          <a:solidFill>
                            <a:srgbClr val="000000"/>
                          </a:solidFill>
                          <a:effectLst/>
                          <a:latin typeface="Poppins"/>
                          <a:cs typeface="Poppins"/>
                        </a:rPr>
                        <a:t>(Scrum Habits)</a:t>
                      </a:r>
                      <a:endParaRPr lang="de-DE"/>
                    </a:p>
                    <a:p>
                      <a:pPr lvl="0" algn="ctr">
                        <a:spcAft>
                          <a:spcPts val="600"/>
                        </a:spcAft>
                        <a:buNone/>
                      </a:pPr>
                      <a:r>
                        <a:rPr lang="de-DE" sz="1300" b="0" i="0" u="none" strike="noStrike" dirty="0">
                          <a:solidFill>
                            <a:srgbClr val="000000"/>
                          </a:solidFill>
                          <a:effectLst/>
                          <a:latin typeface="Poppins"/>
                          <a:cs typeface="Poppins"/>
                        </a:rPr>
                        <a:t>(9:00 - 9:20 am GMT)</a:t>
                      </a:r>
                      <a:endParaRPr lang="de-DE"/>
                    </a:p>
                  </a:txBody>
                  <a:tcPr marL="9525" marR="9525" marT="9525"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ctr">
                        <a:spcAft>
                          <a:spcPts val="600"/>
                        </a:spcAft>
                      </a:pPr>
                      <a:endParaRPr lang="de-DE" sz="1300" b="0" i="0" u="none" strike="noStrike" dirty="0">
                        <a:solidFill>
                          <a:srgbClr val="000000"/>
                        </a:solidFill>
                        <a:effectLst/>
                        <a:latin typeface="Poppins"/>
                        <a:cs typeface="Poppins"/>
                      </a:endParaRPr>
                    </a:p>
                  </a:txBody>
                  <a:tcPr marL="9525" marR="9525" marT="9525"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lvl="0" algn="ctr">
                        <a:spcAft>
                          <a:spcPts val="600"/>
                        </a:spcAft>
                        <a:buNone/>
                      </a:pPr>
                      <a:r>
                        <a:rPr lang="de-DE" sz="1200" b="0" i="0" u="none" strike="noStrike" dirty="0">
                          <a:solidFill>
                            <a:srgbClr val="000000"/>
                          </a:solidFill>
                          <a:effectLst/>
                          <a:latin typeface="Poppins"/>
                          <a:cs typeface="Poppins"/>
                        </a:rPr>
                        <a:t>Engineering Demo</a:t>
                      </a:r>
                      <a:endParaRPr lang="en-US"/>
                    </a:p>
                    <a:p>
                      <a:pPr lvl="0" algn="ctr">
                        <a:spcAft>
                          <a:spcPts val="600"/>
                        </a:spcAft>
                        <a:buNone/>
                      </a:pPr>
                      <a:r>
                        <a:rPr lang="de-DE" sz="1200" b="0" i="0" u="none" strike="noStrike" dirty="0">
                          <a:solidFill>
                            <a:srgbClr val="000000"/>
                          </a:solidFill>
                          <a:effectLst/>
                          <a:latin typeface="Poppins"/>
                          <a:cs typeface="Poppins"/>
                        </a:rPr>
                        <a:t>(4-6pm GMT)</a:t>
                      </a:r>
                      <a:endParaRPr lang="de-DE"/>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algn="ctr" fontAlgn="ctr">
                        <a:spcAft>
                          <a:spcPts val="600"/>
                        </a:spcAft>
                      </a:pPr>
                      <a:endParaRPr lang="de-DE" sz="1200" b="0" i="0" u="none" strike="noStrike" dirty="0">
                        <a:solidFill>
                          <a:srgbClr val="000000"/>
                        </a:solidFill>
                        <a:effectLst/>
                        <a:latin typeface="Poppins"/>
                        <a:cs typeface="Poppins"/>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05290331"/>
                  </a:ext>
                </a:extLst>
              </a:tr>
              <a:tr h="948572">
                <a:tc>
                  <a:txBody>
                    <a:bodyPr/>
                    <a:lstStyle/>
                    <a:p>
                      <a:r>
                        <a:rPr lang="en-US" sz="1200" b="1" dirty="0">
                          <a:solidFill>
                            <a:schemeClr val="bg1"/>
                          </a:solidFill>
                          <a:latin typeface="Poppins"/>
                          <a:cs typeface="Poppins"/>
                        </a:rPr>
                        <a:t>Week 2</a:t>
                      </a:r>
                      <a:endParaRPr lang="LID4096" sz="1200" b="1" dirty="0">
                        <a:solidFill>
                          <a:schemeClr val="bg1"/>
                        </a:solidFill>
                        <a:latin typeface="Poppins"/>
                        <a:cs typeface="Poppins"/>
                      </a:endParaRP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45275"/>
                    </a:solidFill>
                  </a:tcPr>
                </a:tc>
                <a:tc>
                  <a:txBody>
                    <a:bodyPr/>
                    <a:lstStyle/>
                    <a:p>
                      <a:pPr lvl="0" algn="ctr">
                        <a:spcAft>
                          <a:spcPts val="600"/>
                        </a:spcAft>
                        <a:buNone/>
                      </a:pPr>
                      <a:r>
                        <a:rPr lang="de-DE" sz="1200" b="0" i="0" u="none" strike="noStrike" dirty="0">
                          <a:solidFill>
                            <a:srgbClr val="000000"/>
                          </a:solidFill>
                          <a:effectLst/>
                          <a:latin typeface="Poppins"/>
                          <a:cs typeface="Poppins"/>
                        </a:rPr>
                        <a:t>Team Demo</a:t>
                      </a:r>
                      <a:endParaRPr lang="en-US"/>
                    </a:p>
                    <a:p>
                      <a:pPr lvl="0" algn="ctr">
                        <a:spcAft>
                          <a:spcPts val="600"/>
                        </a:spcAft>
                        <a:buNone/>
                      </a:pPr>
                      <a:r>
                        <a:rPr lang="de-DE" sz="1200" b="0" i="0" u="none" strike="noStrike" dirty="0">
                          <a:solidFill>
                            <a:srgbClr val="000000"/>
                          </a:solidFill>
                          <a:effectLst/>
                          <a:latin typeface="Poppins"/>
                          <a:cs typeface="Poppins"/>
                        </a:rPr>
                        <a:t>(4-6pm GMT)</a:t>
                      </a:r>
                      <a:endParaRPr lang="de-DE"/>
                    </a:p>
                  </a:txBody>
                  <a:tcPr marL="9525" marR="9525" marT="952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lvl="0" algn="ctr">
                        <a:spcAft>
                          <a:spcPts val="600"/>
                        </a:spcAft>
                        <a:buNone/>
                      </a:pPr>
                      <a:r>
                        <a:rPr lang="de-DE" sz="1300" b="0" i="0" u="none" strike="noStrike" dirty="0">
                          <a:solidFill>
                            <a:srgbClr val="000000"/>
                          </a:solidFill>
                          <a:effectLst/>
                          <a:latin typeface="Poppins"/>
                          <a:cs typeface="Poppins"/>
                        </a:rPr>
                        <a:t>Team Sync</a:t>
                      </a:r>
                      <a:endParaRPr lang="en-US"/>
                    </a:p>
                    <a:p>
                      <a:pPr lvl="0" algn="ctr">
                        <a:spcAft>
                          <a:spcPts val="600"/>
                        </a:spcAft>
                        <a:buNone/>
                      </a:pPr>
                      <a:r>
                        <a:rPr lang="de-DE" sz="1300" b="0" i="0" u="none" strike="noStrike" dirty="0">
                          <a:solidFill>
                            <a:srgbClr val="000000"/>
                          </a:solidFill>
                          <a:effectLst/>
                          <a:latin typeface="Poppins"/>
                          <a:cs typeface="Poppins"/>
                        </a:rPr>
                        <a:t>(Scrum Habits)</a:t>
                      </a:r>
                      <a:endParaRPr lang="de-DE"/>
                    </a:p>
                    <a:p>
                      <a:pPr lvl="0" algn="ctr">
                        <a:spcAft>
                          <a:spcPts val="600"/>
                        </a:spcAft>
                        <a:buNone/>
                      </a:pPr>
                      <a:r>
                        <a:rPr lang="de-DE" sz="1300" b="0" i="0" u="none" strike="noStrike" dirty="0">
                          <a:solidFill>
                            <a:srgbClr val="000000"/>
                          </a:solidFill>
                          <a:effectLst/>
                          <a:latin typeface="Poppins"/>
                          <a:cs typeface="Poppins"/>
                        </a:rPr>
                        <a:t>(9:00 - 9:20 am GMT)</a:t>
                      </a:r>
                      <a:endParaRPr lang="de-DE"/>
                    </a:p>
                  </a:txBody>
                  <a:tcPr marL="9525" marR="9525" marT="9525"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spcAft>
                          <a:spcPts val="600"/>
                        </a:spcAft>
                      </a:pPr>
                      <a:endParaRPr lang="de-DE" sz="1300" b="0" i="0" u="none" strike="noStrike" dirty="0">
                        <a:solidFill>
                          <a:srgbClr val="000000"/>
                        </a:solidFill>
                        <a:effectLst/>
                        <a:latin typeface="Poppins"/>
                        <a:cs typeface="Poppins"/>
                      </a:endParaRPr>
                    </a:p>
                  </a:txBody>
                  <a:tcPr marL="9525" marR="9525" marT="9525"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lvl="0" algn="ctr">
                        <a:spcAft>
                          <a:spcPts val="600"/>
                        </a:spcAft>
                        <a:buNone/>
                      </a:pPr>
                      <a:r>
                        <a:rPr lang="de-DE" sz="1200" b="0" i="0" u="none" strike="noStrike" dirty="0">
                          <a:solidFill>
                            <a:srgbClr val="000000"/>
                          </a:solidFill>
                          <a:effectLst/>
                          <a:latin typeface="Poppins"/>
                          <a:cs typeface="Poppins"/>
                        </a:rPr>
                        <a:t>Engineering Demo</a:t>
                      </a:r>
                      <a:endParaRPr lang="en-US"/>
                    </a:p>
                    <a:p>
                      <a:pPr lvl="0" algn="ctr">
                        <a:spcAft>
                          <a:spcPts val="600"/>
                        </a:spcAft>
                        <a:buNone/>
                      </a:pPr>
                      <a:r>
                        <a:rPr lang="de-DE" sz="1200" b="0" i="0" u="none" strike="noStrike" dirty="0">
                          <a:solidFill>
                            <a:srgbClr val="000000"/>
                          </a:solidFill>
                          <a:effectLst/>
                          <a:latin typeface="Poppins"/>
                          <a:cs typeface="Poppins"/>
                        </a:rPr>
                        <a:t>(4-6pm GMT)</a:t>
                      </a:r>
                      <a:endParaRPr lang="de-DE"/>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algn="ctr" fontAlgn="ctr">
                        <a:spcAft>
                          <a:spcPts val="600"/>
                        </a:spcAft>
                      </a:pPr>
                      <a:endParaRPr lang="de-DE" sz="1200" b="0" i="0" u="none" strike="noStrike" dirty="0">
                        <a:solidFill>
                          <a:srgbClr val="000000"/>
                        </a:solidFill>
                        <a:effectLst/>
                        <a:latin typeface="Poppins"/>
                        <a:cs typeface="Poppins"/>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345626245"/>
                  </a:ext>
                </a:extLst>
              </a:tr>
              <a:tr h="948572">
                <a:tc>
                  <a:txBody>
                    <a:bodyPr/>
                    <a:lstStyle/>
                    <a:p>
                      <a:r>
                        <a:rPr lang="en-US" sz="1200" b="1" dirty="0">
                          <a:solidFill>
                            <a:schemeClr val="bg1"/>
                          </a:solidFill>
                          <a:latin typeface="Poppins"/>
                          <a:cs typeface="Poppins"/>
                        </a:rPr>
                        <a:t>Week 3</a:t>
                      </a:r>
                      <a:endParaRPr lang="LID4096" sz="1200" b="1" dirty="0">
                        <a:solidFill>
                          <a:schemeClr val="bg1"/>
                        </a:solidFill>
                        <a:latin typeface="Poppins"/>
                        <a:cs typeface="Poppins"/>
                      </a:endParaRP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45275"/>
                    </a:solidFill>
                  </a:tcPr>
                </a:tc>
                <a:tc>
                  <a:txBody>
                    <a:bodyPr/>
                    <a:lstStyle/>
                    <a:p>
                      <a:pPr lvl="0" algn="ctr">
                        <a:spcAft>
                          <a:spcPts val="600"/>
                        </a:spcAft>
                        <a:buNone/>
                      </a:pPr>
                      <a:r>
                        <a:rPr lang="de-DE" sz="1200" b="0" i="0" u="none" strike="noStrike" dirty="0">
                          <a:solidFill>
                            <a:srgbClr val="000000"/>
                          </a:solidFill>
                          <a:effectLst/>
                          <a:latin typeface="Poppins"/>
                          <a:cs typeface="Poppins"/>
                        </a:rPr>
                        <a:t>Team Demo</a:t>
                      </a:r>
                      <a:endParaRPr lang="en-US"/>
                    </a:p>
                    <a:p>
                      <a:pPr marL="0" marR="0" lvl="0" indent="0" algn="ctr" rtl="0">
                        <a:lnSpc>
                          <a:spcPct val="100000"/>
                        </a:lnSpc>
                        <a:spcBef>
                          <a:spcPts val="0"/>
                        </a:spcBef>
                        <a:spcAft>
                          <a:spcPts val="600"/>
                        </a:spcAft>
                        <a:buClrTx/>
                        <a:buSzTx/>
                        <a:buFontTx/>
                        <a:buNone/>
                      </a:pPr>
                      <a:r>
                        <a:rPr lang="de-DE" sz="1200" b="0" i="0" u="none" strike="noStrike" dirty="0">
                          <a:solidFill>
                            <a:srgbClr val="000000"/>
                          </a:solidFill>
                          <a:effectLst/>
                          <a:latin typeface="Poppins"/>
                          <a:cs typeface="Poppins"/>
                        </a:rPr>
                        <a:t>(4-6pm GMT)</a:t>
                      </a:r>
                      <a:endParaRPr lang="de-DE"/>
                    </a:p>
                  </a:txBody>
                  <a:tcPr marL="9525" marR="9525" marT="952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lvl="0" algn="ctr">
                        <a:spcAft>
                          <a:spcPts val="600"/>
                        </a:spcAft>
                        <a:buNone/>
                      </a:pPr>
                      <a:r>
                        <a:rPr lang="de-DE" sz="1300" b="0" i="0" u="none" strike="noStrike" dirty="0">
                          <a:solidFill>
                            <a:srgbClr val="000000"/>
                          </a:solidFill>
                          <a:effectLst/>
                          <a:latin typeface="Poppins"/>
                          <a:cs typeface="Poppins"/>
                        </a:rPr>
                        <a:t>Team Sync</a:t>
                      </a:r>
                      <a:endParaRPr lang="en-US"/>
                    </a:p>
                    <a:p>
                      <a:pPr lvl="0" algn="ctr">
                        <a:spcAft>
                          <a:spcPts val="600"/>
                        </a:spcAft>
                        <a:buNone/>
                      </a:pPr>
                      <a:r>
                        <a:rPr lang="de-DE" sz="1300" b="0" i="0" u="none" strike="noStrike" dirty="0">
                          <a:solidFill>
                            <a:srgbClr val="000000"/>
                          </a:solidFill>
                          <a:effectLst/>
                          <a:latin typeface="Poppins"/>
                          <a:cs typeface="Poppins"/>
                        </a:rPr>
                        <a:t>(Scrum Habits)</a:t>
                      </a:r>
                      <a:endParaRPr lang="de-DE"/>
                    </a:p>
                    <a:p>
                      <a:pPr lvl="0" algn="ctr">
                        <a:spcAft>
                          <a:spcPts val="600"/>
                        </a:spcAft>
                        <a:buNone/>
                      </a:pPr>
                      <a:r>
                        <a:rPr lang="de-DE" sz="1300" b="0" i="0" u="none" strike="noStrike" dirty="0">
                          <a:solidFill>
                            <a:srgbClr val="000000"/>
                          </a:solidFill>
                          <a:effectLst/>
                          <a:latin typeface="Poppins"/>
                          <a:cs typeface="Poppins"/>
                        </a:rPr>
                        <a:t>(9:00 - 9:20 am GMT)</a:t>
                      </a:r>
                      <a:endParaRPr lang="de-DE"/>
                    </a:p>
                  </a:txBody>
                  <a:tcPr marL="9525" marR="9525" marT="9525"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spcAft>
                          <a:spcPts val="600"/>
                        </a:spcAft>
                      </a:pPr>
                      <a:endParaRPr lang="de-DE" sz="1300" b="0" i="0" u="none" strike="noStrike" dirty="0">
                        <a:solidFill>
                          <a:srgbClr val="000000"/>
                        </a:solidFill>
                        <a:effectLst/>
                        <a:latin typeface="Poppins"/>
                        <a:cs typeface="Poppins"/>
                      </a:endParaRPr>
                    </a:p>
                  </a:txBody>
                  <a:tcPr marL="9525" marR="9525" marT="9525"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lvl="0" algn="ctr">
                        <a:spcAft>
                          <a:spcPts val="600"/>
                        </a:spcAft>
                        <a:buNone/>
                      </a:pPr>
                      <a:r>
                        <a:rPr lang="de-DE" sz="1200" b="0" i="0" u="none" strike="noStrike" dirty="0">
                          <a:solidFill>
                            <a:srgbClr val="000000"/>
                          </a:solidFill>
                          <a:effectLst/>
                          <a:latin typeface="Poppins"/>
                          <a:cs typeface="Poppins"/>
                        </a:rPr>
                        <a:t>Engineering Demo</a:t>
                      </a:r>
                      <a:endParaRPr lang="en-US"/>
                    </a:p>
                    <a:p>
                      <a:pPr lvl="0" algn="ctr">
                        <a:spcAft>
                          <a:spcPts val="600"/>
                        </a:spcAft>
                        <a:buNone/>
                      </a:pPr>
                      <a:r>
                        <a:rPr lang="de-DE" sz="1200" b="0" i="0" u="none" strike="noStrike" dirty="0">
                          <a:solidFill>
                            <a:srgbClr val="000000"/>
                          </a:solidFill>
                          <a:effectLst/>
                          <a:latin typeface="Poppins"/>
                          <a:cs typeface="Poppins"/>
                        </a:rPr>
                        <a:t>(4-6pm GMT)</a:t>
                      </a:r>
                      <a:endParaRPr lang="de-DE"/>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algn="ctr" fontAlgn="ctr">
                        <a:spcAft>
                          <a:spcPts val="600"/>
                        </a:spcAft>
                      </a:pPr>
                      <a:endParaRPr lang="de-DE" sz="1200" b="0" i="0" u="none" strike="noStrike" dirty="0">
                        <a:solidFill>
                          <a:srgbClr val="000000"/>
                        </a:solidFill>
                        <a:effectLst/>
                        <a:latin typeface="Poppins"/>
                        <a:cs typeface="Poppins"/>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580473560"/>
                  </a:ext>
                </a:extLst>
              </a:tr>
              <a:tr h="948572">
                <a:tc>
                  <a:txBody>
                    <a:bodyPr/>
                    <a:lstStyle/>
                    <a:p>
                      <a:r>
                        <a:rPr lang="en-US" sz="1200" b="1" dirty="0">
                          <a:solidFill>
                            <a:schemeClr val="bg1"/>
                          </a:solidFill>
                          <a:latin typeface="Poppins"/>
                          <a:cs typeface="Poppins"/>
                        </a:rPr>
                        <a:t>Week 4</a:t>
                      </a:r>
                      <a:endParaRPr lang="LID4096" sz="1200" b="1" dirty="0">
                        <a:solidFill>
                          <a:schemeClr val="bg1"/>
                        </a:solidFill>
                        <a:latin typeface="Poppins"/>
                        <a:cs typeface="Poppins"/>
                      </a:endParaRP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145275"/>
                      </a:solidFill>
                      <a:prstDash val="solid"/>
                      <a:round/>
                      <a:headEnd type="none" w="med" len="med"/>
                      <a:tailEnd type="none" w="med" len="med"/>
                    </a:lnB>
                    <a:solidFill>
                      <a:srgbClr val="145275"/>
                    </a:solidFill>
                  </a:tcPr>
                </a:tc>
                <a:tc>
                  <a:txBody>
                    <a:bodyPr/>
                    <a:lstStyle/>
                    <a:p>
                      <a:pPr lvl="0" algn="ctr">
                        <a:spcAft>
                          <a:spcPts val="600"/>
                        </a:spcAft>
                        <a:buNone/>
                      </a:pPr>
                      <a:r>
                        <a:rPr lang="de-DE" sz="1200" b="0" i="0" u="none" strike="noStrike" dirty="0">
                          <a:solidFill>
                            <a:srgbClr val="000000"/>
                          </a:solidFill>
                          <a:effectLst/>
                          <a:latin typeface="Poppins"/>
                          <a:cs typeface="Poppins"/>
                        </a:rPr>
                        <a:t>Team Demo</a:t>
                      </a:r>
                      <a:endParaRPr lang="en-US"/>
                    </a:p>
                    <a:p>
                      <a:pPr lvl="0" algn="ctr">
                        <a:spcAft>
                          <a:spcPts val="600"/>
                        </a:spcAft>
                        <a:buNone/>
                      </a:pPr>
                      <a:r>
                        <a:rPr lang="de-DE" sz="1200" b="0" i="0" u="none" strike="noStrike" dirty="0">
                          <a:solidFill>
                            <a:srgbClr val="000000"/>
                          </a:solidFill>
                          <a:effectLst/>
                          <a:latin typeface="Poppins"/>
                          <a:cs typeface="Poppins"/>
                        </a:rPr>
                        <a:t>(4-6pm GMT)</a:t>
                      </a:r>
                      <a:endParaRPr lang="de-DE"/>
                    </a:p>
                  </a:txBody>
                  <a:tcPr marL="9525" marR="9525" marT="952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145275"/>
                      </a:solidFill>
                      <a:prstDash val="solid"/>
                      <a:round/>
                      <a:headEnd type="none" w="med" len="med"/>
                      <a:tailEnd type="none" w="med" len="med"/>
                    </a:lnB>
                    <a:solidFill>
                      <a:schemeClr val="accent3">
                        <a:lumMod val="20000"/>
                        <a:lumOff val="80000"/>
                      </a:schemeClr>
                    </a:solidFill>
                  </a:tcPr>
                </a:tc>
                <a:tc>
                  <a:txBody>
                    <a:bodyPr/>
                    <a:lstStyle/>
                    <a:p>
                      <a:pPr lvl="0" algn="ctr">
                        <a:spcAft>
                          <a:spcPts val="600"/>
                        </a:spcAft>
                        <a:buNone/>
                      </a:pPr>
                      <a:r>
                        <a:rPr lang="de-DE" sz="1300" b="0" i="0" u="none" strike="noStrike" dirty="0">
                          <a:solidFill>
                            <a:srgbClr val="000000"/>
                          </a:solidFill>
                          <a:effectLst/>
                          <a:latin typeface="Poppins"/>
                          <a:cs typeface="Poppins"/>
                        </a:rPr>
                        <a:t>Team Sync</a:t>
                      </a:r>
                      <a:endParaRPr lang="en-US"/>
                    </a:p>
                    <a:p>
                      <a:pPr lvl="0" algn="ctr">
                        <a:spcAft>
                          <a:spcPts val="600"/>
                        </a:spcAft>
                        <a:buNone/>
                      </a:pPr>
                      <a:r>
                        <a:rPr lang="de-DE" sz="1300" b="0" i="0" u="none" strike="noStrike" dirty="0">
                          <a:solidFill>
                            <a:srgbClr val="000000"/>
                          </a:solidFill>
                          <a:effectLst/>
                          <a:latin typeface="Poppins"/>
                          <a:cs typeface="Poppins"/>
                        </a:rPr>
                        <a:t>(Scrum Habits)</a:t>
                      </a:r>
                      <a:endParaRPr lang="de-DE"/>
                    </a:p>
                    <a:p>
                      <a:pPr lvl="0" algn="ctr">
                        <a:spcAft>
                          <a:spcPts val="600"/>
                        </a:spcAft>
                        <a:buNone/>
                      </a:pPr>
                      <a:r>
                        <a:rPr lang="de-DE" sz="1300" b="0" i="0" u="none" strike="noStrike" dirty="0">
                          <a:solidFill>
                            <a:srgbClr val="000000"/>
                          </a:solidFill>
                          <a:effectLst/>
                          <a:latin typeface="Poppins"/>
                          <a:cs typeface="Poppins"/>
                        </a:rPr>
                        <a:t>(9:00 - 9:20 am GMT)</a:t>
                      </a:r>
                      <a:endParaRPr lang="de-DE"/>
                    </a:p>
                  </a:txBody>
                  <a:tcPr marL="9525" marR="9525" marT="9525"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rgbClr val="145275"/>
                      </a:solidFill>
                      <a:prstDash val="solid"/>
                      <a:round/>
                      <a:headEnd type="none" w="med" len="med"/>
                      <a:tailEnd type="none" w="med" len="med"/>
                    </a:lnB>
                    <a:noFill/>
                  </a:tcPr>
                </a:tc>
                <a:tc>
                  <a:txBody>
                    <a:bodyPr/>
                    <a:lstStyle/>
                    <a:p>
                      <a:pPr algn="ctr" fontAlgn="ctr">
                        <a:spcAft>
                          <a:spcPts val="600"/>
                        </a:spcAft>
                      </a:pPr>
                      <a:endParaRPr lang="de-DE" sz="1300" b="0" i="0" u="none" strike="noStrike" dirty="0">
                        <a:solidFill>
                          <a:srgbClr val="000000"/>
                        </a:solidFill>
                        <a:effectLst/>
                        <a:latin typeface="Poppins"/>
                        <a:cs typeface="Poppins"/>
                      </a:endParaRPr>
                    </a:p>
                  </a:txBody>
                  <a:tcPr marL="9525" marR="9525" marT="9525"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rgbClr val="145275"/>
                      </a:solidFill>
                      <a:prstDash val="solid"/>
                      <a:round/>
                      <a:headEnd type="none" w="med" len="med"/>
                      <a:tailEnd type="none" w="med" len="med"/>
                    </a:lnB>
                    <a:noFill/>
                  </a:tcPr>
                </a:tc>
                <a:tc>
                  <a:txBody>
                    <a:bodyPr/>
                    <a:lstStyle/>
                    <a:p>
                      <a:pPr lvl="0" algn="ctr">
                        <a:spcAft>
                          <a:spcPts val="600"/>
                        </a:spcAft>
                        <a:buNone/>
                      </a:pPr>
                      <a:r>
                        <a:rPr lang="en-US" sz="1400" b="1" i="0" u="none" strike="noStrike" dirty="0">
                          <a:solidFill>
                            <a:schemeClr val="bg1"/>
                          </a:solidFill>
                          <a:effectLst/>
                          <a:latin typeface="Poppins"/>
                          <a:cs typeface="Poppins"/>
                        </a:rPr>
                        <a:t>Sprint</a:t>
                      </a:r>
                      <a:br>
                        <a:rPr lang="en-US" sz="1400" b="1" i="0" u="none" strike="noStrike" dirty="0">
                          <a:solidFill>
                            <a:srgbClr val="FFFFFF"/>
                          </a:solidFill>
                          <a:effectLst/>
                          <a:latin typeface="Poppins"/>
                          <a:cs typeface="Poppins"/>
                        </a:rPr>
                      </a:br>
                      <a:r>
                        <a:rPr lang="en-US" sz="1400" b="1" i="0" u="none" strike="noStrike" dirty="0">
                          <a:solidFill>
                            <a:schemeClr val="bg1"/>
                          </a:solidFill>
                          <a:effectLst/>
                          <a:latin typeface="Poppins"/>
                          <a:cs typeface="Poppins"/>
                        </a:rPr>
                        <a:t>Retrospective</a:t>
                      </a:r>
                      <a:endParaRPr lang="en-US"/>
                    </a:p>
                    <a:p>
                      <a:pPr lvl="0" algn="ctr">
                        <a:spcAft>
                          <a:spcPts val="600"/>
                        </a:spcAft>
                        <a:buNone/>
                      </a:pPr>
                      <a:r>
                        <a:rPr lang="de-DE" sz="1400" b="1" i="0" u="none" strike="noStrike" dirty="0">
                          <a:solidFill>
                            <a:schemeClr val="bg1"/>
                          </a:solidFill>
                          <a:effectLst/>
                          <a:latin typeface="Poppins"/>
                          <a:cs typeface="Poppins"/>
                        </a:rPr>
                        <a:t>(4-6pm GMT)</a:t>
                      </a:r>
                      <a:endParaRPr lang="de-DE"/>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145275"/>
                      </a:solidFill>
                      <a:prstDash val="solid"/>
                      <a:round/>
                      <a:headEnd type="none" w="med" len="med"/>
                      <a:tailEnd type="none" w="med" len="med"/>
                    </a:lnB>
                    <a:solidFill>
                      <a:srgbClr val="00B050"/>
                    </a:solidFill>
                  </a:tcPr>
                </a:tc>
                <a:tc>
                  <a:txBody>
                    <a:bodyPr/>
                    <a:lstStyle/>
                    <a:p>
                      <a:pPr algn="ctr" fontAlgn="ctr">
                        <a:spcAft>
                          <a:spcPts val="600"/>
                        </a:spcAft>
                      </a:pPr>
                      <a:endParaRPr lang="en-US" sz="1400" b="1" i="0" u="none" strike="noStrike" dirty="0">
                        <a:solidFill>
                          <a:schemeClr val="bg1"/>
                        </a:solidFill>
                        <a:effectLst/>
                        <a:latin typeface="Poppins"/>
                        <a:cs typeface="Poppins"/>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145275"/>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135652559"/>
                  </a:ext>
                </a:extLst>
              </a:tr>
            </a:tbl>
          </a:graphicData>
        </a:graphic>
      </p:graphicFrame>
    </p:spTree>
    <p:extLst>
      <p:ext uri="{BB962C8B-B14F-4D97-AF65-F5344CB8AC3E}">
        <p14:creationId xmlns:p14="http://schemas.microsoft.com/office/powerpoint/2010/main" val="38927569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800829" y="604100"/>
            <a:ext cx="11584383" cy="648974"/>
          </a:xfrm>
        </p:spPr>
        <p:txBody>
          <a:bodyPr vert="horz" tIns="0" bIns="0" anchor="t"/>
          <a:lstStyle/>
          <a:p>
            <a:pPr algn="ctr"/>
            <a:r>
              <a:rPr lang="en-GB" sz="4400" dirty="0">
                <a:solidFill>
                  <a:srgbClr val="145275"/>
                </a:solidFill>
                <a:latin typeface="Poppins" panose="00000500000000000000" pitchFamily="2" charset="0"/>
                <a:cs typeface="Poppins" panose="00000500000000000000" pitchFamily="2" charset="0"/>
              </a:rPr>
              <a:t>Sprint Timeline (4 Weeks)</a:t>
            </a:r>
          </a:p>
        </p:txBody>
      </p:sp>
      <p:sp>
        <p:nvSpPr>
          <p:cNvPr id="39" name="Slide Number Placeholder 2">
            <a:extLst>
              <a:ext uri="{FF2B5EF4-FFF2-40B4-BE49-F238E27FC236}">
                <a16:creationId xmlns:a16="http://schemas.microsoft.com/office/drawing/2014/main" id="{0D24CA9B-BA8B-4DA3-8311-4F351C00DEC2}"/>
              </a:ext>
            </a:extLst>
          </p:cNvPr>
          <p:cNvSpPr>
            <a:spLocks noGrp="1"/>
          </p:cNvSpPr>
          <p:nvPr>
            <p:ph type="sldNum" idx="4"/>
          </p:nvPr>
        </p:nvSpPr>
        <p:spPr>
          <a:xfrm>
            <a:off x="11355439" y="6146868"/>
            <a:ext cx="731600" cy="524800"/>
          </a:xfrm>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GB"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4</a:t>
            </a:fld>
            <a:endParaRPr kumimoji="0" lang="en-GB"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pic>
        <p:nvPicPr>
          <p:cNvPr id="41" name="Picture 40">
            <a:extLst>
              <a:ext uri="{FF2B5EF4-FFF2-40B4-BE49-F238E27FC236}">
                <a16:creationId xmlns:a16="http://schemas.microsoft.com/office/drawing/2014/main" id="{FD1811AE-E3C8-B268-232E-0C97CC4959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42" name="Picture 41">
            <a:extLst>
              <a:ext uri="{FF2B5EF4-FFF2-40B4-BE49-F238E27FC236}">
                <a16:creationId xmlns:a16="http://schemas.microsoft.com/office/drawing/2014/main" id="{90577B65-70E8-93B8-CC9D-E7EB428B7143}"/>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46" name="Content Placeholder 2">
            <a:extLst>
              <a:ext uri="{FF2B5EF4-FFF2-40B4-BE49-F238E27FC236}">
                <a16:creationId xmlns:a16="http://schemas.microsoft.com/office/drawing/2014/main" id="{5631BFA5-17B9-E0EB-D2FF-D8FA9707201A}"/>
              </a:ext>
            </a:extLst>
          </p:cNvPr>
          <p:cNvSpPr txBox="1">
            <a:spLocks/>
          </p:cNvSpPr>
          <p:nvPr/>
        </p:nvSpPr>
        <p:spPr>
          <a:xfrm>
            <a:off x="1149611" y="1661594"/>
            <a:ext cx="10341074" cy="3419689"/>
          </a:xfrm>
          <a:prstGeom prst="rect">
            <a:avLst/>
          </a:prstGeom>
        </p:spPr>
        <p:txBody>
          <a:bodyPr vert="horz" lIns="72000" tIns="45720" rIns="360000" bIns="45720" rtlCol="0" anchor="t">
            <a:noAutofit/>
          </a:bodyPr>
          <a:lstStyle>
            <a:lvl1pPr marL="228600" indent="-228600" algn="l" defTabSz="914400" rtl="0" eaLnBrk="1" latinLnBrk="0" hangingPunct="1">
              <a:lnSpc>
                <a:spcPct val="100000"/>
              </a:lnSpc>
              <a:spcBef>
                <a:spcPts val="9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100000"/>
              </a:lnSpc>
              <a:spcBef>
                <a:spcPts val="900"/>
              </a:spcBef>
              <a:buFont typeface="Arial" panose="020B0604020202020204" pitchFamily="34" charset="0"/>
              <a:buChar char="•"/>
              <a:defRPr sz="2000" b="0" i="0" kern="1200">
                <a:solidFill>
                  <a:schemeClr val="tx1"/>
                </a:solidFill>
                <a:latin typeface="+mn-lt"/>
                <a:ea typeface="+mn-ea"/>
                <a:cs typeface="+mn-cs"/>
              </a:defRPr>
            </a:lvl2pPr>
            <a:lvl3pPr marL="1143000" indent="-228600" algn="l" defTabSz="914400" rtl="0" eaLnBrk="1" latinLnBrk="0" hangingPunct="1">
              <a:lnSpc>
                <a:spcPct val="100000"/>
              </a:lnSpc>
              <a:spcBef>
                <a:spcPts val="900"/>
              </a:spcBef>
              <a:buFont typeface="Arial" panose="020B0604020202020204" pitchFamily="34" charset="0"/>
              <a:buChar char="•"/>
              <a:defRPr sz="1800" b="0" i="0" kern="1200">
                <a:solidFill>
                  <a:schemeClr val="tx1"/>
                </a:solidFill>
                <a:latin typeface="+mn-lt"/>
                <a:ea typeface="+mn-ea"/>
                <a:cs typeface="+mn-cs"/>
              </a:defRPr>
            </a:lvl3pPr>
            <a:lvl4pPr marL="1600200" indent="-228600" algn="l" defTabSz="914400" rtl="0" eaLnBrk="1" latinLnBrk="0" hangingPunct="1">
              <a:lnSpc>
                <a:spcPct val="100000"/>
              </a:lnSpc>
              <a:spcBef>
                <a:spcPts val="900"/>
              </a:spcBef>
              <a:buFont typeface="Arial" panose="020B0604020202020204" pitchFamily="34" charset="0"/>
              <a:buChar char="•"/>
              <a:defRPr sz="1600" b="0" i="0" kern="1200">
                <a:solidFill>
                  <a:schemeClr val="tx1"/>
                </a:solidFill>
                <a:latin typeface="+mn-lt"/>
                <a:ea typeface="+mn-ea"/>
                <a:cs typeface="+mn-cs"/>
              </a:defRPr>
            </a:lvl4pPr>
            <a:lvl5pPr marL="2057400" indent="-228600" algn="l" defTabSz="914400" rtl="0" eaLnBrk="1" latinLnBrk="0" hangingPunct="1">
              <a:lnSpc>
                <a:spcPct val="100000"/>
              </a:lnSpc>
              <a:spcBef>
                <a:spcPts val="9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Bef>
                <a:spcPts val="0"/>
              </a:spcBef>
              <a:spcAft>
                <a:spcPts val="1800"/>
              </a:spcAft>
              <a:defRPr/>
            </a:pPr>
            <a:r>
              <a:rPr kumimoji="0" lang="en-US" i="0" u="none" strike="noStrike" kern="1200" cap="none" spc="0" normalizeH="0" baseline="0" noProof="0" dirty="0">
                <a:ln>
                  <a:noFill/>
                </a:ln>
                <a:solidFill>
                  <a:srgbClr val="0E5578"/>
                </a:solidFill>
                <a:effectLst/>
                <a:uLnTx/>
                <a:uFillTx/>
                <a:latin typeface="Poppins"/>
                <a:cs typeface="Poppins"/>
              </a:rPr>
              <a:t>You will submit a weekly quiz for the first 3 weeks.</a:t>
            </a:r>
            <a:endParaRPr lang="en-US" dirty="0">
              <a:solidFill>
                <a:srgbClr val="000000"/>
              </a:solidFill>
              <a:latin typeface="Poppins"/>
              <a:cs typeface="Poppins"/>
            </a:endParaRPr>
          </a:p>
          <a:p>
            <a:pPr marR="0" lvl="0" defTabSz="914400">
              <a:lnSpc>
                <a:spcPct val="150000"/>
              </a:lnSpc>
              <a:spcBef>
                <a:spcPts val="0"/>
              </a:spcBef>
              <a:spcAft>
                <a:spcPts val="1800"/>
              </a:spcAft>
              <a:buClrTx/>
              <a:buSzTx/>
              <a:tabLst/>
              <a:defRPr/>
            </a:pPr>
            <a:r>
              <a:rPr kumimoji="0" lang="en-US" i="0" u="none" strike="noStrike" kern="1200" cap="none" spc="0" normalizeH="0" baseline="0" noProof="0" dirty="0">
                <a:ln>
                  <a:noFill/>
                </a:ln>
                <a:solidFill>
                  <a:srgbClr val="0E5578"/>
                </a:solidFill>
                <a:effectLst/>
                <a:uLnTx/>
                <a:uFillTx/>
                <a:latin typeface="Poppins"/>
                <a:cs typeface="Poppins"/>
              </a:rPr>
              <a:t>The final week is the project submission week</a:t>
            </a:r>
            <a:endParaRPr lang="en-US" dirty="0">
              <a:latin typeface="Poppins"/>
              <a:cs typeface="Poppins"/>
            </a:endParaRPr>
          </a:p>
          <a:p>
            <a:pPr>
              <a:lnSpc>
                <a:spcPct val="150000"/>
              </a:lnSpc>
              <a:spcBef>
                <a:spcPts val="0"/>
              </a:spcBef>
              <a:spcAft>
                <a:spcPts val="1800"/>
              </a:spcAft>
              <a:defRPr/>
            </a:pPr>
            <a:r>
              <a:rPr lang="en-US" dirty="0">
                <a:solidFill>
                  <a:srgbClr val="0E5578"/>
                </a:solidFill>
                <a:latin typeface="Poppins"/>
                <a:cs typeface="Poppins"/>
              </a:rPr>
              <a:t>Sprint Deadline:</a:t>
            </a:r>
            <a:r>
              <a:rPr lang="en-US" b="1" dirty="0">
                <a:solidFill>
                  <a:srgbClr val="0E5578"/>
                </a:solidFill>
                <a:latin typeface="Poppins"/>
                <a:cs typeface="Poppins"/>
              </a:rPr>
              <a:t> August 5th </a:t>
            </a:r>
            <a:r>
              <a:rPr kumimoji="0" lang="en-US" b="1" i="0" u="none" strike="noStrike" kern="1200" cap="none" spc="0" normalizeH="0" baseline="0" noProof="0" dirty="0">
                <a:ln>
                  <a:noFill/>
                </a:ln>
                <a:solidFill>
                  <a:srgbClr val="0E5578"/>
                </a:solidFill>
                <a:effectLst/>
                <a:uLnTx/>
                <a:uFillTx/>
                <a:latin typeface="Poppins"/>
                <a:cs typeface="Poppins"/>
              </a:rPr>
              <a:t>–</a:t>
            </a:r>
            <a:r>
              <a:rPr lang="en-US" b="1" dirty="0">
                <a:solidFill>
                  <a:srgbClr val="0E5578"/>
                </a:solidFill>
                <a:latin typeface="Poppins"/>
                <a:cs typeface="Poppins"/>
              </a:rPr>
              <a:t>  September 1st, 2024</a:t>
            </a:r>
            <a:endParaRPr lang="en-US" b="1" i="0" u="none" strike="noStrike" kern="1200" cap="none" spc="0" normalizeH="0" baseline="0" noProof="0">
              <a:ln>
                <a:noFill/>
              </a:ln>
              <a:solidFill>
                <a:srgbClr val="0E5578"/>
              </a:solidFill>
              <a:effectLst/>
              <a:uLnTx/>
              <a:uFillTx/>
              <a:latin typeface="Poppins"/>
              <a:cs typeface="Poppins"/>
            </a:endParaRPr>
          </a:p>
        </p:txBody>
      </p:sp>
      <p:grpSp>
        <p:nvGrpSpPr>
          <p:cNvPr id="171" name="Group 170">
            <a:extLst>
              <a:ext uri="{FF2B5EF4-FFF2-40B4-BE49-F238E27FC236}">
                <a16:creationId xmlns:a16="http://schemas.microsoft.com/office/drawing/2014/main" id="{20231487-61C5-C39B-20B0-1F39654EE3D8}"/>
              </a:ext>
            </a:extLst>
          </p:cNvPr>
          <p:cNvGrpSpPr/>
          <p:nvPr/>
        </p:nvGrpSpPr>
        <p:grpSpPr>
          <a:xfrm>
            <a:off x="8875740" y="4778286"/>
            <a:ext cx="2700027" cy="1743532"/>
            <a:chOff x="3047592" y="4314368"/>
            <a:chExt cx="3939079" cy="2543645"/>
          </a:xfrm>
        </p:grpSpPr>
        <p:sp>
          <p:nvSpPr>
            <p:cNvPr id="172" name="Freeform: Shape 171">
              <a:extLst>
                <a:ext uri="{FF2B5EF4-FFF2-40B4-BE49-F238E27FC236}">
                  <a16:creationId xmlns:a16="http://schemas.microsoft.com/office/drawing/2014/main" id="{8DEA0635-716E-D9A0-A22B-72FFCBB9761C}"/>
                </a:ext>
              </a:extLst>
            </p:cNvPr>
            <p:cNvSpPr/>
            <p:nvPr/>
          </p:nvSpPr>
          <p:spPr>
            <a:xfrm flipV="1">
              <a:off x="4141085" y="4791437"/>
              <a:ext cx="1903826" cy="1078896"/>
            </a:xfrm>
            <a:custGeom>
              <a:avLst/>
              <a:gdLst>
                <a:gd name="connsiteX0" fmla="*/ 2854171 w 2858097"/>
                <a:gd name="connsiteY0" fmla="*/ 1534366 h 1619681"/>
                <a:gd name="connsiteX1" fmla="*/ 2785667 w 2858097"/>
                <a:gd name="connsiteY1" fmla="*/ 1595654 h 1619681"/>
                <a:gd name="connsiteX2" fmla="*/ 77451 w 2858097"/>
                <a:gd name="connsiteY2" fmla="*/ 1617469 h 1619681"/>
                <a:gd name="connsiteX3" fmla="*/ 7964 w 2858097"/>
                <a:gd name="connsiteY3" fmla="*/ 1557287 h 1619681"/>
                <a:gd name="connsiteX4" fmla="*/ -3923 w 2858097"/>
                <a:gd name="connsiteY4" fmla="*/ 80896 h 1619681"/>
                <a:gd name="connsiteX5" fmla="*/ 64580 w 2858097"/>
                <a:gd name="connsiteY5" fmla="*/ 19601 h 1619681"/>
                <a:gd name="connsiteX6" fmla="*/ 2772797 w 2858097"/>
                <a:gd name="connsiteY6" fmla="*/ -2207 h 1619681"/>
                <a:gd name="connsiteX7" fmla="*/ 2842284 w 2858097"/>
                <a:gd name="connsiteY7" fmla="*/ 57976 h 1619681"/>
                <a:gd name="connsiteX8" fmla="*/ 2854171 w 2858097"/>
                <a:gd name="connsiteY8" fmla="*/ 1534366 h 1619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8097" h="1619681">
                  <a:moveTo>
                    <a:pt x="2854171" y="1534366"/>
                  </a:moveTo>
                  <a:cubicBezTo>
                    <a:pt x="2854438" y="1567909"/>
                    <a:pt x="2823775" y="1595349"/>
                    <a:pt x="2785667" y="1595654"/>
                  </a:cubicBezTo>
                  <a:lnTo>
                    <a:pt x="77451" y="1617469"/>
                  </a:lnTo>
                  <a:cubicBezTo>
                    <a:pt x="39343" y="1617774"/>
                    <a:pt x="8238" y="1590830"/>
                    <a:pt x="7964" y="1557287"/>
                  </a:cubicBezTo>
                  <a:lnTo>
                    <a:pt x="-3923" y="80896"/>
                  </a:lnTo>
                  <a:cubicBezTo>
                    <a:pt x="-4198" y="47353"/>
                    <a:pt x="26473" y="19906"/>
                    <a:pt x="64580" y="19601"/>
                  </a:cubicBezTo>
                  <a:lnTo>
                    <a:pt x="2772797" y="-2207"/>
                  </a:lnTo>
                  <a:cubicBezTo>
                    <a:pt x="2810897" y="-2512"/>
                    <a:pt x="2842009" y="24432"/>
                    <a:pt x="2842284" y="57976"/>
                  </a:cubicBezTo>
                  <a:lnTo>
                    <a:pt x="2854171" y="1534366"/>
                  </a:lnTo>
                </a:path>
              </a:pathLst>
            </a:custGeom>
            <a:solidFill>
              <a:srgbClr val="EDECEC"/>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73" name="Freeform: Shape 172">
              <a:extLst>
                <a:ext uri="{FF2B5EF4-FFF2-40B4-BE49-F238E27FC236}">
                  <a16:creationId xmlns:a16="http://schemas.microsoft.com/office/drawing/2014/main" id="{CB6B24AA-6F15-93D1-A526-082BC2966DEB}"/>
                </a:ext>
              </a:extLst>
            </p:cNvPr>
            <p:cNvSpPr/>
            <p:nvPr/>
          </p:nvSpPr>
          <p:spPr>
            <a:xfrm flipV="1">
              <a:off x="4269030" y="4884096"/>
              <a:ext cx="1649733" cy="679766"/>
            </a:xfrm>
            <a:custGeom>
              <a:avLst/>
              <a:gdLst>
                <a:gd name="connsiteX0" fmla="*/ 88674 w 2476643"/>
                <a:gd name="connsiteY0" fmla="*/ 15942 h 1020491"/>
                <a:gd name="connsiteX1" fmla="*/ 2372038 w 2476643"/>
                <a:gd name="connsiteY1" fmla="*/ -2445 h 1020491"/>
                <a:gd name="connsiteX2" fmla="*/ 2466145 w 2476643"/>
                <a:gd name="connsiteY2" fmla="*/ 90160 h 1020491"/>
                <a:gd name="connsiteX3" fmla="*/ 2472713 w 2476643"/>
                <a:gd name="connsiteY3" fmla="*/ 905546 h 1020491"/>
                <a:gd name="connsiteX4" fmla="*/ 2380107 w 2476643"/>
                <a:gd name="connsiteY4" fmla="*/ 999653 h 1020491"/>
                <a:gd name="connsiteX5" fmla="*/ 96744 w 2476643"/>
                <a:gd name="connsiteY5" fmla="*/ 1018040 h 1020491"/>
                <a:gd name="connsiteX6" fmla="*/ 2637 w 2476643"/>
                <a:gd name="connsiteY6" fmla="*/ 925434 h 1020491"/>
                <a:gd name="connsiteX7" fmla="*/ -3924 w 2476643"/>
                <a:gd name="connsiteY7" fmla="*/ 110056 h 1020491"/>
                <a:gd name="connsiteX8" fmla="*/ 88674 w 2476643"/>
                <a:gd name="connsiteY8" fmla="*/ 15942 h 102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643" h="1020491">
                  <a:moveTo>
                    <a:pt x="88674" y="15942"/>
                  </a:moveTo>
                  <a:lnTo>
                    <a:pt x="2372038" y="-2445"/>
                  </a:lnTo>
                  <a:cubicBezTo>
                    <a:pt x="2423595" y="-2857"/>
                    <a:pt x="2465726" y="38604"/>
                    <a:pt x="2466145" y="90160"/>
                  </a:cubicBezTo>
                  <a:lnTo>
                    <a:pt x="2472713" y="905546"/>
                  </a:lnTo>
                  <a:cubicBezTo>
                    <a:pt x="2473125" y="957103"/>
                    <a:pt x="2431664" y="999234"/>
                    <a:pt x="2380107" y="999653"/>
                  </a:cubicBezTo>
                  <a:lnTo>
                    <a:pt x="96744" y="1018040"/>
                  </a:lnTo>
                  <a:cubicBezTo>
                    <a:pt x="45187" y="1018452"/>
                    <a:pt x="3049" y="976999"/>
                    <a:pt x="2637" y="925434"/>
                  </a:cubicBezTo>
                  <a:lnTo>
                    <a:pt x="-3924" y="110056"/>
                  </a:lnTo>
                  <a:cubicBezTo>
                    <a:pt x="-4343" y="58492"/>
                    <a:pt x="37118" y="16361"/>
                    <a:pt x="88674" y="15942"/>
                  </a:cubicBezTo>
                </a:path>
              </a:pathLst>
            </a:custGeom>
            <a:solidFill>
              <a:srgbClr val="FFFFFF">
                <a:lumMod val="85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74" name="Freeform: Shape 173">
              <a:extLst>
                <a:ext uri="{FF2B5EF4-FFF2-40B4-BE49-F238E27FC236}">
                  <a16:creationId xmlns:a16="http://schemas.microsoft.com/office/drawing/2014/main" id="{3882B3A7-2526-9543-F657-BE5E48AFD0D5}"/>
                </a:ext>
              </a:extLst>
            </p:cNvPr>
            <p:cNvSpPr/>
            <p:nvPr/>
          </p:nvSpPr>
          <p:spPr>
            <a:xfrm flipV="1">
              <a:off x="4887244" y="5590572"/>
              <a:ext cx="407306" cy="226420"/>
            </a:xfrm>
            <a:custGeom>
              <a:avLst/>
              <a:gdLst>
                <a:gd name="connsiteX0" fmla="*/ 66490 w 611464"/>
                <a:gd name="connsiteY0" fmla="*/ 2390 h 339910"/>
                <a:gd name="connsiteX1" fmla="*/ 534418 w 611464"/>
                <a:gd name="connsiteY1" fmla="*/ -1375 h 339910"/>
                <a:gd name="connsiteX2" fmla="*/ 605978 w 611464"/>
                <a:gd name="connsiteY2" fmla="*/ 69034 h 339910"/>
                <a:gd name="connsiteX3" fmla="*/ 607540 w 611464"/>
                <a:gd name="connsiteY3" fmla="*/ 263207 h 339910"/>
                <a:gd name="connsiteX4" fmla="*/ 537131 w 611464"/>
                <a:gd name="connsiteY4" fmla="*/ 334766 h 339910"/>
                <a:gd name="connsiteX5" fmla="*/ 69202 w 611464"/>
                <a:gd name="connsiteY5" fmla="*/ 338531 h 339910"/>
                <a:gd name="connsiteX6" fmla="*/ -2357 w 611464"/>
                <a:gd name="connsiteY6" fmla="*/ 268114 h 339910"/>
                <a:gd name="connsiteX7" fmla="*/ -3919 w 611464"/>
                <a:gd name="connsiteY7" fmla="*/ 73949 h 339910"/>
                <a:gd name="connsiteX8" fmla="*/ 66490 w 611464"/>
                <a:gd name="connsiteY8" fmla="*/ 2390 h 339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464" h="339910">
                  <a:moveTo>
                    <a:pt x="66490" y="2390"/>
                  </a:moveTo>
                  <a:lnTo>
                    <a:pt x="534418" y="-1375"/>
                  </a:lnTo>
                  <a:cubicBezTo>
                    <a:pt x="573631" y="-1687"/>
                    <a:pt x="605665" y="29829"/>
                    <a:pt x="605978" y="69034"/>
                  </a:cubicBezTo>
                  <a:lnTo>
                    <a:pt x="607540" y="263207"/>
                  </a:lnTo>
                  <a:cubicBezTo>
                    <a:pt x="607860" y="302412"/>
                    <a:pt x="576328" y="334446"/>
                    <a:pt x="537131" y="334766"/>
                  </a:cubicBezTo>
                  <a:lnTo>
                    <a:pt x="69202" y="338531"/>
                  </a:lnTo>
                  <a:cubicBezTo>
                    <a:pt x="29990" y="338851"/>
                    <a:pt x="-2045" y="307319"/>
                    <a:pt x="-2357" y="268114"/>
                  </a:cubicBezTo>
                  <a:lnTo>
                    <a:pt x="-3919" y="73949"/>
                  </a:lnTo>
                  <a:cubicBezTo>
                    <a:pt x="-4239" y="34744"/>
                    <a:pt x="27292" y="2710"/>
                    <a:pt x="66490" y="2390"/>
                  </a:cubicBezTo>
                </a:path>
              </a:pathLst>
            </a:custGeom>
            <a:solidFill>
              <a:srgbClr val="FFFFFF">
                <a:lumMod val="85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75" name="Freeform: Shape 174">
              <a:extLst>
                <a:ext uri="{FF2B5EF4-FFF2-40B4-BE49-F238E27FC236}">
                  <a16:creationId xmlns:a16="http://schemas.microsoft.com/office/drawing/2014/main" id="{ACE99559-40D4-3840-1CF7-74A8C54F730F}"/>
                </a:ext>
              </a:extLst>
            </p:cNvPr>
            <p:cNvSpPr/>
            <p:nvPr/>
          </p:nvSpPr>
          <p:spPr>
            <a:xfrm flipV="1">
              <a:off x="5760345" y="4947499"/>
              <a:ext cx="110004" cy="78026"/>
            </a:xfrm>
            <a:custGeom>
              <a:avLst/>
              <a:gdLst>
                <a:gd name="connsiteX0" fmla="*/ -5158 w 165142"/>
                <a:gd name="connsiteY0" fmla="*/ 21025 h 117136"/>
                <a:gd name="connsiteX1" fmla="*/ 17512 w 165142"/>
                <a:gd name="connsiteY1" fmla="*/ -2018 h 117136"/>
                <a:gd name="connsiteX2" fmla="*/ 136376 w 165142"/>
                <a:gd name="connsiteY2" fmla="*/ -2978 h 117136"/>
                <a:gd name="connsiteX3" fmla="*/ 159411 w 165142"/>
                <a:gd name="connsiteY3" fmla="*/ 19699 h 117136"/>
                <a:gd name="connsiteX4" fmla="*/ 159983 w 165142"/>
                <a:gd name="connsiteY4" fmla="*/ 90154 h 117136"/>
                <a:gd name="connsiteX5" fmla="*/ 137313 w 165142"/>
                <a:gd name="connsiteY5" fmla="*/ 113197 h 117136"/>
                <a:gd name="connsiteX6" fmla="*/ 18449 w 165142"/>
                <a:gd name="connsiteY6" fmla="*/ 114157 h 117136"/>
                <a:gd name="connsiteX7" fmla="*/ -4594 w 165142"/>
                <a:gd name="connsiteY7" fmla="*/ 91472 h 117136"/>
                <a:gd name="connsiteX8" fmla="*/ -5158 w 165142"/>
                <a:gd name="connsiteY8" fmla="*/ 21025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36">
                  <a:moveTo>
                    <a:pt x="-5158" y="21025"/>
                  </a:moveTo>
                  <a:cubicBezTo>
                    <a:pt x="-5257" y="8452"/>
                    <a:pt x="4946" y="-1919"/>
                    <a:pt x="17512" y="-2018"/>
                  </a:cubicBezTo>
                  <a:lnTo>
                    <a:pt x="136376" y="-2978"/>
                  </a:lnTo>
                  <a:cubicBezTo>
                    <a:pt x="148941" y="-3077"/>
                    <a:pt x="159320" y="7126"/>
                    <a:pt x="159411" y="19699"/>
                  </a:cubicBezTo>
                  <a:lnTo>
                    <a:pt x="159983" y="90154"/>
                  </a:lnTo>
                  <a:cubicBezTo>
                    <a:pt x="160082" y="102727"/>
                    <a:pt x="149879" y="113090"/>
                    <a:pt x="137313" y="113197"/>
                  </a:cubicBezTo>
                  <a:lnTo>
                    <a:pt x="18449" y="114157"/>
                  </a:lnTo>
                  <a:cubicBezTo>
                    <a:pt x="5884" y="114256"/>
                    <a:pt x="-4495" y="104053"/>
                    <a:pt x="-4594" y="91472"/>
                  </a:cubicBezTo>
                  <a:lnTo>
                    <a:pt x="-5158" y="21025"/>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76" name="Freeform: Shape 175">
              <a:extLst>
                <a:ext uri="{FF2B5EF4-FFF2-40B4-BE49-F238E27FC236}">
                  <a16:creationId xmlns:a16="http://schemas.microsoft.com/office/drawing/2014/main" id="{FDAEF518-C21A-DBDC-79CE-56F165E51260}"/>
                </a:ext>
              </a:extLst>
            </p:cNvPr>
            <p:cNvSpPr/>
            <p:nvPr/>
          </p:nvSpPr>
          <p:spPr>
            <a:xfrm flipV="1">
              <a:off x="5472572" y="4945184"/>
              <a:ext cx="110003" cy="78021"/>
            </a:xfrm>
            <a:custGeom>
              <a:avLst/>
              <a:gdLst>
                <a:gd name="connsiteX0" fmla="*/ -4667 w 165141"/>
                <a:gd name="connsiteY0" fmla="*/ 21012 h 117128"/>
                <a:gd name="connsiteX1" fmla="*/ 18010 w 165141"/>
                <a:gd name="connsiteY1" fmla="*/ -2031 h 117128"/>
                <a:gd name="connsiteX2" fmla="*/ 136860 w 165141"/>
                <a:gd name="connsiteY2" fmla="*/ -2983 h 117128"/>
                <a:gd name="connsiteX3" fmla="*/ 159910 w 165141"/>
                <a:gd name="connsiteY3" fmla="*/ 19694 h 117128"/>
                <a:gd name="connsiteX4" fmla="*/ 160474 w 165141"/>
                <a:gd name="connsiteY4" fmla="*/ 90141 h 117128"/>
                <a:gd name="connsiteX5" fmla="*/ 137804 w 165141"/>
                <a:gd name="connsiteY5" fmla="*/ 113191 h 117128"/>
                <a:gd name="connsiteX6" fmla="*/ 18948 w 165141"/>
                <a:gd name="connsiteY6" fmla="*/ 114144 h 117128"/>
                <a:gd name="connsiteX7" fmla="*/ -4103 w 165141"/>
                <a:gd name="connsiteY7" fmla="*/ 91474 h 117128"/>
                <a:gd name="connsiteX8" fmla="*/ -4667 w 165141"/>
                <a:gd name="connsiteY8" fmla="*/ 21012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1" h="117128">
                  <a:moveTo>
                    <a:pt x="-4667" y="21012"/>
                  </a:moveTo>
                  <a:cubicBezTo>
                    <a:pt x="-4766" y="8447"/>
                    <a:pt x="5430" y="-1924"/>
                    <a:pt x="18010" y="-2031"/>
                  </a:cubicBezTo>
                  <a:lnTo>
                    <a:pt x="136860" y="-2983"/>
                  </a:lnTo>
                  <a:cubicBezTo>
                    <a:pt x="149440" y="-3090"/>
                    <a:pt x="159811" y="7121"/>
                    <a:pt x="159910" y="19694"/>
                  </a:cubicBezTo>
                  <a:lnTo>
                    <a:pt x="160474" y="90141"/>
                  </a:lnTo>
                  <a:cubicBezTo>
                    <a:pt x="160581" y="102714"/>
                    <a:pt x="150377" y="113085"/>
                    <a:pt x="137804" y="113191"/>
                  </a:cubicBezTo>
                  <a:lnTo>
                    <a:pt x="18948" y="114144"/>
                  </a:lnTo>
                  <a:cubicBezTo>
                    <a:pt x="6367" y="114243"/>
                    <a:pt x="-3996" y="104040"/>
                    <a:pt x="-4103" y="91474"/>
                  </a:cubicBezTo>
                  <a:lnTo>
                    <a:pt x="-4667" y="21012"/>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77" name="Freeform: Shape 176">
              <a:extLst>
                <a:ext uri="{FF2B5EF4-FFF2-40B4-BE49-F238E27FC236}">
                  <a16:creationId xmlns:a16="http://schemas.microsoft.com/office/drawing/2014/main" id="{F091EFF0-C44E-7536-5980-D6E197EB86AF}"/>
                </a:ext>
              </a:extLst>
            </p:cNvPr>
            <p:cNvSpPr/>
            <p:nvPr/>
          </p:nvSpPr>
          <p:spPr>
            <a:xfrm flipV="1">
              <a:off x="5328688" y="4944027"/>
              <a:ext cx="110004" cy="78021"/>
            </a:xfrm>
            <a:custGeom>
              <a:avLst/>
              <a:gdLst>
                <a:gd name="connsiteX0" fmla="*/ -4421 w 165142"/>
                <a:gd name="connsiteY0" fmla="*/ 21017 h 117128"/>
                <a:gd name="connsiteX1" fmla="*/ 18249 w 165142"/>
                <a:gd name="connsiteY1" fmla="*/ -2026 h 117128"/>
                <a:gd name="connsiteX2" fmla="*/ 137113 w 165142"/>
                <a:gd name="connsiteY2" fmla="*/ -2986 h 117128"/>
                <a:gd name="connsiteX3" fmla="*/ 160148 w 165142"/>
                <a:gd name="connsiteY3" fmla="*/ 19691 h 117128"/>
                <a:gd name="connsiteX4" fmla="*/ 160720 w 165142"/>
                <a:gd name="connsiteY4" fmla="*/ 90146 h 117128"/>
                <a:gd name="connsiteX5" fmla="*/ 138050 w 165142"/>
                <a:gd name="connsiteY5" fmla="*/ 113189 h 117128"/>
                <a:gd name="connsiteX6" fmla="*/ 19186 w 165142"/>
                <a:gd name="connsiteY6" fmla="*/ 114141 h 117128"/>
                <a:gd name="connsiteX7" fmla="*/ -3857 w 165142"/>
                <a:gd name="connsiteY7" fmla="*/ 91472 h 117128"/>
                <a:gd name="connsiteX8" fmla="*/ -4421 w 165142"/>
                <a:gd name="connsiteY8" fmla="*/ 21017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4421" y="21017"/>
                  </a:moveTo>
                  <a:cubicBezTo>
                    <a:pt x="-4520" y="8444"/>
                    <a:pt x="5683" y="-1927"/>
                    <a:pt x="18249" y="-2026"/>
                  </a:cubicBezTo>
                  <a:lnTo>
                    <a:pt x="137113" y="-2986"/>
                  </a:lnTo>
                  <a:cubicBezTo>
                    <a:pt x="149678" y="-3085"/>
                    <a:pt x="160057" y="7118"/>
                    <a:pt x="160148" y="19691"/>
                  </a:cubicBezTo>
                  <a:lnTo>
                    <a:pt x="160720" y="90146"/>
                  </a:lnTo>
                  <a:cubicBezTo>
                    <a:pt x="160819" y="102719"/>
                    <a:pt x="150616" y="113082"/>
                    <a:pt x="138050" y="113189"/>
                  </a:cubicBezTo>
                  <a:lnTo>
                    <a:pt x="19186" y="114141"/>
                  </a:lnTo>
                  <a:cubicBezTo>
                    <a:pt x="6613" y="114248"/>
                    <a:pt x="-3758" y="104037"/>
                    <a:pt x="-3857" y="91472"/>
                  </a:cubicBezTo>
                  <a:lnTo>
                    <a:pt x="-4421" y="21017"/>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78" name="Freeform: Shape 177">
              <a:extLst>
                <a:ext uri="{FF2B5EF4-FFF2-40B4-BE49-F238E27FC236}">
                  <a16:creationId xmlns:a16="http://schemas.microsoft.com/office/drawing/2014/main" id="{A62394D3-9617-EBE9-2ADD-355A24E9B267}"/>
                </a:ext>
              </a:extLst>
            </p:cNvPr>
            <p:cNvSpPr/>
            <p:nvPr/>
          </p:nvSpPr>
          <p:spPr>
            <a:xfrm flipV="1">
              <a:off x="5184799" y="4942864"/>
              <a:ext cx="110008" cy="78021"/>
            </a:xfrm>
            <a:custGeom>
              <a:avLst/>
              <a:gdLst>
                <a:gd name="connsiteX0" fmla="*/ -4175 w 165149"/>
                <a:gd name="connsiteY0" fmla="*/ 21007 h 117128"/>
                <a:gd name="connsiteX1" fmla="*/ 18502 w 165149"/>
                <a:gd name="connsiteY1" fmla="*/ -2036 h 117128"/>
                <a:gd name="connsiteX2" fmla="*/ 137358 w 165149"/>
                <a:gd name="connsiteY2" fmla="*/ -2988 h 117128"/>
                <a:gd name="connsiteX3" fmla="*/ 160409 w 165149"/>
                <a:gd name="connsiteY3" fmla="*/ 19681 h 117128"/>
                <a:gd name="connsiteX4" fmla="*/ 160973 w 165149"/>
                <a:gd name="connsiteY4" fmla="*/ 90136 h 117128"/>
                <a:gd name="connsiteX5" fmla="*/ 138296 w 165149"/>
                <a:gd name="connsiteY5" fmla="*/ 113179 h 117128"/>
                <a:gd name="connsiteX6" fmla="*/ 19439 w 165149"/>
                <a:gd name="connsiteY6" fmla="*/ 114139 h 117128"/>
                <a:gd name="connsiteX7" fmla="*/ -3604 w 165149"/>
                <a:gd name="connsiteY7" fmla="*/ 91462 h 117128"/>
                <a:gd name="connsiteX8" fmla="*/ -4175 w 165149"/>
                <a:gd name="connsiteY8" fmla="*/ 21007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4175" y="21007"/>
                  </a:moveTo>
                  <a:cubicBezTo>
                    <a:pt x="-4274" y="8434"/>
                    <a:pt x="5929" y="-1937"/>
                    <a:pt x="18502" y="-2036"/>
                  </a:cubicBezTo>
                  <a:lnTo>
                    <a:pt x="137358" y="-2988"/>
                  </a:lnTo>
                  <a:cubicBezTo>
                    <a:pt x="149939" y="-3095"/>
                    <a:pt x="160303" y="7108"/>
                    <a:pt x="160409" y="19681"/>
                  </a:cubicBezTo>
                  <a:lnTo>
                    <a:pt x="160973" y="90136"/>
                  </a:lnTo>
                  <a:cubicBezTo>
                    <a:pt x="161072" y="102709"/>
                    <a:pt x="150869" y="113072"/>
                    <a:pt x="138296" y="113179"/>
                  </a:cubicBezTo>
                  <a:lnTo>
                    <a:pt x="19439" y="114139"/>
                  </a:lnTo>
                  <a:cubicBezTo>
                    <a:pt x="6866" y="114238"/>
                    <a:pt x="-3505" y="104035"/>
                    <a:pt x="-3604" y="91462"/>
                  </a:cubicBezTo>
                  <a:lnTo>
                    <a:pt x="-4175" y="21007"/>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79" name="Freeform: Shape 178">
              <a:extLst>
                <a:ext uri="{FF2B5EF4-FFF2-40B4-BE49-F238E27FC236}">
                  <a16:creationId xmlns:a16="http://schemas.microsoft.com/office/drawing/2014/main" id="{D3861A30-1F5E-B8A0-2639-DEE3D8F7D056}"/>
                </a:ext>
              </a:extLst>
            </p:cNvPr>
            <p:cNvSpPr/>
            <p:nvPr/>
          </p:nvSpPr>
          <p:spPr>
            <a:xfrm flipV="1">
              <a:off x="4897031" y="4940550"/>
              <a:ext cx="110003" cy="78021"/>
            </a:xfrm>
            <a:custGeom>
              <a:avLst/>
              <a:gdLst>
                <a:gd name="connsiteX0" fmla="*/ -3684 w 165141"/>
                <a:gd name="connsiteY0" fmla="*/ 21010 h 117128"/>
                <a:gd name="connsiteX1" fmla="*/ 18986 w 165141"/>
                <a:gd name="connsiteY1" fmla="*/ -2033 h 117128"/>
                <a:gd name="connsiteX2" fmla="*/ 137850 w 165141"/>
                <a:gd name="connsiteY2" fmla="*/ -2993 h 117128"/>
                <a:gd name="connsiteX3" fmla="*/ 160885 w 165141"/>
                <a:gd name="connsiteY3" fmla="*/ 19684 h 117128"/>
                <a:gd name="connsiteX4" fmla="*/ 161457 w 165141"/>
                <a:gd name="connsiteY4" fmla="*/ 90130 h 117128"/>
                <a:gd name="connsiteX5" fmla="*/ 138787 w 165141"/>
                <a:gd name="connsiteY5" fmla="*/ 113181 h 117128"/>
                <a:gd name="connsiteX6" fmla="*/ 19923 w 165141"/>
                <a:gd name="connsiteY6" fmla="*/ 114133 h 117128"/>
                <a:gd name="connsiteX7" fmla="*/ -3120 w 165141"/>
                <a:gd name="connsiteY7" fmla="*/ 91464 h 117128"/>
                <a:gd name="connsiteX8" fmla="*/ -3684 w 165141"/>
                <a:gd name="connsiteY8" fmla="*/ 21010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1" h="117128">
                  <a:moveTo>
                    <a:pt x="-3684" y="21010"/>
                  </a:moveTo>
                  <a:cubicBezTo>
                    <a:pt x="-3783" y="8437"/>
                    <a:pt x="6420" y="-1934"/>
                    <a:pt x="18986" y="-2033"/>
                  </a:cubicBezTo>
                  <a:lnTo>
                    <a:pt x="137850" y="-2993"/>
                  </a:lnTo>
                  <a:cubicBezTo>
                    <a:pt x="150415" y="-3092"/>
                    <a:pt x="160794" y="7111"/>
                    <a:pt x="160885" y="19684"/>
                  </a:cubicBezTo>
                  <a:lnTo>
                    <a:pt x="161457" y="90130"/>
                  </a:lnTo>
                  <a:cubicBezTo>
                    <a:pt x="161556" y="102711"/>
                    <a:pt x="151353" y="113082"/>
                    <a:pt x="138787" y="113181"/>
                  </a:cubicBezTo>
                  <a:lnTo>
                    <a:pt x="19923" y="114133"/>
                  </a:lnTo>
                  <a:cubicBezTo>
                    <a:pt x="7350" y="114233"/>
                    <a:pt x="-3021" y="104030"/>
                    <a:pt x="-3120" y="91464"/>
                  </a:cubicBezTo>
                  <a:lnTo>
                    <a:pt x="-3684" y="21010"/>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0" name="Freeform: Shape 179">
              <a:extLst>
                <a:ext uri="{FF2B5EF4-FFF2-40B4-BE49-F238E27FC236}">
                  <a16:creationId xmlns:a16="http://schemas.microsoft.com/office/drawing/2014/main" id="{5E48438E-F33F-D831-E71C-3254FB6FEC92}"/>
                </a:ext>
              </a:extLst>
            </p:cNvPr>
            <p:cNvSpPr/>
            <p:nvPr/>
          </p:nvSpPr>
          <p:spPr>
            <a:xfrm flipV="1">
              <a:off x="4753142" y="4939388"/>
              <a:ext cx="110008" cy="78026"/>
            </a:xfrm>
            <a:custGeom>
              <a:avLst/>
              <a:gdLst>
                <a:gd name="connsiteX0" fmla="*/ -3438 w 165149"/>
                <a:gd name="connsiteY0" fmla="*/ 21007 h 117136"/>
                <a:gd name="connsiteX1" fmla="*/ 19239 w 165149"/>
                <a:gd name="connsiteY1" fmla="*/ -2036 h 117136"/>
                <a:gd name="connsiteX2" fmla="*/ 138096 w 165149"/>
                <a:gd name="connsiteY2" fmla="*/ -2996 h 117136"/>
                <a:gd name="connsiteX3" fmla="*/ 161146 w 165149"/>
                <a:gd name="connsiteY3" fmla="*/ 19681 h 117136"/>
                <a:gd name="connsiteX4" fmla="*/ 161710 w 165149"/>
                <a:gd name="connsiteY4" fmla="*/ 90136 h 117136"/>
                <a:gd name="connsiteX5" fmla="*/ 139033 w 165149"/>
                <a:gd name="connsiteY5" fmla="*/ 113178 h 117136"/>
                <a:gd name="connsiteX6" fmla="*/ 20176 w 165149"/>
                <a:gd name="connsiteY6" fmla="*/ 114139 h 117136"/>
                <a:gd name="connsiteX7" fmla="*/ -2867 w 165149"/>
                <a:gd name="connsiteY7" fmla="*/ 91461 h 117136"/>
                <a:gd name="connsiteX8" fmla="*/ -3438 w 165149"/>
                <a:gd name="connsiteY8" fmla="*/ 21007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36">
                  <a:moveTo>
                    <a:pt x="-3438" y="21007"/>
                  </a:moveTo>
                  <a:cubicBezTo>
                    <a:pt x="-3537" y="8434"/>
                    <a:pt x="6666" y="-1937"/>
                    <a:pt x="19239" y="-2036"/>
                  </a:cubicBezTo>
                  <a:lnTo>
                    <a:pt x="138096" y="-2996"/>
                  </a:lnTo>
                  <a:cubicBezTo>
                    <a:pt x="150676" y="-3095"/>
                    <a:pt x="161039" y="7108"/>
                    <a:pt x="161146" y="19681"/>
                  </a:cubicBezTo>
                  <a:lnTo>
                    <a:pt x="161710" y="90136"/>
                  </a:lnTo>
                  <a:cubicBezTo>
                    <a:pt x="161809" y="102709"/>
                    <a:pt x="151606" y="113079"/>
                    <a:pt x="139033" y="113178"/>
                  </a:cubicBezTo>
                  <a:lnTo>
                    <a:pt x="20176" y="114139"/>
                  </a:lnTo>
                  <a:cubicBezTo>
                    <a:pt x="7603" y="114238"/>
                    <a:pt x="-2768" y="104034"/>
                    <a:pt x="-2867" y="91461"/>
                  </a:cubicBezTo>
                  <a:lnTo>
                    <a:pt x="-3438" y="21007"/>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1" name="Freeform: Shape 180">
              <a:extLst>
                <a:ext uri="{FF2B5EF4-FFF2-40B4-BE49-F238E27FC236}">
                  <a16:creationId xmlns:a16="http://schemas.microsoft.com/office/drawing/2014/main" id="{0290C2B4-5593-517B-F084-A071B486836C}"/>
                </a:ext>
              </a:extLst>
            </p:cNvPr>
            <p:cNvSpPr/>
            <p:nvPr/>
          </p:nvSpPr>
          <p:spPr>
            <a:xfrm flipV="1">
              <a:off x="4609258" y="4938230"/>
              <a:ext cx="110004" cy="78021"/>
            </a:xfrm>
            <a:custGeom>
              <a:avLst/>
              <a:gdLst>
                <a:gd name="connsiteX0" fmla="*/ -3193 w 165142"/>
                <a:gd name="connsiteY0" fmla="*/ 20997 h 117128"/>
                <a:gd name="connsiteX1" fmla="*/ 19485 w 165142"/>
                <a:gd name="connsiteY1" fmla="*/ -2046 h 117128"/>
                <a:gd name="connsiteX2" fmla="*/ 138334 w 165142"/>
                <a:gd name="connsiteY2" fmla="*/ -2999 h 117128"/>
                <a:gd name="connsiteX3" fmla="*/ 161384 w 165142"/>
                <a:gd name="connsiteY3" fmla="*/ 19671 h 117128"/>
                <a:gd name="connsiteX4" fmla="*/ 161948 w 165142"/>
                <a:gd name="connsiteY4" fmla="*/ 90125 h 117128"/>
                <a:gd name="connsiteX5" fmla="*/ 139279 w 165142"/>
                <a:gd name="connsiteY5" fmla="*/ 113168 h 117128"/>
                <a:gd name="connsiteX6" fmla="*/ 20422 w 165142"/>
                <a:gd name="connsiteY6" fmla="*/ 114128 h 117128"/>
                <a:gd name="connsiteX7" fmla="*/ -2629 w 165142"/>
                <a:gd name="connsiteY7" fmla="*/ 91451 h 117128"/>
                <a:gd name="connsiteX8" fmla="*/ -3193 w 165142"/>
                <a:gd name="connsiteY8" fmla="*/ 20997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3193" y="20997"/>
                  </a:moveTo>
                  <a:cubicBezTo>
                    <a:pt x="-3291" y="8424"/>
                    <a:pt x="6904" y="-1947"/>
                    <a:pt x="19485" y="-2046"/>
                  </a:cubicBezTo>
                  <a:lnTo>
                    <a:pt x="138334" y="-2999"/>
                  </a:lnTo>
                  <a:cubicBezTo>
                    <a:pt x="150914" y="-3105"/>
                    <a:pt x="161278" y="7098"/>
                    <a:pt x="161384" y="19671"/>
                  </a:cubicBezTo>
                  <a:lnTo>
                    <a:pt x="161948" y="90125"/>
                  </a:lnTo>
                  <a:cubicBezTo>
                    <a:pt x="162055" y="102698"/>
                    <a:pt x="151852" y="113069"/>
                    <a:pt x="139279" y="113168"/>
                  </a:cubicBezTo>
                  <a:lnTo>
                    <a:pt x="20422" y="114128"/>
                  </a:lnTo>
                  <a:cubicBezTo>
                    <a:pt x="7841" y="114228"/>
                    <a:pt x="-2522" y="104024"/>
                    <a:pt x="-2629" y="91451"/>
                  </a:cubicBezTo>
                  <a:lnTo>
                    <a:pt x="-3193" y="20997"/>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2" name="Freeform: Shape 181">
              <a:extLst>
                <a:ext uri="{FF2B5EF4-FFF2-40B4-BE49-F238E27FC236}">
                  <a16:creationId xmlns:a16="http://schemas.microsoft.com/office/drawing/2014/main" id="{D479A174-1230-F8BB-0041-88292FB5C23B}"/>
                </a:ext>
              </a:extLst>
            </p:cNvPr>
            <p:cNvSpPr/>
            <p:nvPr/>
          </p:nvSpPr>
          <p:spPr>
            <a:xfrm flipV="1">
              <a:off x="4321485" y="4935916"/>
              <a:ext cx="110008" cy="78021"/>
            </a:xfrm>
            <a:custGeom>
              <a:avLst/>
              <a:gdLst>
                <a:gd name="connsiteX0" fmla="*/ -2701 w 165149"/>
                <a:gd name="connsiteY0" fmla="*/ 20999 h 117128"/>
                <a:gd name="connsiteX1" fmla="*/ 19976 w 165149"/>
                <a:gd name="connsiteY1" fmla="*/ -2044 h 117128"/>
                <a:gd name="connsiteX2" fmla="*/ 138833 w 165149"/>
                <a:gd name="connsiteY2" fmla="*/ -3004 h 117128"/>
                <a:gd name="connsiteX3" fmla="*/ 161883 w 165149"/>
                <a:gd name="connsiteY3" fmla="*/ 19673 h 117128"/>
                <a:gd name="connsiteX4" fmla="*/ 162447 w 165149"/>
                <a:gd name="connsiteY4" fmla="*/ 90128 h 117128"/>
                <a:gd name="connsiteX5" fmla="*/ 139770 w 165149"/>
                <a:gd name="connsiteY5" fmla="*/ 113171 h 117128"/>
                <a:gd name="connsiteX6" fmla="*/ 20913 w 165149"/>
                <a:gd name="connsiteY6" fmla="*/ 114123 h 117128"/>
                <a:gd name="connsiteX7" fmla="*/ -2130 w 165149"/>
                <a:gd name="connsiteY7" fmla="*/ 91454 h 117128"/>
                <a:gd name="connsiteX8" fmla="*/ -2701 w 165149"/>
                <a:gd name="connsiteY8" fmla="*/ 20999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2701" y="20999"/>
                  </a:moveTo>
                  <a:cubicBezTo>
                    <a:pt x="-2800" y="8426"/>
                    <a:pt x="7403" y="-1945"/>
                    <a:pt x="19976" y="-2044"/>
                  </a:cubicBezTo>
                  <a:lnTo>
                    <a:pt x="138833" y="-3004"/>
                  </a:lnTo>
                  <a:cubicBezTo>
                    <a:pt x="151413" y="-3103"/>
                    <a:pt x="161777" y="7100"/>
                    <a:pt x="161883" y="19673"/>
                  </a:cubicBezTo>
                  <a:lnTo>
                    <a:pt x="162447" y="90128"/>
                  </a:lnTo>
                  <a:cubicBezTo>
                    <a:pt x="162546" y="102701"/>
                    <a:pt x="152343" y="113071"/>
                    <a:pt x="139770" y="113171"/>
                  </a:cubicBezTo>
                  <a:lnTo>
                    <a:pt x="20913" y="114123"/>
                  </a:lnTo>
                  <a:cubicBezTo>
                    <a:pt x="8340" y="114222"/>
                    <a:pt x="-2031" y="104027"/>
                    <a:pt x="-2130" y="91454"/>
                  </a:cubicBezTo>
                  <a:lnTo>
                    <a:pt x="-2701" y="20999"/>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3" name="Freeform: Shape 182">
              <a:extLst>
                <a:ext uri="{FF2B5EF4-FFF2-40B4-BE49-F238E27FC236}">
                  <a16:creationId xmlns:a16="http://schemas.microsoft.com/office/drawing/2014/main" id="{496EC185-3BD7-CA08-8C22-EB9390E740AD}"/>
                </a:ext>
              </a:extLst>
            </p:cNvPr>
            <p:cNvSpPr/>
            <p:nvPr/>
          </p:nvSpPr>
          <p:spPr>
            <a:xfrm flipV="1">
              <a:off x="3994478" y="4314368"/>
              <a:ext cx="2214048" cy="485333"/>
            </a:xfrm>
            <a:custGeom>
              <a:avLst/>
              <a:gdLst>
                <a:gd name="connsiteX0" fmla="*/ 308676 w 3323815"/>
                <a:gd name="connsiteY0" fmla="*/ 1549 h 728601"/>
                <a:gd name="connsiteX1" fmla="*/ 2996966 w 3323815"/>
                <a:gd name="connsiteY1" fmla="*/ -3937 h 728601"/>
                <a:gd name="connsiteX2" fmla="*/ 3124875 w 3323815"/>
                <a:gd name="connsiteY2" fmla="*/ 101676 h 728601"/>
                <a:gd name="connsiteX3" fmla="*/ 3308913 w 3323815"/>
                <a:gd name="connsiteY3" fmla="*/ 578352 h 728601"/>
                <a:gd name="connsiteX4" fmla="*/ 3246209 w 3323815"/>
                <a:gd name="connsiteY4" fmla="*/ 718172 h 728601"/>
                <a:gd name="connsiteX5" fmla="*/ 71076 w 3323815"/>
                <a:gd name="connsiteY5" fmla="*/ 724664 h 728601"/>
                <a:gd name="connsiteX6" fmla="*/ 6123 w 3323815"/>
                <a:gd name="connsiteY6" fmla="*/ 585096 h 728601"/>
                <a:gd name="connsiteX7" fmla="*/ 190421 w 3323815"/>
                <a:gd name="connsiteY7" fmla="*/ 107863 h 728601"/>
                <a:gd name="connsiteX8" fmla="*/ 308676 w 3323815"/>
                <a:gd name="connsiteY8" fmla="*/ 1549 h 72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23815" h="728601">
                  <a:moveTo>
                    <a:pt x="308676" y="1549"/>
                  </a:moveTo>
                  <a:lnTo>
                    <a:pt x="2996966" y="-3937"/>
                  </a:lnTo>
                  <a:cubicBezTo>
                    <a:pt x="3050397" y="-4044"/>
                    <a:pt x="3103021" y="42521"/>
                    <a:pt x="3124875" y="101676"/>
                  </a:cubicBezTo>
                  <a:lnTo>
                    <a:pt x="3308913" y="578352"/>
                  </a:lnTo>
                  <a:cubicBezTo>
                    <a:pt x="3337008" y="654407"/>
                    <a:pt x="3309325" y="718050"/>
                    <a:pt x="3246209" y="718172"/>
                  </a:cubicBezTo>
                  <a:lnTo>
                    <a:pt x="71076" y="724664"/>
                  </a:lnTo>
                  <a:cubicBezTo>
                    <a:pt x="7968" y="724794"/>
                    <a:pt x="-20745" y="661265"/>
                    <a:pt x="6123" y="585096"/>
                  </a:cubicBezTo>
                  <a:lnTo>
                    <a:pt x="190421" y="107863"/>
                  </a:lnTo>
                  <a:cubicBezTo>
                    <a:pt x="211322" y="48625"/>
                    <a:pt x="255237" y="1663"/>
                    <a:pt x="308676" y="1549"/>
                  </a:cubicBezTo>
                </a:path>
              </a:pathLst>
            </a:custGeom>
            <a:solidFill>
              <a:srgbClr val="FFFFFF"/>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4" name="Freeform: Shape 183">
              <a:extLst>
                <a:ext uri="{FF2B5EF4-FFF2-40B4-BE49-F238E27FC236}">
                  <a16:creationId xmlns:a16="http://schemas.microsoft.com/office/drawing/2014/main" id="{E6FC759F-FB8D-2222-0DE6-5B843033BC07}"/>
                </a:ext>
              </a:extLst>
            </p:cNvPr>
            <p:cNvSpPr/>
            <p:nvPr/>
          </p:nvSpPr>
          <p:spPr>
            <a:xfrm flipV="1">
              <a:off x="3997945" y="4368202"/>
              <a:ext cx="2206953" cy="431706"/>
            </a:xfrm>
            <a:custGeom>
              <a:avLst/>
              <a:gdLst>
                <a:gd name="connsiteX0" fmla="*/ 303601 w 3313163"/>
                <a:gd name="connsiteY0" fmla="*/ 1912 h 648094"/>
                <a:gd name="connsiteX1" fmla="*/ 2992554 w 3313163"/>
                <a:gd name="connsiteY1" fmla="*/ -3582 h 648094"/>
                <a:gd name="connsiteX2" fmla="*/ 3095691 w 3313163"/>
                <a:gd name="connsiteY2" fmla="*/ 42648 h 648094"/>
                <a:gd name="connsiteX3" fmla="*/ 3298847 w 3313163"/>
                <a:gd name="connsiteY3" fmla="*/ 513938 h 648094"/>
                <a:gd name="connsiteX4" fmla="*/ 3235007 w 3313163"/>
                <a:gd name="connsiteY4" fmla="*/ 637755 h 648094"/>
                <a:gd name="connsiteX5" fmla="*/ 71495 w 3313163"/>
                <a:gd name="connsiteY5" fmla="*/ 644217 h 648094"/>
                <a:gd name="connsiteX6" fmla="*/ 5659 w 3313163"/>
                <a:gd name="connsiteY6" fmla="*/ 520666 h 648094"/>
                <a:gd name="connsiteX7" fmla="*/ 201988 w 3313163"/>
                <a:gd name="connsiteY7" fmla="*/ 49072 h 648094"/>
                <a:gd name="connsiteX8" fmla="*/ 303601 w 3313163"/>
                <a:gd name="connsiteY8" fmla="*/ 1912 h 64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3163" h="648094">
                  <a:moveTo>
                    <a:pt x="303601" y="1912"/>
                  </a:moveTo>
                  <a:lnTo>
                    <a:pt x="2992554" y="-3582"/>
                  </a:lnTo>
                  <a:cubicBezTo>
                    <a:pt x="3046008" y="-3697"/>
                    <a:pt x="3074362" y="-10052"/>
                    <a:pt x="3095691" y="42648"/>
                  </a:cubicBezTo>
                  <a:lnTo>
                    <a:pt x="3298847" y="513938"/>
                  </a:lnTo>
                  <a:cubicBezTo>
                    <a:pt x="3326104" y="581291"/>
                    <a:pt x="3297887" y="637626"/>
                    <a:pt x="3235007" y="637755"/>
                  </a:cubicBezTo>
                  <a:lnTo>
                    <a:pt x="71495" y="644217"/>
                  </a:lnTo>
                  <a:cubicBezTo>
                    <a:pt x="8615" y="644346"/>
                    <a:pt x="-20516" y="588134"/>
                    <a:pt x="5659" y="520666"/>
                  </a:cubicBezTo>
                  <a:lnTo>
                    <a:pt x="201988" y="49072"/>
                  </a:lnTo>
                  <a:cubicBezTo>
                    <a:pt x="222463" y="-3712"/>
                    <a:pt x="250154" y="2018"/>
                    <a:pt x="303601" y="1912"/>
                  </a:cubicBezTo>
                </a:path>
              </a:pathLst>
            </a:custGeom>
            <a:solidFill>
              <a:srgbClr val="FFFFFF">
                <a:lumMod val="85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5" name="Freeform: Shape 184">
              <a:extLst>
                <a:ext uri="{FF2B5EF4-FFF2-40B4-BE49-F238E27FC236}">
                  <a16:creationId xmlns:a16="http://schemas.microsoft.com/office/drawing/2014/main" id="{EF6C6A00-658D-9B43-41BE-302FDF45D8D0}"/>
                </a:ext>
              </a:extLst>
            </p:cNvPr>
            <p:cNvSpPr/>
            <p:nvPr/>
          </p:nvSpPr>
          <p:spPr>
            <a:xfrm flipV="1">
              <a:off x="4085733" y="4429522"/>
              <a:ext cx="2035385" cy="335600"/>
            </a:xfrm>
            <a:custGeom>
              <a:avLst/>
              <a:gdLst>
                <a:gd name="connsiteX0" fmla="*/ 246887 w 3055598"/>
                <a:gd name="connsiteY0" fmla="*/ 16667 h 503815"/>
                <a:gd name="connsiteX1" fmla="*/ 2793552 w 3055598"/>
                <a:gd name="connsiteY1" fmla="*/ -3846 h 503815"/>
                <a:gd name="connsiteX2" fmla="*/ 2916676 w 3055598"/>
                <a:gd name="connsiteY2" fmla="*/ 96395 h 503815"/>
                <a:gd name="connsiteX3" fmla="*/ 3034078 w 3055598"/>
                <a:gd name="connsiteY3" fmla="*/ 348480 h 503815"/>
                <a:gd name="connsiteX4" fmla="*/ 3004664 w 3055598"/>
                <a:gd name="connsiteY4" fmla="*/ 476115 h 503815"/>
                <a:gd name="connsiteX5" fmla="*/ 44050 w 3055598"/>
                <a:gd name="connsiteY5" fmla="*/ 499966 h 503815"/>
                <a:gd name="connsiteX6" fmla="*/ 12450 w 3055598"/>
                <a:gd name="connsiteY6" fmla="*/ 372818 h 503815"/>
                <a:gd name="connsiteX7" fmla="*/ 125501 w 3055598"/>
                <a:gd name="connsiteY7" fmla="*/ 118882 h 503815"/>
                <a:gd name="connsiteX8" fmla="*/ 246887 w 3055598"/>
                <a:gd name="connsiteY8" fmla="*/ 16667 h 50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55598" h="503815">
                  <a:moveTo>
                    <a:pt x="246887" y="16667"/>
                  </a:moveTo>
                  <a:lnTo>
                    <a:pt x="2793552" y="-3846"/>
                  </a:lnTo>
                  <a:cubicBezTo>
                    <a:pt x="2835439" y="-4181"/>
                    <a:pt x="2890448" y="40091"/>
                    <a:pt x="2916676" y="96395"/>
                  </a:cubicBezTo>
                  <a:lnTo>
                    <a:pt x="3034078" y="348480"/>
                  </a:lnTo>
                  <a:cubicBezTo>
                    <a:pt x="3066036" y="417098"/>
                    <a:pt x="3053356" y="475726"/>
                    <a:pt x="3004664" y="476115"/>
                  </a:cubicBezTo>
                  <a:lnTo>
                    <a:pt x="44050" y="499966"/>
                  </a:lnTo>
                  <a:cubicBezTo>
                    <a:pt x="-4641" y="500362"/>
                    <a:pt x="-18327" y="441947"/>
                    <a:pt x="12450" y="372818"/>
                  </a:cubicBezTo>
                  <a:lnTo>
                    <a:pt x="125501" y="118882"/>
                  </a:lnTo>
                  <a:cubicBezTo>
                    <a:pt x="150753" y="62159"/>
                    <a:pt x="205008" y="17010"/>
                    <a:pt x="246887" y="16667"/>
                  </a:cubicBezTo>
                </a:path>
              </a:pathLst>
            </a:custGeom>
            <a:solidFill>
              <a:srgbClr val="FFFFFF"/>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6" name="Freeform: Shape 185">
              <a:extLst>
                <a:ext uri="{FF2B5EF4-FFF2-40B4-BE49-F238E27FC236}">
                  <a16:creationId xmlns:a16="http://schemas.microsoft.com/office/drawing/2014/main" id="{42E2110C-E751-E082-9402-1781828686D7}"/>
                </a:ext>
              </a:extLst>
            </p:cNvPr>
            <p:cNvSpPr/>
            <p:nvPr/>
          </p:nvSpPr>
          <p:spPr>
            <a:xfrm flipV="1">
              <a:off x="5759563" y="5041284"/>
              <a:ext cx="110004" cy="78021"/>
            </a:xfrm>
            <a:custGeom>
              <a:avLst/>
              <a:gdLst>
                <a:gd name="connsiteX0" fmla="*/ -5157 w 165142"/>
                <a:gd name="connsiteY0" fmla="*/ 21234 h 117128"/>
                <a:gd name="connsiteX1" fmla="*/ 17521 w 165142"/>
                <a:gd name="connsiteY1" fmla="*/ -1808 h 117128"/>
                <a:gd name="connsiteX2" fmla="*/ 136370 w 165142"/>
                <a:gd name="connsiteY2" fmla="*/ -2769 h 117128"/>
                <a:gd name="connsiteX3" fmla="*/ 159420 w 165142"/>
                <a:gd name="connsiteY3" fmla="*/ 19909 h 117128"/>
                <a:gd name="connsiteX4" fmla="*/ 159984 w 165142"/>
                <a:gd name="connsiteY4" fmla="*/ 90363 h 117128"/>
                <a:gd name="connsiteX5" fmla="*/ 137315 w 165142"/>
                <a:gd name="connsiteY5" fmla="*/ 113406 h 117128"/>
                <a:gd name="connsiteX6" fmla="*/ 18450 w 165142"/>
                <a:gd name="connsiteY6" fmla="*/ 114358 h 117128"/>
                <a:gd name="connsiteX7" fmla="*/ -4593 w 165142"/>
                <a:gd name="connsiteY7" fmla="*/ 91689 h 117128"/>
                <a:gd name="connsiteX8" fmla="*/ -5157 w 165142"/>
                <a:gd name="connsiteY8" fmla="*/ 21234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5157" y="21234"/>
                  </a:moveTo>
                  <a:cubicBezTo>
                    <a:pt x="-5256" y="8661"/>
                    <a:pt x="4940" y="-1709"/>
                    <a:pt x="17521" y="-1808"/>
                  </a:cubicBezTo>
                  <a:lnTo>
                    <a:pt x="136370" y="-2769"/>
                  </a:lnTo>
                  <a:cubicBezTo>
                    <a:pt x="148950" y="-2868"/>
                    <a:pt x="159314" y="7336"/>
                    <a:pt x="159420" y="19909"/>
                  </a:cubicBezTo>
                  <a:lnTo>
                    <a:pt x="159984" y="90363"/>
                  </a:lnTo>
                  <a:cubicBezTo>
                    <a:pt x="160091" y="102928"/>
                    <a:pt x="149888" y="113299"/>
                    <a:pt x="137315" y="113406"/>
                  </a:cubicBezTo>
                  <a:lnTo>
                    <a:pt x="18450" y="114358"/>
                  </a:lnTo>
                  <a:cubicBezTo>
                    <a:pt x="5877" y="114465"/>
                    <a:pt x="-4494" y="104262"/>
                    <a:pt x="-4593" y="91689"/>
                  </a:cubicBezTo>
                  <a:lnTo>
                    <a:pt x="-5157" y="21234"/>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7" name="Freeform: Shape 186">
              <a:extLst>
                <a:ext uri="{FF2B5EF4-FFF2-40B4-BE49-F238E27FC236}">
                  <a16:creationId xmlns:a16="http://schemas.microsoft.com/office/drawing/2014/main" id="{F599BA05-3DD3-6E46-DA85-596A243700CC}"/>
                </a:ext>
              </a:extLst>
            </p:cNvPr>
            <p:cNvSpPr/>
            <p:nvPr/>
          </p:nvSpPr>
          <p:spPr>
            <a:xfrm flipV="1">
              <a:off x="5615679" y="5040122"/>
              <a:ext cx="109999" cy="78026"/>
            </a:xfrm>
            <a:custGeom>
              <a:avLst/>
              <a:gdLst>
                <a:gd name="connsiteX0" fmla="*/ -4911 w 165134"/>
                <a:gd name="connsiteY0" fmla="*/ 21232 h 117136"/>
                <a:gd name="connsiteX1" fmla="*/ 17759 w 165134"/>
                <a:gd name="connsiteY1" fmla="*/ -1811 h 117136"/>
                <a:gd name="connsiteX2" fmla="*/ 136623 w 165134"/>
                <a:gd name="connsiteY2" fmla="*/ -2771 h 117136"/>
                <a:gd name="connsiteX3" fmla="*/ 159658 w 165134"/>
                <a:gd name="connsiteY3" fmla="*/ 19906 h 117136"/>
                <a:gd name="connsiteX4" fmla="*/ 160222 w 165134"/>
                <a:gd name="connsiteY4" fmla="*/ 90360 h 117136"/>
                <a:gd name="connsiteX5" fmla="*/ 137553 w 165134"/>
                <a:gd name="connsiteY5" fmla="*/ 113403 h 117136"/>
                <a:gd name="connsiteX6" fmla="*/ 18696 w 165134"/>
                <a:gd name="connsiteY6" fmla="*/ 114363 h 117136"/>
                <a:gd name="connsiteX7" fmla="*/ -4347 w 165134"/>
                <a:gd name="connsiteY7" fmla="*/ 91686 h 117136"/>
                <a:gd name="connsiteX8" fmla="*/ -4911 w 165134"/>
                <a:gd name="connsiteY8" fmla="*/ 21232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34" h="117136">
                  <a:moveTo>
                    <a:pt x="-4911" y="21232"/>
                  </a:moveTo>
                  <a:cubicBezTo>
                    <a:pt x="-5018" y="8659"/>
                    <a:pt x="5193" y="-1704"/>
                    <a:pt x="17759" y="-1811"/>
                  </a:cubicBezTo>
                  <a:lnTo>
                    <a:pt x="136623" y="-2771"/>
                  </a:lnTo>
                  <a:cubicBezTo>
                    <a:pt x="149188" y="-2870"/>
                    <a:pt x="159567" y="7333"/>
                    <a:pt x="159658" y="19906"/>
                  </a:cubicBezTo>
                  <a:lnTo>
                    <a:pt x="160222" y="90360"/>
                  </a:lnTo>
                  <a:cubicBezTo>
                    <a:pt x="160329" y="102933"/>
                    <a:pt x="150126" y="113304"/>
                    <a:pt x="137553" y="113403"/>
                  </a:cubicBezTo>
                  <a:lnTo>
                    <a:pt x="18696" y="114363"/>
                  </a:lnTo>
                  <a:cubicBezTo>
                    <a:pt x="6123" y="114463"/>
                    <a:pt x="-4248" y="104259"/>
                    <a:pt x="-4347" y="91686"/>
                  </a:cubicBezTo>
                  <a:lnTo>
                    <a:pt x="-4911" y="21232"/>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8" name="Freeform: Shape 187">
              <a:extLst>
                <a:ext uri="{FF2B5EF4-FFF2-40B4-BE49-F238E27FC236}">
                  <a16:creationId xmlns:a16="http://schemas.microsoft.com/office/drawing/2014/main" id="{4C3D9BAF-3C72-2807-F02E-C57BB39E7E93}"/>
                </a:ext>
              </a:extLst>
            </p:cNvPr>
            <p:cNvSpPr/>
            <p:nvPr/>
          </p:nvSpPr>
          <p:spPr>
            <a:xfrm flipV="1">
              <a:off x="5471790" y="5038965"/>
              <a:ext cx="110008" cy="78021"/>
            </a:xfrm>
            <a:custGeom>
              <a:avLst/>
              <a:gdLst>
                <a:gd name="connsiteX0" fmla="*/ -4665 w 165149"/>
                <a:gd name="connsiteY0" fmla="*/ 21222 h 117128"/>
                <a:gd name="connsiteX1" fmla="*/ 18012 w 165149"/>
                <a:gd name="connsiteY1" fmla="*/ -1821 h 117128"/>
                <a:gd name="connsiteX2" fmla="*/ 136868 w 165149"/>
                <a:gd name="connsiteY2" fmla="*/ -2774 h 117128"/>
                <a:gd name="connsiteX3" fmla="*/ 159919 w 165149"/>
                <a:gd name="connsiteY3" fmla="*/ 19903 h 117128"/>
                <a:gd name="connsiteX4" fmla="*/ 160483 w 165149"/>
                <a:gd name="connsiteY4" fmla="*/ 90350 h 117128"/>
                <a:gd name="connsiteX5" fmla="*/ 137806 w 165149"/>
                <a:gd name="connsiteY5" fmla="*/ 113401 h 117128"/>
                <a:gd name="connsiteX6" fmla="*/ 18949 w 165149"/>
                <a:gd name="connsiteY6" fmla="*/ 114353 h 117128"/>
                <a:gd name="connsiteX7" fmla="*/ -4102 w 165149"/>
                <a:gd name="connsiteY7" fmla="*/ 91676 h 117128"/>
                <a:gd name="connsiteX8" fmla="*/ -4665 w 165149"/>
                <a:gd name="connsiteY8" fmla="*/ 21222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4665" y="21222"/>
                  </a:moveTo>
                  <a:cubicBezTo>
                    <a:pt x="-4765" y="8649"/>
                    <a:pt x="5439" y="-1715"/>
                    <a:pt x="18012" y="-1821"/>
                  </a:cubicBezTo>
                  <a:lnTo>
                    <a:pt x="136868" y="-2774"/>
                  </a:lnTo>
                  <a:cubicBezTo>
                    <a:pt x="149441" y="-2880"/>
                    <a:pt x="159812" y="7330"/>
                    <a:pt x="159919" y="19903"/>
                  </a:cubicBezTo>
                  <a:lnTo>
                    <a:pt x="160483" y="90350"/>
                  </a:lnTo>
                  <a:cubicBezTo>
                    <a:pt x="160574" y="102931"/>
                    <a:pt x="150379" y="113294"/>
                    <a:pt x="137806" y="113401"/>
                  </a:cubicBezTo>
                  <a:lnTo>
                    <a:pt x="18949" y="114353"/>
                  </a:lnTo>
                  <a:cubicBezTo>
                    <a:pt x="6376" y="114453"/>
                    <a:pt x="-3995" y="104249"/>
                    <a:pt x="-4102" y="91676"/>
                  </a:cubicBezTo>
                  <a:lnTo>
                    <a:pt x="-4665" y="21222"/>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9" name="Freeform: Shape 188">
              <a:extLst>
                <a:ext uri="{FF2B5EF4-FFF2-40B4-BE49-F238E27FC236}">
                  <a16:creationId xmlns:a16="http://schemas.microsoft.com/office/drawing/2014/main" id="{F97E876D-889A-6B17-6922-B8E34D858BF1}"/>
                </a:ext>
              </a:extLst>
            </p:cNvPr>
            <p:cNvSpPr/>
            <p:nvPr/>
          </p:nvSpPr>
          <p:spPr>
            <a:xfrm flipV="1">
              <a:off x="5327906" y="5037803"/>
              <a:ext cx="110004" cy="78026"/>
            </a:xfrm>
            <a:custGeom>
              <a:avLst/>
              <a:gdLst>
                <a:gd name="connsiteX0" fmla="*/ -4420 w 165142"/>
                <a:gd name="connsiteY0" fmla="*/ 21227 h 117136"/>
                <a:gd name="connsiteX1" fmla="*/ 18258 w 165142"/>
                <a:gd name="connsiteY1" fmla="*/ -1824 h 117136"/>
                <a:gd name="connsiteX2" fmla="*/ 137107 w 165142"/>
                <a:gd name="connsiteY2" fmla="*/ -2776 h 117136"/>
                <a:gd name="connsiteX3" fmla="*/ 160157 w 165142"/>
                <a:gd name="connsiteY3" fmla="*/ 19901 h 117136"/>
                <a:gd name="connsiteX4" fmla="*/ 160721 w 165142"/>
                <a:gd name="connsiteY4" fmla="*/ 90355 h 117136"/>
                <a:gd name="connsiteX5" fmla="*/ 138052 w 165142"/>
                <a:gd name="connsiteY5" fmla="*/ 113398 h 117136"/>
                <a:gd name="connsiteX6" fmla="*/ 19187 w 165142"/>
                <a:gd name="connsiteY6" fmla="*/ 114358 h 117136"/>
                <a:gd name="connsiteX7" fmla="*/ -3856 w 165142"/>
                <a:gd name="connsiteY7" fmla="*/ 91674 h 117136"/>
                <a:gd name="connsiteX8" fmla="*/ -4420 w 165142"/>
                <a:gd name="connsiteY8" fmla="*/ 21227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36">
                  <a:moveTo>
                    <a:pt x="-4420" y="21227"/>
                  </a:moveTo>
                  <a:cubicBezTo>
                    <a:pt x="-4519" y="8654"/>
                    <a:pt x="5677" y="-1717"/>
                    <a:pt x="18258" y="-1824"/>
                  </a:cubicBezTo>
                  <a:lnTo>
                    <a:pt x="137107" y="-2776"/>
                  </a:lnTo>
                  <a:cubicBezTo>
                    <a:pt x="149687" y="-2875"/>
                    <a:pt x="160050" y="7328"/>
                    <a:pt x="160157" y="19901"/>
                  </a:cubicBezTo>
                  <a:lnTo>
                    <a:pt x="160721" y="90355"/>
                  </a:lnTo>
                  <a:cubicBezTo>
                    <a:pt x="160828" y="102928"/>
                    <a:pt x="150625" y="113291"/>
                    <a:pt x="138052" y="113398"/>
                  </a:cubicBezTo>
                  <a:lnTo>
                    <a:pt x="19187" y="114358"/>
                  </a:lnTo>
                  <a:cubicBezTo>
                    <a:pt x="6614" y="114457"/>
                    <a:pt x="-3757" y="104247"/>
                    <a:pt x="-3856" y="91674"/>
                  </a:cubicBezTo>
                  <a:lnTo>
                    <a:pt x="-4420" y="21227"/>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0" name="Freeform: Shape 189">
              <a:extLst>
                <a:ext uri="{FF2B5EF4-FFF2-40B4-BE49-F238E27FC236}">
                  <a16:creationId xmlns:a16="http://schemas.microsoft.com/office/drawing/2014/main" id="{CE88CEF5-BAEC-3A70-93FD-5F0C0A00CAED}"/>
                </a:ext>
              </a:extLst>
            </p:cNvPr>
            <p:cNvSpPr/>
            <p:nvPr/>
          </p:nvSpPr>
          <p:spPr>
            <a:xfrm flipV="1">
              <a:off x="5184022" y="5036646"/>
              <a:ext cx="109999" cy="78026"/>
            </a:xfrm>
            <a:custGeom>
              <a:avLst/>
              <a:gdLst>
                <a:gd name="connsiteX0" fmla="*/ -4174 w 165135"/>
                <a:gd name="connsiteY0" fmla="*/ 21224 h 117136"/>
                <a:gd name="connsiteX1" fmla="*/ 18496 w 165135"/>
                <a:gd name="connsiteY1" fmla="*/ -1819 h 117136"/>
                <a:gd name="connsiteX2" fmla="*/ 137360 w 165135"/>
                <a:gd name="connsiteY2" fmla="*/ -2779 h 117136"/>
                <a:gd name="connsiteX3" fmla="*/ 160396 w 165135"/>
                <a:gd name="connsiteY3" fmla="*/ 19898 h 117136"/>
                <a:gd name="connsiteX4" fmla="*/ 160960 w 165135"/>
                <a:gd name="connsiteY4" fmla="*/ 90353 h 117136"/>
                <a:gd name="connsiteX5" fmla="*/ 138290 w 165135"/>
                <a:gd name="connsiteY5" fmla="*/ 113396 h 117136"/>
                <a:gd name="connsiteX6" fmla="*/ 19433 w 165135"/>
                <a:gd name="connsiteY6" fmla="*/ 114356 h 117136"/>
                <a:gd name="connsiteX7" fmla="*/ -3610 w 165135"/>
                <a:gd name="connsiteY7" fmla="*/ 91679 h 117136"/>
                <a:gd name="connsiteX8" fmla="*/ -4174 w 165135"/>
                <a:gd name="connsiteY8" fmla="*/ 21224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35" h="117136">
                  <a:moveTo>
                    <a:pt x="-4174" y="21224"/>
                  </a:moveTo>
                  <a:cubicBezTo>
                    <a:pt x="-4280" y="8651"/>
                    <a:pt x="5931" y="-1720"/>
                    <a:pt x="18496" y="-1819"/>
                  </a:cubicBezTo>
                  <a:lnTo>
                    <a:pt x="137360" y="-2779"/>
                  </a:lnTo>
                  <a:cubicBezTo>
                    <a:pt x="149926" y="-2878"/>
                    <a:pt x="160304" y="7325"/>
                    <a:pt x="160396" y="19898"/>
                  </a:cubicBezTo>
                  <a:lnTo>
                    <a:pt x="160960" y="90353"/>
                  </a:lnTo>
                  <a:cubicBezTo>
                    <a:pt x="161066" y="102926"/>
                    <a:pt x="150863" y="113296"/>
                    <a:pt x="138290" y="113396"/>
                  </a:cubicBezTo>
                  <a:lnTo>
                    <a:pt x="19433" y="114356"/>
                  </a:lnTo>
                  <a:cubicBezTo>
                    <a:pt x="6860" y="114455"/>
                    <a:pt x="-3511" y="104252"/>
                    <a:pt x="-3610" y="91679"/>
                  </a:cubicBezTo>
                  <a:lnTo>
                    <a:pt x="-4174" y="21224"/>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1" name="Freeform: Shape 190">
              <a:extLst>
                <a:ext uri="{FF2B5EF4-FFF2-40B4-BE49-F238E27FC236}">
                  <a16:creationId xmlns:a16="http://schemas.microsoft.com/office/drawing/2014/main" id="{3E1FD47B-DFDF-2A32-A8EA-2B2B3FC808A2}"/>
                </a:ext>
              </a:extLst>
            </p:cNvPr>
            <p:cNvSpPr/>
            <p:nvPr/>
          </p:nvSpPr>
          <p:spPr>
            <a:xfrm flipV="1">
              <a:off x="5040133" y="5035488"/>
              <a:ext cx="110008" cy="78026"/>
            </a:xfrm>
            <a:custGeom>
              <a:avLst/>
              <a:gdLst>
                <a:gd name="connsiteX0" fmla="*/ -3928 w 165149"/>
                <a:gd name="connsiteY0" fmla="*/ 21221 h 117136"/>
                <a:gd name="connsiteX1" fmla="*/ 18749 w 165149"/>
                <a:gd name="connsiteY1" fmla="*/ -1822 h 117136"/>
                <a:gd name="connsiteX2" fmla="*/ 137606 w 165149"/>
                <a:gd name="connsiteY2" fmla="*/ -2782 h 117136"/>
                <a:gd name="connsiteX3" fmla="*/ 160656 w 165149"/>
                <a:gd name="connsiteY3" fmla="*/ 19903 h 117136"/>
                <a:gd name="connsiteX4" fmla="*/ 161220 w 165149"/>
                <a:gd name="connsiteY4" fmla="*/ 90350 h 117136"/>
                <a:gd name="connsiteX5" fmla="*/ 138543 w 165149"/>
                <a:gd name="connsiteY5" fmla="*/ 113393 h 117136"/>
                <a:gd name="connsiteX6" fmla="*/ 19686 w 165149"/>
                <a:gd name="connsiteY6" fmla="*/ 114353 h 117136"/>
                <a:gd name="connsiteX7" fmla="*/ -3364 w 165149"/>
                <a:gd name="connsiteY7" fmla="*/ 91676 h 117136"/>
                <a:gd name="connsiteX8" fmla="*/ -3928 w 165149"/>
                <a:gd name="connsiteY8" fmla="*/ 21221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36">
                  <a:moveTo>
                    <a:pt x="-3928" y="21221"/>
                  </a:moveTo>
                  <a:cubicBezTo>
                    <a:pt x="-4027" y="8648"/>
                    <a:pt x="6176" y="-1715"/>
                    <a:pt x="18749" y="-1822"/>
                  </a:cubicBezTo>
                  <a:lnTo>
                    <a:pt x="137606" y="-2782"/>
                  </a:lnTo>
                  <a:cubicBezTo>
                    <a:pt x="150179" y="-2881"/>
                    <a:pt x="160550" y="7330"/>
                    <a:pt x="160656" y="19903"/>
                  </a:cubicBezTo>
                  <a:lnTo>
                    <a:pt x="161220" y="90350"/>
                  </a:lnTo>
                  <a:cubicBezTo>
                    <a:pt x="161312" y="102923"/>
                    <a:pt x="151116" y="113294"/>
                    <a:pt x="138543" y="113393"/>
                  </a:cubicBezTo>
                  <a:lnTo>
                    <a:pt x="19686" y="114353"/>
                  </a:lnTo>
                  <a:cubicBezTo>
                    <a:pt x="7113" y="114452"/>
                    <a:pt x="-3257" y="104249"/>
                    <a:pt x="-3364" y="91676"/>
                  </a:cubicBezTo>
                  <a:lnTo>
                    <a:pt x="-3928" y="21221"/>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2" name="Freeform: Shape 191">
              <a:extLst>
                <a:ext uri="{FF2B5EF4-FFF2-40B4-BE49-F238E27FC236}">
                  <a16:creationId xmlns:a16="http://schemas.microsoft.com/office/drawing/2014/main" id="{B7242F38-C0AE-7AFC-AB14-DBD32C7360E4}"/>
                </a:ext>
              </a:extLst>
            </p:cNvPr>
            <p:cNvSpPr/>
            <p:nvPr/>
          </p:nvSpPr>
          <p:spPr>
            <a:xfrm flipV="1">
              <a:off x="4896249" y="5034331"/>
              <a:ext cx="110003" cy="78021"/>
            </a:xfrm>
            <a:custGeom>
              <a:avLst/>
              <a:gdLst>
                <a:gd name="connsiteX0" fmla="*/ -3683 w 165141"/>
                <a:gd name="connsiteY0" fmla="*/ 21211 h 117128"/>
                <a:gd name="connsiteX1" fmla="*/ 18994 w 165141"/>
                <a:gd name="connsiteY1" fmla="*/ -1824 h 117128"/>
                <a:gd name="connsiteX2" fmla="*/ 137844 w 165141"/>
                <a:gd name="connsiteY2" fmla="*/ -2784 h 117128"/>
                <a:gd name="connsiteX3" fmla="*/ 160894 w 165141"/>
                <a:gd name="connsiteY3" fmla="*/ 19893 h 117128"/>
                <a:gd name="connsiteX4" fmla="*/ 161458 w 165141"/>
                <a:gd name="connsiteY4" fmla="*/ 90348 h 117128"/>
                <a:gd name="connsiteX5" fmla="*/ 138788 w 165141"/>
                <a:gd name="connsiteY5" fmla="*/ 113391 h 117128"/>
                <a:gd name="connsiteX6" fmla="*/ 19924 w 165141"/>
                <a:gd name="connsiteY6" fmla="*/ 114343 h 117128"/>
                <a:gd name="connsiteX7" fmla="*/ -3119 w 165141"/>
                <a:gd name="connsiteY7" fmla="*/ 91674 h 117128"/>
                <a:gd name="connsiteX8" fmla="*/ -3683 w 165141"/>
                <a:gd name="connsiteY8" fmla="*/ 21211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1" h="117128">
                  <a:moveTo>
                    <a:pt x="-3683" y="21211"/>
                  </a:moveTo>
                  <a:cubicBezTo>
                    <a:pt x="-3782" y="8646"/>
                    <a:pt x="6414" y="-1725"/>
                    <a:pt x="18994" y="-1824"/>
                  </a:cubicBezTo>
                  <a:lnTo>
                    <a:pt x="137844" y="-2784"/>
                  </a:lnTo>
                  <a:cubicBezTo>
                    <a:pt x="150424" y="-2883"/>
                    <a:pt x="160787" y="7320"/>
                    <a:pt x="160894" y="19893"/>
                  </a:cubicBezTo>
                  <a:lnTo>
                    <a:pt x="161458" y="90348"/>
                  </a:lnTo>
                  <a:cubicBezTo>
                    <a:pt x="161565" y="102921"/>
                    <a:pt x="151361" y="113284"/>
                    <a:pt x="138788" y="113391"/>
                  </a:cubicBezTo>
                  <a:lnTo>
                    <a:pt x="19924" y="114343"/>
                  </a:lnTo>
                  <a:cubicBezTo>
                    <a:pt x="7351" y="114442"/>
                    <a:pt x="-3020" y="104239"/>
                    <a:pt x="-3119" y="91674"/>
                  </a:cubicBezTo>
                  <a:lnTo>
                    <a:pt x="-3683" y="21211"/>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3" name="Freeform: Shape 192">
              <a:extLst>
                <a:ext uri="{FF2B5EF4-FFF2-40B4-BE49-F238E27FC236}">
                  <a16:creationId xmlns:a16="http://schemas.microsoft.com/office/drawing/2014/main" id="{24F35209-8306-9237-12D0-E85193032F01}"/>
                </a:ext>
              </a:extLst>
            </p:cNvPr>
            <p:cNvSpPr/>
            <p:nvPr/>
          </p:nvSpPr>
          <p:spPr>
            <a:xfrm flipV="1">
              <a:off x="4752365" y="5033168"/>
              <a:ext cx="109999" cy="78026"/>
            </a:xfrm>
            <a:custGeom>
              <a:avLst/>
              <a:gdLst>
                <a:gd name="connsiteX0" fmla="*/ -3437 w 165134"/>
                <a:gd name="connsiteY0" fmla="*/ 21216 h 117136"/>
                <a:gd name="connsiteX1" fmla="*/ 19233 w 165134"/>
                <a:gd name="connsiteY1" fmla="*/ -1827 h 117136"/>
                <a:gd name="connsiteX2" fmla="*/ 138097 w 165134"/>
                <a:gd name="connsiteY2" fmla="*/ -2787 h 117136"/>
                <a:gd name="connsiteX3" fmla="*/ 161132 w 165134"/>
                <a:gd name="connsiteY3" fmla="*/ 19890 h 117136"/>
                <a:gd name="connsiteX4" fmla="*/ 161696 w 165134"/>
                <a:gd name="connsiteY4" fmla="*/ 90345 h 117136"/>
                <a:gd name="connsiteX5" fmla="*/ 139027 w 165134"/>
                <a:gd name="connsiteY5" fmla="*/ 113388 h 117136"/>
                <a:gd name="connsiteX6" fmla="*/ 20170 w 165134"/>
                <a:gd name="connsiteY6" fmla="*/ 114348 h 117136"/>
                <a:gd name="connsiteX7" fmla="*/ -2873 w 165134"/>
                <a:gd name="connsiteY7" fmla="*/ 91671 h 117136"/>
                <a:gd name="connsiteX8" fmla="*/ -3437 w 165134"/>
                <a:gd name="connsiteY8" fmla="*/ 21216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34" h="117136">
                  <a:moveTo>
                    <a:pt x="-3437" y="21216"/>
                  </a:moveTo>
                  <a:cubicBezTo>
                    <a:pt x="-3544" y="8643"/>
                    <a:pt x="6660" y="-1727"/>
                    <a:pt x="19233" y="-1827"/>
                  </a:cubicBezTo>
                  <a:lnTo>
                    <a:pt x="138097" y="-2787"/>
                  </a:lnTo>
                  <a:cubicBezTo>
                    <a:pt x="150662" y="-2886"/>
                    <a:pt x="161041" y="7317"/>
                    <a:pt x="161132" y="19890"/>
                  </a:cubicBezTo>
                  <a:lnTo>
                    <a:pt x="161696" y="90345"/>
                  </a:lnTo>
                  <a:cubicBezTo>
                    <a:pt x="161803" y="102918"/>
                    <a:pt x="151600" y="113281"/>
                    <a:pt x="139027" y="113388"/>
                  </a:cubicBezTo>
                  <a:lnTo>
                    <a:pt x="20170" y="114348"/>
                  </a:lnTo>
                  <a:cubicBezTo>
                    <a:pt x="7597" y="114447"/>
                    <a:pt x="-2774" y="104244"/>
                    <a:pt x="-2873" y="91671"/>
                  </a:cubicBezTo>
                  <a:lnTo>
                    <a:pt x="-3437" y="21216"/>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4" name="Freeform: Shape 193">
              <a:extLst>
                <a:ext uri="{FF2B5EF4-FFF2-40B4-BE49-F238E27FC236}">
                  <a16:creationId xmlns:a16="http://schemas.microsoft.com/office/drawing/2014/main" id="{58A9B266-9DC2-155A-5720-7E01F3999D46}"/>
                </a:ext>
              </a:extLst>
            </p:cNvPr>
            <p:cNvSpPr/>
            <p:nvPr/>
          </p:nvSpPr>
          <p:spPr>
            <a:xfrm flipV="1">
              <a:off x="4608476" y="5032011"/>
              <a:ext cx="110008" cy="78021"/>
            </a:xfrm>
            <a:custGeom>
              <a:avLst/>
              <a:gdLst>
                <a:gd name="connsiteX0" fmla="*/ -3191 w 165149"/>
                <a:gd name="connsiteY0" fmla="*/ 21206 h 117128"/>
                <a:gd name="connsiteX1" fmla="*/ 19486 w 165149"/>
                <a:gd name="connsiteY1" fmla="*/ -1837 h 117128"/>
                <a:gd name="connsiteX2" fmla="*/ 138343 w 165149"/>
                <a:gd name="connsiteY2" fmla="*/ -2789 h 117128"/>
                <a:gd name="connsiteX3" fmla="*/ 161393 w 165149"/>
                <a:gd name="connsiteY3" fmla="*/ 19880 h 117128"/>
                <a:gd name="connsiteX4" fmla="*/ 161957 w 165149"/>
                <a:gd name="connsiteY4" fmla="*/ 90335 h 117128"/>
                <a:gd name="connsiteX5" fmla="*/ 139280 w 165149"/>
                <a:gd name="connsiteY5" fmla="*/ 113378 h 117128"/>
                <a:gd name="connsiteX6" fmla="*/ 20423 w 165149"/>
                <a:gd name="connsiteY6" fmla="*/ 114338 h 117128"/>
                <a:gd name="connsiteX7" fmla="*/ -2627 w 165149"/>
                <a:gd name="connsiteY7" fmla="*/ 91661 h 117128"/>
                <a:gd name="connsiteX8" fmla="*/ -3191 w 165149"/>
                <a:gd name="connsiteY8" fmla="*/ 21206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3191" y="21206"/>
                  </a:moveTo>
                  <a:cubicBezTo>
                    <a:pt x="-3290" y="8633"/>
                    <a:pt x="6913" y="-1738"/>
                    <a:pt x="19486" y="-1837"/>
                  </a:cubicBezTo>
                  <a:lnTo>
                    <a:pt x="138343" y="-2789"/>
                  </a:lnTo>
                  <a:cubicBezTo>
                    <a:pt x="150916" y="-2896"/>
                    <a:pt x="161286" y="7307"/>
                    <a:pt x="161393" y="19880"/>
                  </a:cubicBezTo>
                  <a:lnTo>
                    <a:pt x="161957" y="90335"/>
                  </a:lnTo>
                  <a:cubicBezTo>
                    <a:pt x="162048" y="102908"/>
                    <a:pt x="151853" y="113279"/>
                    <a:pt x="139280" y="113378"/>
                  </a:cubicBezTo>
                  <a:lnTo>
                    <a:pt x="20423" y="114338"/>
                  </a:lnTo>
                  <a:cubicBezTo>
                    <a:pt x="7850" y="114437"/>
                    <a:pt x="-2521" y="104234"/>
                    <a:pt x="-2627" y="91661"/>
                  </a:cubicBezTo>
                  <a:lnTo>
                    <a:pt x="-3191" y="21206"/>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5" name="Freeform: Shape 194">
              <a:extLst>
                <a:ext uri="{FF2B5EF4-FFF2-40B4-BE49-F238E27FC236}">
                  <a16:creationId xmlns:a16="http://schemas.microsoft.com/office/drawing/2014/main" id="{4C5A9D62-CAF9-76DD-4E56-4FF035068BEF}"/>
                </a:ext>
              </a:extLst>
            </p:cNvPr>
            <p:cNvSpPr/>
            <p:nvPr/>
          </p:nvSpPr>
          <p:spPr>
            <a:xfrm flipV="1">
              <a:off x="4464592" y="5030854"/>
              <a:ext cx="110004" cy="78021"/>
            </a:xfrm>
            <a:custGeom>
              <a:avLst/>
              <a:gdLst>
                <a:gd name="connsiteX0" fmla="*/ -2946 w 165142"/>
                <a:gd name="connsiteY0" fmla="*/ 21204 h 117128"/>
                <a:gd name="connsiteX1" fmla="*/ 19732 w 165142"/>
                <a:gd name="connsiteY1" fmla="*/ -1832 h 117128"/>
                <a:gd name="connsiteX2" fmla="*/ 138588 w 165142"/>
                <a:gd name="connsiteY2" fmla="*/ -2792 h 117128"/>
                <a:gd name="connsiteX3" fmla="*/ 161631 w 165142"/>
                <a:gd name="connsiteY3" fmla="*/ 19885 h 117128"/>
                <a:gd name="connsiteX4" fmla="*/ 162195 w 165142"/>
                <a:gd name="connsiteY4" fmla="*/ 90332 h 117128"/>
                <a:gd name="connsiteX5" fmla="*/ 139526 w 165142"/>
                <a:gd name="connsiteY5" fmla="*/ 113383 h 117128"/>
                <a:gd name="connsiteX6" fmla="*/ 20661 w 165142"/>
                <a:gd name="connsiteY6" fmla="*/ 114335 h 117128"/>
                <a:gd name="connsiteX7" fmla="*/ -2382 w 165142"/>
                <a:gd name="connsiteY7" fmla="*/ 91666 h 117128"/>
                <a:gd name="connsiteX8" fmla="*/ -2946 w 165142"/>
                <a:gd name="connsiteY8" fmla="*/ 21204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2946" y="21204"/>
                  </a:moveTo>
                  <a:cubicBezTo>
                    <a:pt x="-3044" y="8638"/>
                    <a:pt x="7151" y="-1733"/>
                    <a:pt x="19732" y="-1832"/>
                  </a:cubicBezTo>
                  <a:lnTo>
                    <a:pt x="138588" y="-2792"/>
                  </a:lnTo>
                  <a:cubicBezTo>
                    <a:pt x="151161" y="-2898"/>
                    <a:pt x="161525" y="7312"/>
                    <a:pt x="161631" y="19885"/>
                  </a:cubicBezTo>
                  <a:lnTo>
                    <a:pt x="162195" y="90332"/>
                  </a:lnTo>
                  <a:cubicBezTo>
                    <a:pt x="162302" y="102905"/>
                    <a:pt x="152091" y="113276"/>
                    <a:pt x="139526" y="113383"/>
                  </a:cubicBezTo>
                  <a:lnTo>
                    <a:pt x="20661" y="114335"/>
                  </a:lnTo>
                  <a:cubicBezTo>
                    <a:pt x="8096" y="114434"/>
                    <a:pt x="-2282" y="104231"/>
                    <a:pt x="-2382" y="91666"/>
                  </a:cubicBezTo>
                  <a:lnTo>
                    <a:pt x="-2946" y="21204"/>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6" name="Freeform: Shape 195">
              <a:extLst>
                <a:ext uri="{FF2B5EF4-FFF2-40B4-BE49-F238E27FC236}">
                  <a16:creationId xmlns:a16="http://schemas.microsoft.com/office/drawing/2014/main" id="{9AEB17A7-E6DF-CA63-D5DE-BE33172859C9}"/>
                </a:ext>
              </a:extLst>
            </p:cNvPr>
            <p:cNvSpPr/>
            <p:nvPr/>
          </p:nvSpPr>
          <p:spPr>
            <a:xfrm flipV="1">
              <a:off x="4320708" y="5029697"/>
              <a:ext cx="109999" cy="78021"/>
            </a:xfrm>
            <a:custGeom>
              <a:avLst/>
              <a:gdLst>
                <a:gd name="connsiteX0" fmla="*/ -2700 w 165134"/>
                <a:gd name="connsiteY0" fmla="*/ 21209 h 117128"/>
                <a:gd name="connsiteX1" fmla="*/ 19970 w 165134"/>
                <a:gd name="connsiteY1" fmla="*/ -1834 h 117128"/>
                <a:gd name="connsiteX2" fmla="*/ 138834 w 165134"/>
                <a:gd name="connsiteY2" fmla="*/ -2794 h 117128"/>
                <a:gd name="connsiteX3" fmla="*/ 161869 w 165134"/>
                <a:gd name="connsiteY3" fmla="*/ 19883 h 117128"/>
                <a:gd name="connsiteX4" fmla="*/ 162433 w 165134"/>
                <a:gd name="connsiteY4" fmla="*/ 90337 h 117128"/>
                <a:gd name="connsiteX5" fmla="*/ 139764 w 165134"/>
                <a:gd name="connsiteY5" fmla="*/ 113380 h 117128"/>
                <a:gd name="connsiteX6" fmla="*/ 20907 w 165134"/>
                <a:gd name="connsiteY6" fmla="*/ 114333 h 117128"/>
                <a:gd name="connsiteX7" fmla="*/ -2136 w 165134"/>
                <a:gd name="connsiteY7" fmla="*/ 91663 h 117128"/>
                <a:gd name="connsiteX8" fmla="*/ -2700 w 165134"/>
                <a:gd name="connsiteY8" fmla="*/ 21209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34" h="117128">
                  <a:moveTo>
                    <a:pt x="-2700" y="21209"/>
                  </a:moveTo>
                  <a:cubicBezTo>
                    <a:pt x="-2806" y="8636"/>
                    <a:pt x="7397" y="-1735"/>
                    <a:pt x="19970" y="-1834"/>
                  </a:cubicBezTo>
                  <a:lnTo>
                    <a:pt x="138834" y="-2794"/>
                  </a:lnTo>
                  <a:cubicBezTo>
                    <a:pt x="151400" y="-2894"/>
                    <a:pt x="161778" y="7310"/>
                    <a:pt x="161869" y="19883"/>
                  </a:cubicBezTo>
                  <a:lnTo>
                    <a:pt x="162433" y="90337"/>
                  </a:lnTo>
                  <a:cubicBezTo>
                    <a:pt x="162540" y="102910"/>
                    <a:pt x="152337" y="113281"/>
                    <a:pt x="139764" y="113380"/>
                  </a:cubicBezTo>
                  <a:lnTo>
                    <a:pt x="20907" y="114333"/>
                  </a:lnTo>
                  <a:cubicBezTo>
                    <a:pt x="8334" y="114439"/>
                    <a:pt x="-2037" y="104236"/>
                    <a:pt x="-2136" y="91663"/>
                  </a:cubicBezTo>
                  <a:lnTo>
                    <a:pt x="-2700" y="21209"/>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7" name="Freeform: Shape 196">
              <a:extLst>
                <a:ext uri="{FF2B5EF4-FFF2-40B4-BE49-F238E27FC236}">
                  <a16:creationId xmlns:a16="http://schemas.microsoft.com/office/drawing/2014/main" id="{41BEFDED-35B1-49AA-0050-9B7E2FE2FC23}"/>
                </a:ext>
              </a:extLst>
            </p:cNvPr>
            <p:cNvSpPr/>
            <p:nvPr/>
          </p:nvSpPr>
          <p:spPr>
            <a:xfrm flipV="1">
              <a:off x="5757999" y="5336667"/>
              <a:ext cx="110004" cy="78021"/>
            </a:xfrm>
            <a:custGeom>
              <a:avLst/>
              <a:gdLst>
                <a:gd name="connsiteX0" fmla="*/ -5154 w 165142"/>
                <a:gd name="connsiteY0" fmla="*/ 21886 h 117128"/>
                <a:gd name="connsiteX1" fmla="*/ 17523 w 165142"/>
                <a:gd name="connsiteY1" fmla="*/ -1149 h 117128"/>
                <a:gd name="connsiteX2" fmla="*/ 136380 w 165142"/>
                <a:gd name="connsiteY2" fmla="*/ -2109 h 117128"/>
                <a:gd name="connsiteX3" fmla="*/ 159423 w 165142"/>
                <a:gd name="connsiteY3" fmla="*/ 20568 h 117128"/>
                <a:gd name="connsiteX4" fmla="*/ 159987 w 165142"/>
                <a:gd name="connsiteY4" fmla="*/ 91015 h 117128"/>
                <a:gd name="connsiteX5" fmla="*/ 137317 w 165142"/>
                <a:gd name="connsiteY5" fmla="*/ 114065 h 117128"/>
                <a:gd name="connsiteX6" fmla="*/ 18453 w 165142"/>
                <a:gd name="connsiteY6" fmla="*/ 115018 h 117128"/>
                <a:gd name="connsiteX7" fmla="*/ -4582 w 165142"/>
                <a:gd name="connsiteY7" fmla="*/ 92348 h 117128"/>
                <a:gd name="connsiteX8" fmla="*/ -5154 w 165142"/>
                <a:gd name="connsiteY8" fmla="*/ 21886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5154" y="21886"/>
                  </a:moveTo>
                  <a:cubicBezTo>
                    <a:pt x="-5253" y="9321"/>
                    <a:pt x="4950" y="-1050"/>
                    <a:pt x="17523" y="-1149"/>
                  </a:cubicBezTo>
                  <a:lnTo>
                    <a:pt x="136380" y="-2109"/>
                  </a:lnTo>
                  <a:cubicBezTo>
                    <a:pt x="148953" y="-2208"/>
                    <a:pt x="159324" y="7995"/>
                    <a:pt x="159423" y="20568"/>
                  </a:cubicBezTo>
                  <a:lnTo>
                    <a:pt x="159987" y="91015"/>
                  </a:lnTo>
                  <a:cubicBezTo>
                    <a:pt x="160094" y="103596"/>
                    <a:pt x="149883" y="113959"/>
                    <a:pt x="137317" y="114065"/>
                  </a:cubicBezTo>
                  <a:lnTo>
                    <a:pt x="18453" y="115018"/>
                  </a:lnTo>
                  <a:cubicBezTo>
                    <a:pt x="5888" y="115117"/>
                    <a:pt x="-4483" y="104921"/>
                    <a:pt x="-4582" y="92348"/>
                  </a:cubicBezTo>
                  <a:lnTo>
                    <a:pt x="-5154" y="21886"/>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8" name="Freeform: Shape 197">
              <a:extLst>
                <a:ext uri="{FF2B5EF4-FFF2-40B4-BE49-F238E27FC236}">
                  <a16:creationId xmlns:a16="http://schemas.microsoft.com/office/drawing/2014/main" id="{1BDCA01F-E701-56A1-AB54-01B3EBAC98E5}"/>
                </a:ext>
              </a:extLst>
            </p:cNvPr>
            <p:cNvSpPr/>
            <p:nvPr/>
          </p:nvSpPr>
          <p:spPr>
            <a:xfrm flipV="1">
              <a:off x="5614115" y="5335504"/>
              <a:ext cx="110004" cy="78026"/>
            </a:xfrm>
            <a:custGeom>
              <a:avLst/>
              <a:gdLst>
                <a:gd name="connsiteX0" fmla="*/ -4908 w 165142"/>
                <a:gd name="connsiteY0" fmla="*/ 21891 h 117136"/>
                <a:gd name="connsiteX1" fmla="*/ 17761 w 165142"/>
                <a:gd name="connsiteY1" fmla="*/ -1152 h 117136"/>
                <a:gd name="connsiteX2" fmla="*/ 136618 w 165142"/>
                <a:gd name="connsiteY2" fmla="*/ -2112 h 117136"/>
                <a:gd name="connsiteX3" fmla="*/ 159669 w 165142"/>
                <a:gd name="connsiteY3" fmla="*/ 20565 h 117136"/>
                <a:gd name="connsiteX4" fmla="*/ 160232 w 165142"/>
                <a:gd name="connsiteY4" fmla="*/ 91020 h 117136"/>
                <a:gd name="connsiteX5" fmla="*/ 137555 w 165142"/>
                <a:gd name="connsiteY5" fmla="*/ 114063 h 117136"/>
                <a:gd name="connsiteX6" fmla="*/ 18699 w 165142"/>
                <a:gd name="connsiteY6" fmla="*/ 115023 h 117136"/>
                <a:gd name="connsiteX7" fmla="*/ -4344 w 165142"/>
                <a:gd name="connsiteY7" fmla="*/ 92346 h 117136"/>
                <a:gd name="connsiteX8" fmla="*/ -4908 w 165142"/>
                <a:gd name="connsiteY8" fmla="*/ 21891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36">
                  <a:moveTo>
                    <a:pt x="-4908" y="21891"/>
                  </a:moveTo>
                  <a:cubicBezTo>
                    <a:pt x="-5015" y="9318"/>
                    <a:pt x="5188" y="-1053"/>
                    <a:pt x="17761" y="-1152"/>
                  </a:cubicBezTo>
                  <a:lnTo>
                    <a:pt x="136618" y="-2112"/>
                  </a:lnTo>
                  <a:cubicBezTo>
                    <a:pt x="149199" y="-2211"/>
                    <a:pt x="159562" y="7992"/>
                    <a:pt x="159669" y="20565"/>
                  </a:cubicBezTo>
                  <a:lnTo>
                    <a:pt x="160232" y="91020"/>
                  </a:lnTo>
                  <a:cubicBezTo>
                    <a:pt x="160339" y="103593"/>
                    <a:pt x="150136" y="113964"/>
                    <a:pt x="137555" y="114063"/>
                  </a:cubicBezTo>
                  <a:lnTo>
                    <a:pt x="18699" y="115023"/>
                  </a:lnTo>
                  <a:cubicBezTo>
                    <a:pt x="6126" y="115122"/>
                    <a:pt x="-4238" y="104911"/>
                    <a:pt x="-4344" y="92346"/>
                  </a:cubicBezTo>
                  <a:lnTo>
                    <a:pt x="-4908" y="21891"/>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9" name="Freeform: Shape 198">
              <a:extLst>
                <a:ext uri="{FF2B5EF4-FFF2-40B4-BE49-F238E27FC236}">
                  <a16:creationId xmlns:a16="http://schemas.microsoft.com/office/drawing/2014/main" id="{62649EA5-F6A4-25C3-0F64-7CF3D1A05FF2}"/>
                </a:ext>
              </a:extLst>
            </p:cNvPr>
            <p:cNvSpPr/>
            <p:nvPr/>
          </p:nvSpPr>
          <p:spPr>
            <a:xfrm flipV="1">
              <a:off x="5470227" y="5334346"/>
              <a:ext cx="110008" cy="78021"/>
            </a:xfrm>
            <a:custGeom>
              <a:avLst/>
              <a:gdLst>
                <a:gd name="connsiteX0" fmla="*/ -4663 w 165149"/>
                <a:gd name="connsiteY0" fmla="*/ 21881 h 117128"/>
                <a:gd name="connsiteX1" fmla="*/ 18014 w 165149"/>
                <a:gd name="connsiteY1" fmla="*/ -1162 h 117128"/>
                <a:gd name="connsiteX2" fmla="*/ 136879 w 165149"/>
                <a:gd name="connsiteY2" fmla="*/ -2114 h 117128"/>
                <a:gd name="connsiteX3" fmla="*/ 159914 w 165149"/>
                <a:gd name="connsiteY3" fmla="*/ 20555 h 117128"/>
                <a:gd name="connsiteX4" fmla="*/ 160486 w 165149"/>
                <a:gd name="connsiteY4" fmla="*/ 91010 h 117128"/>
                <a:gd name="connsiteX5" fmla="*/ 137816 w 165149"/>
                <a:gd name="connsiteY5" fmla="*/ 114053 h 117128"/>
                <a:gd name="connsiteX6" fmla="*/ 18952 w 165149"/>
                <a:gd name="connsiteY6" fmla="*/ 115013 h 117128"/>
                <a:gd name="connsiteX7" fmla="*/ -4099 w 165149"/>
                <a:gd name="connsiteY7" fmla="*/ 92336 h 117128"/>
                <a:gd name="connsiteX8" fmla="*/ -4663 w 165149"/>
                <a:gd name="connsiteY8" fmla="*/ 21881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4663" y="21881"/>
                  </a:moveTo>
                  <a:cubicBezTo>
                    <a:pt x="-4762" y="9308"/>
                    <a:pt x="5441" y="-1063"/>
                    <a:pt x="18014" y="-1162"/>
                  </a:cubicBezTo>
                  <a:lnTo>
                    <a:pt x="136879" y="-2114"/>
                  </a:lnTo>
                  <a:cubicBezTo>
                    <a:pt x="149444" y="-2213"/>
                    <a:pt x="159815" y="7982"/>
                    <a:pt x="159914" y="20555"/>
                  </a:cubicBezTo>
                  <a:lnTo>
                    <a:pt x="160486" y="91010"/>
                  </a:lnTo>
                  <a:cubicBezTo>
                    <a:pt x="160585" y="103583"/>
                    <a:pt x="150381" y="113953"/>
                    <a:pt x="137816" y="114053"/>
                  </a:cubicBezTo>
                  <a:lnTo>
                    <a:pt x="18952" y="115013"/>
                  </a:lnTo>
                  <a:cubicBezTo>
                    <a:pt x="6379" y="115112"/>
                    <a:pt x="-3992" y="104909"/>
                    <a:pt x="-4099" y="92336"/>
                  </a:cubicBezTo>
                  <a:lnTo>
                    <a:pt x="-4663" y="21881"/>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0" name="Freeform: Shape 199">
              <a:extLst>
                <a:ext uri="{FF2B5EF4-FFF2-40B4-BE49-F238E27FC236}">
                  <a16:creationId xmlns:a16="http://schemas.microsoft.com/office/drawing/2014/main" id="{747225A1-85D9-A74F-AFC2-AEBFFCAB77E3}"/>
                </a:ext>
              </a:extLst>
            </p:cNvPr>
            <p:cNvSpPr/>
            <p:nvPr/>
          </p:nvSpPr>
          <p:spPr>
            <a:xfrm flipV="1">
              <a:off x="5326342" y="5333189"/>
              <a:ext cx="110008" cy="78021"/>
            </a:xfrm>
            <a:custGeom>
              <a:avLst/>
              <a:gdLst>
                <a:gd name="connsiteX0" fmla="*/ -4417 w 165149"/>
                <a:gd name="connsiteY0" fmla="*/ 21886 h 117128"/>
                <a:gd name="connsiteX1" fmla="*/ 18260 w 165149"/>
                <a:gd name="connsiteY1" fmla="*/ -1157 h 117128"/>
                <a:gd name="connsiteX2" fmla="*/ 137117 w 165149"/>
                <a:gd name="connsiteY2" fmla="*/ -2117 h 117128"/>
                <a:gd name="connsiteX3" fmla="*/ 160160 w 165149"/>
                <a:gd name="connsiteY3" fmla="*/ 20560 h 117128"/>
                <a:gd name="connsiteX4" fmla="*/ 160731 w 165149"/>
                <a:gd name="connsiteY4" fmla="*/ 91007 h 117128"/>
                <a:gd name="connsiteX5" fmla="*/ 138054 w 165149"/>
                <a:gd name="connsiteY5" fmla="*/ 114050 h 117128"/>
                <a:gd name="connsiteX6" fmla="*/ 19190 w 165149"/>
                <a:gd name="connsiteY6" fmla="*/ 115010 h 117128"/>
                <a:gd name="connsiteX7" fmla="*/ -3845 w 165149"/>
                <a:gd name="connsiteY7" fmla="*/ 92333 h 117128"/>
                <a:gd name="connsiteX8" fmla="*/ -4417 w 165149"/>
                <a:gd name="connsiteY8" fmla="*/ 21886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4417" y="21886"/>
                  </a:moveTo>
                  <a:cubicBezTo>
                    <a:pt x="-4516" y="9313"/>
                    <a:pt x="5687" y="-1058"/>
                    <a:pt x="18260" y="-1157"/>
                  </a:cubicBezTo>
                  <a:lnTo>
                    <a:pt x="137117" y="-2117"/>
                  </a:lnTo>
                  <a:cubicBezTo>
                    <a:pt x="149690" y="-2216"/>
                    <a:pt x="160053" y="7987"/>
                    <a:pt x="160160" y="20560"/>
                  </a:cubicBezTo>
                  <a:lnTo>
                    <a:pt x="160731" y="91007"/>
                  </a:lnTo>
                  <a:cubicBezTo>
                    <a:pt x="160830" y="103580"/>
                    <a:pt x="150620" y="113951"/>
                    <a:pt x="138054" y="114050"/>
                  </a:cubicBezTo>
                  <a:lnTo>
                    <a:pt x="19190" y="115010"/>
                  </a:lnTo>
                  <a:cubicBezTo>
                    <a:pt x="6625" y="115109"/>
                    <a:pt x="-3746" y="104906"/>
                    <a:pt x="-3845" y="92333"/>
                  </a:cubicBezTo>
                  <a:lnTo>
                    <a:pt x="-4417" y="21886"/>
                  </a:lnTo>
                </a:path>
              </a:pathLst>
            </a:custGeom>
            <a:solidFill>
              <a:srgbClr val="989697"/>
            </a:solidFill>
            <a:ln w="762"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1" name="Freeform: Shape 200">
              <a:extLst>
                <a:ext uri="{FF2B5EF4-FFF2-40B4-BE49-F238E27FC236}">
                  <a16:creationId xmlns:a16="http://schemas.microsoft.com/office/drawing/2014/main" id="{8D957F6A-AD8B-CDDE-5EC6-A16A6946CAEA}"/>
                </a:ext>
              </a:extLst>
            </p:cNvPr>
            <p:cNvSpPr/>
            <p:nvPr/>
          </p:nvSpPr>
          <p:spPr>
            <a:xfrm flipV="1">
              <a:off x="5182458" y="5332032"/>
              <a:ext cx="110004" cy="78021"/>
            </a:xfrm>
            <a:custGeom>
              <a:avLst/>
              <a:gdLst>
                <a:gd name="connsiteX0" fmla="*/ -4171 w 165142"/>
                <a:gd name="connsiteY0" fmla="*/ 21884 h 117128"/>
                <a:gd name="connsiteX1" fmla="*/ 18506 w 165142"/>
                <a:gd name="connsiteY1" fmla="*/ -1159 h 117128"/>
                <a:gd name="connsiteX2" fmla="*/ 137355 w 165142"/>
                <a:gd name="connsiteY2" fmla="*/ -2119 h 117128"/>
                <a:gd name="connsiteX3" fmla="*/ 160406 w 165142"/>
                <a:gd name="connsiteY3" fmla="*/ 20558 h 117128"/>
                <a:gd name="connsiteX4" fmla="*/ 160969 w 165142"/>
                <a:gd name="connsiteY4" fmla="*/ 91012 h 117128"/>
                <a:gd name="connsiteX5" fmla="*/ 138292 w 165142"/>
                <a:gd name="connsiteY5" fmla="*/ 114055 h 117128"/>
                <a:gd name="connsiteX6" fmla="*/ 19443 w 165142"/>
                <a:gd name="connsiteY6" fmla="*/ 115008 h 117128"/>
                <a:gd name="connsiteX7" fmla="*/ -3607 w 165142"/>
                <a:gd name="connsiteY7" fmla="*/ 92338 h 117128"/>
                <a:gd name="connsiteX8" fmla="*/ -4171 w 165142"/>
                <a:gd name="connsiteY8" fmla="*/ 21884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4171" y="21884"/>
                  </a:moveTo>
                  <a:cubicBezTo>
                    <a:pt x="-4278" y="9311"/>
                    <a:pt x="5925" y="-1060"/>
                    <a:pt x="18506" y="-1159"/>
                  </a:cubicBezTo>
                  <a:lnTo>
                    <a:pt x="137355" y="-2119"/>
                  </a:lnTo>
                  <a:cubicBezTo>
                    <a:pt x="149936" y="-2218"/>
                    <a:pt x="160299" y="7985"/>
                    <a:pt x="160406" y="20558"/>
                  </a:cubicBezTo>
                  <a:lnTo>
                    <a:pt x="160969" y="91012"/>
                  </a:lnTo>
                  <a:cubicBezTo>
                    <a:pt x="161076" y="103585"/>
                    <a:pt x="150873" y="113956"/>
                    <a:pt x="138292" y="114055"/>
                  </a:cubicBezTo>
                  <a:lnTo>
                    <a:pt x="19443" y="115008"/>
                  </a:lnTo>
                  <a:cubicBezTo>
                    <a:pt x="6863" y="115107"/>
                    <a:pt x="-3501" y="104911"/>
                    <a:pt x="-3607" y="92338"/>
                  </a:cubicBezTo>
                  <a:lnTo>
                    <a:pt x="-4171" y="21884"/>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2" name="Freeform: Shape 201">
              <a:extLst>
                <a:ext uri="{FF2B5EF4-FFF2-40B4-BE49-F238E27FC236}">
                  <a16:creationId xmlns:a16="http://schemas.microsoft.com/office/drawing/2014/main" id="{8A2BCCB3-DC59-98B3-D171-630A0DE8BAD9}"/>
                </a:ext>
              </a:extLst>
            </p:cNvPr>
            <p:cNvSpPr/>
            <p:nvPr/>
          </p:nvSpPr>
          <p:spPr>
            <a:xfrm flipV="1">
              <a:off x="5038570" y="5330870"/>
              <a:ext cx="110008" cy="78026"/>
            </a:xfrm>
            <a:custGeom>
              <a:avLst/>
              <a:gdLst>
                <a:gd name="connsiteX0" fmla="*/ -3926 w 165149"/>
                <a:gd name="connsiteY0" fmla="*/ 21881 h 117136"/>
                <a:gd name="connsiteX1" fmla="*/ 18751 w 165149"/>
                <a:gd name="connsiteY1" fmla="*/ -1162 h 117136"/>
                <a:gd name="connsiteX2" fmla="*/ 137616 w 165149"/>
                <a:gd name="connsiteY2" fmla="*/ -2122 h 117136"/>
                <a:gd name="connsiteX3" fmla="*/ 160651 w 165149"/>
                <a:gd name="connsiteY3" fmla="*/ 20555 h 117136"/>
                <a:gd name="connsiteX4" fmla="*/ 161223 w 165149"/>
                <a:gd name="connsiteY4" fmla="*/ 91010 h 117136"/>
                <a:gd name="connsiteX5" fmla="*/ 138545 w 165149"/>
                <a:gd name="connsiteY5" fmla="*/ 114053 h 117136"/>
                <a:gd name="connsiteX6" fmla="*/ 19689 w 165149"/>
                <a:gd name="connsiteY6" fmla="*/ 115013 h 117136"/>
                <a:gd name="connsiteX7" fmla="*/ -3354 w 165149"/>
                <a:gd name="connsiteY7" fmla="*/ 92336 h 117136"/>
                <a:gd name="connsiteX8" fmla="*/ -3926 w 165149"/>
                <a:gd name="connsiteY8" fmla="*/ 21881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36">
                  <a:moveTo>
                    <a:pt x="-3926" y="21881"/>
                  </a:moveTo>
                  <a:cubicBezTo>
                    <a:pt x="-4025" y="9308"/>
                    <a:pt x="6178" y="-1063"/>
                    <a:pt x="18751" y="-1162"/>
                  </a:cubicBezTo>
                  <a:lnTo>
                    <a:pt x="137616" y="-2122"/>
                  </a:lnTo>
                  <a:cubicBezTo>
                    <a:pt x="150181" y="-2221"/>
                    <a:pt x="160552" y="7982"/>
                    <a:pt x="160651" y="20555"/>
                  </a:cubicBezTo>
                  <a:lnTo>
                    <a:pt x="161223" y="91010"/>
                  </a:lnTo>
                  <a:cubicBezTo>
                    <a:pt x="161322" y="103583"/>
                    <a:pt x="151118" y="113954"/>
                    <a:pt x="138545" y="114053"/>
                  </a:cubicBezTo>
                  <a:lnTo>
                    <a:pt x="19689" y="115013"/>
                  </a:lnTo>
                  <a:cubicBezTo>
                    <a:pt x="7116" y="115112"/>
                    <a:pt x="-3255" y="104909"/>
                    <a:pt x="-3354" y="92336"/>
                  </a:cubicBezTo>
                  <a:lnTo>
                    <a:pt x="-3926" y="21881"/>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3" name="Freeform: Shape 202">
              <a:extLst>
                <a:ext uri="{FF2B5EF4-FFF2-40B4-BE49-F238E27FC236}">
                  <a16:creationId xmlns:a16="http://schemas.microsoft.com/office/drawing/2014/main" id="{E4D43E7A-205E-E26F-D59F-5D75377111C0}"/>
                </a:ext>
              </a:extLst>
            </p:cNvPr>
            <p:cNvSpPr/>
            <p:nvPr/>
          </p:nvSpPr>
          <p:spPr>
            <a:xfrm flipV="1">
              <a:off x="4894685" y="5329712"/>
              <a:ext cx="110008" cy="78021"/>
            </a:xfrm>
            <a:custGeom>
              <a:avLst/>
              <a:gdLst>
                <a:gd name="connsiteX0" fmla="*/ -3680 w 165149"/>
                <a:gd name="connsiteY0" fmla="*/ 21879 h 117128"/>
                <a:gd name="connsiteX1" fmla="*/ 18997 w 165149"/>
                <a:gd name="connsiteY1" fmla="*/ -1172 h 117128"/>
                <a:gd name="connsiteX2" fmla="*/ 137854 w 165149"/>
                <a:gd name="connsiteY2" fmla="*/ -2124 h 117128"/>
                <a:gd name="connsiteX3" fmla="*/ 160897 w 165149"/>
                <a:gd name="connsiteY3" fmla="*/ 20545 h 117128"/>
                <a:gd name="connsiteX4" fmla="*/ 161468 w 165149"/>
                <a:gd name="connsiteY4" fmla="*/ 91000 h 117128"/>
                <a:gd name="connsiteX5" fmla="*/ 138791 w 165149"/>
                <a:gd name="connsiteY5" fmla="*/ 114042 h 117128"/>
                <a:gd name="connsiteX6" fmla="*/ 19927 w 165149"/>
                <a:gd name="connsiteY6" fmla="*/ 115003 h 117128"/>
                <a:gd name="connsiteX7" fmla="*/ -3108 w 165149"/>
                <a:gd name="connsiteY7" fmla="*/ 92325 h 117128"/>
                <a:gd name="connsiteX8" fmla="*/ -3680 w 165149"/>
                <a:gd name="connsiteY8" fmla="*/ 21879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3680" y="21879"/>
                  </a:moveTo>
                  <a:cubicBezTo>
                    <a:pt x="-3779" y="9306"/>
                    <a:pt x="6424" y="-1065"/>
                    <a:pt x="18997" y="-1172"/>
                  </a:cubicBezTo>
                  <a:lnTo>
                    <a:pt x="137854" y="-2124"/>
                  </a:lnTo>
                  <a:cubicBezTo>
                    <a:pt x="150427" y="-2231"/>
                    <a:pt x="160798" y="7972"/>
                    <a:pt x="160897" y="20545"/>
                  </a:cubicBezTo>
                  <a:lnTo>
                    <a:pt x="161468" y="91000"/>
                  </a:lnTo>
                  <a:cubicBezTo>
                    <a:pt x="161567" y="103573"/>
                    <a:pt x="151357" y="113943"/>
                    <a:pt x="138791" y="114042"/>
                  </a:cubicBezTo>
                  <a:lnTo>
                    <a:pt x="19927" y="115003"/>
                  </a:lnTo>
                  <a:cubicBezTo>
                    <a:pt x="7362" y="115102"/>
                    <a:pt x="-3009" y="104898"/>
                    <a:pt x="-3108" y="92325"/>
                  </a:cubicBezTo>
                  <a:lnTo>
                    <a:pt x="-3680" y="21879"/>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4" name="Freeform: Shape 203">
              <a:extLst>
                <a:ext uri="{FF2B5EF4-FFF2-40B4-BE49-F238E27FC236}">
                  <a16:creationId xmlns:a16="http://schemas.microsoft.com/office/drawing/2014/main" id="{78157D58-93BB-FCD0-26CF-19F665B58C62}"/>
                </a:ext>
              </a:extLst>
            </p:cNvPr>
            <p:cNvSpPr/>
            <p:nvPr/>
          </p:nvSpPr>
          <p:spPr>
            <a:xfrm flipV="1">
              <a:off x="4750802" y="5328555"/>
              <a:ext cx="110004" cy="78021"/>
            </a:xfrm>
            <a:custGeom>
              <a:avLst/>
              <a:gdLst>
                <a:gd name="connsiteX0" fmla="*/ -3434 w 165142"/>
                <a:gd name="connsiteY0" fmla="*/ 21876 h 117128"/>
                <a:gd name="connsiteX1" fmla="*/ 19243 w 165142"/>
                <a:gd name="connsiteY1" fmla="*/ -1167 h 117128"/>
                <a:gd name="connsiteX2" fmla="*/ 138092 w 165142"/>
                <a:gd name="connsiteY2" fmla="*/ -2127 h 117128"/>
                <a:gd name="connsiteX3" fmla="*/ 161143 w 165142"/>
                <a:gd name="connsiteY3" fmla="*/ 20550 h 117128"/>
                <a:gd name="connsiteX4" fmla="*/ 161707 w 165142"/>
                <a:gd name="connsiteY4" fmla="*/ 91005 h 117128"/>
                <a:gd name="connsiteX5" fmla="*/ 139029 w 165142"/>
                <a:gd name="connsiteY5" fmla="*/ 114047 h 117128"/>
                <a:gd name="connsiteX6" fmla="*/ 20180 w 165142"/>
                <a:gd name="connsiteY6" fmla="*/ 115000 h 117128"/>
                <a:gd name="connsiteX7" fmla="*/ -2870 w 165142"/>
                <a:gd name="connsiteY7" fmla="*/ 92330 h 117128"/>
                <a:gd name="connsiteX8" fmla="*/ -3434 w 165142"/>
                <a:gd name="connsiteY8" fmla="*/ 21876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3434" y="21876"/>
                  </a:moveTo>
                  <a:cubicBezTo>
                    <a:pt x="-3541" y="9303"/>
                    <a:pt x="6662" y="-1068"/>
                    <a:pt x="19243" y="-1167"/>
                  </a:cubicBezTo>
                  <a:lnTo>
                    <a:pt x="138092" y="-2127"/>
                  </a:lnTo>
                  <a:cubicBezTo>
                    <a:pt x="150673" y="-2234"/>
                    <a:pt x="161036" y="7977"/>
                    <a:pt x="161143" y="20550"/>
                  </a:cubicBezTo>
                  <a:lnTo>
                    <a:pt x="161707" y="91005"/>
                  </a:lnTo>
                  <a:cubicBezTo>
                    <a:pt x="161806" y="103570"/>
                    <a:pt x="151610" y="113941"/>
                    <a:pt x="139029" y="114047"/>
                  </a:cubicBezTo>
                  <a:lnTo>
                    <a:pt x="20180" y="115000"/>
                  </a:lnTo>
                  <a:cubicBezTo>
                    <a:pt x="7600" y="115107"/>
                    <a:pt x="-2764" y="104903"/>
                    <a:pt x="-2870" y="92330"/>
                  </a:cubicBezTo>
                  <a:lnTo>
                    <a:pt x="-3434" y="21876"/>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5" name="Freeform: Shape 204">
              <a:extLst>
                <a:ext uri="{FF2B5EF4-FFF2-40B4-BE49-F238E27FC236}">
                  <a16:creationId xmlns:a16="http://schemas.microsoft.com/office/drawing/2014/main" id="{C84A5A37-C49D-5D4C-8C63-5A3711BBC004}"/>
                </a:ext>
              </a:extLst>
            </p:cNvPr>
            <p:cNvSpPr/>
            <p:nvPr/>
          </p:nvSpPr>
          <p:spPr>
            <a:xfrm flipV="1">
              <a:off x="4606913" y="5327398"/>
              <a:ext cx="110008" cy="78021"/>
            </a:xfrm>
            <a:custGeom>
              <a:avLst/>
              <a:gdLst>
                <a:gd name="connsiteX0" fmla="*/ -3189 w 165149"/>
                <a:gd name="connsiteY0" fmla="*/ 21873 h 117128"/>
                <a:gd name="connsiteX1" fmla="*/ 19489 w 165149"/>
                <a:gd name="connsiteY1" fmla="*/ -1170 h 117128"/>
                <a:gd name="connsiteX2" fmla="*/ 138353 w 165149"/>
                <a:gd name="connsiteY2" fmla="*/ -2130 h 117128"/>
                <a:gd name="connsiteX3" fmla="*/ 161388 w 165149"/>
                <a:gd name="connsiteY3" fmla="*/ 20547 h 117128"/>
                <a:gd name="connsiteX4" fmla="*/ 161960 w 165149"/>
                <a:gd name="connsiteY4" fmla="*/ 91002 h 117128"/>
                <a:gd name="connsiteX5" fmla="*/ 139283 w 165149"/>
                <a:gd name="connsiteY5" fmla="*/ 114045 h 117128"/>
                <a:gd name="connsiteX6" fmla="*/ 20426 w 165149"/>
                <a:gd name="connsiteY6" fmla="*/ 114997 h 117128"/>
                <a:gd name="connsiteX7" fmla="*/ -2617 w 165149"/>
                <a:gd name="connsiteY7" fmla="*/ 92328 h 117128"/>
                <a:gd name="connsiteX8" fmla="*/ -3189 w 165149"/>
                <a:gd name="connsiteY8" fmla="*/ 21873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3189" y="21873"/>
                  </a:moveTo>
                  <a:cubicBezTo>
                    <a:pt x="-3288" y="9300"/>
                    <a:pt x="6923" y="-1071"/>
                    <a:pt x="19489" y="-1170"/>
                  </a:cubicBezTo>
                  <a:lnTo>
                    <a:pt x="138353" y="-2130"/>
                  </a:lnTo>
                  <a:cubicBezTo>
                    <a:pt x="150918" y="-2229"/>
                    <a:pt x="161289" y="7974"/>
                    <a:pt x="161388" y="20547"/>
                  </a:cubicBezTo>
                  <a:lnTo>
                    <a:pt x="161960" y="91002"/>
                  </a:lnTo>
                  <a:cubicBezTo>
                    <a:pt x="162059" y="103575"/>
                    <a:pt x="151856" y="113946"/>
                    <a:pt x="139283" y="114045"/>
                  </a:cubicBezTo>
                  <a:lnTo>
                    <a:pt x="20426" y="114997"/>
                  </a:lnTo>
                  <a:cubicBezTo>
                    <a:pt x="7853" y="115104"/>
                    <a:pt x="-2518" y="104901"/>
                    <a:pt x="-2617" y="92328"/>
                  </a:cubicBezTo>
                  <a:lnTo>
                    <a:pt x="-3189" y="21873"/>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6" name="Freeform: Shape 205">
              <a:extLst>
                <a:ext uri="{FF2B5EF4-FFF2-40B4-BE49-F238E27FC236}">
                  <a16:creationId xmlns:a16="http://schemas.microsoft.com/office/drawing/2014/main" id="{DBDDAA94-9949-0381-2D32-5B180BFC2A59}"/>
                </a:ext>
              </a:extLst>
            </p:cNvPr>
            <p:cNvSpPr/>
            <p:nvPr/>
          </p:nvSpPr>
          <p:spPr>
            <a:xfrm flipV="1">
              <a:off x="4463029" y="5326235"/>
              <a:ext cx="110004" cy="78021"/>
            </a:xfrm>
            <a:custGeom>
              <a:avLst/>
              <a:gdLst>
                <a:gd name="connsiteX0" fmla="*/ -2943 w 165142"/>
                <a:gd name="connsiteY0" fmla="*/ 21863 h 117128"/>
                <a:gd name="connsiteX1" fmla="*/ 19734 w 165142"/>
                <a:gd name="connsiteY1" fmla="*/ -1180 h 117128"/>
                <a:gd name="connsiteX2" fmla="*/ 138591 w 165142"/>
                <a:gd name="connsiteY2" fmla="*/ -2132 h 117128"/>
                <a:gd name="connsiteX3" fmla="*/ 161634 w 165142"/>
                <a:gd name="connsiteY3" fmla="*/ 20537 h 117128"/>
                <a:gd name="connsiteX4" fmla="*/ 162198 w 165142"/>
                <a:gd name="connsiteY4" fmla="*/ 90992 h 117128"/>
                <a:gd name="connsiteX5" fmla="*/ 139528 w 165142"/>
                <a:gd name="connsiteY5" fmla="*/ 114035 h 117128"/>
                <a:gd name="connsiteX6" fmla="*/ 20664 w 165142"/>
                <a:gd name="connsiteY6" fmla="*/ 114995 h 117128"/>
                <a:gd name="connsiteX7" fmla="*/ -2371 w 165142"/>
                <a:gd name="connsiteY7" fmla="*/ 92318 h 117128"/>
                <a:gd name="connsiteX8" fmla="*/ -2943 w 165142"/>
                <a:gd name="connsiteY8" fmla="*/ 21863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2943" y="21863"/>
                  </a:moveTo>
                  <a:cubicBezTo>
                    <a:pt x="-3042" y="9290"/>
                    <a:pt x="7161" y="-1081"/>
                    <a:pt x="19734" y="-1180"/>
                  </a:cubicBezTo>
                  <a:lnTo>
                    <a:pt x="138591" y="-2132"/>
                  </a:lnTo>
                  <a:cubicBezTo>
                    <a:pt x="151164" y="-2239"/>
                    <a:pt x="161535" y="7964"/>
                    <a:pt x="161634" y="20537"/>
                  </a:cubicBezTo>
                  <a:lnTo>
                    <a:pt x="162198" y="90992"/>
                  </a:lnTo>
                  <a:cubicBezTo>
                    <a:pt x="162304" y="103565"/>
                    <a:pt x="152094" y="113935"/>
                    <a:pt x="139528" y="114035"/>
                  </a:cubicBezTo>
                  <a:lnTo>
                    <a:pt x="20664" y="114995"/>
                  </a:lnTo>
                  <a:cubicBezTo>
                    <a:pt x="8099" y="115094"/>
                    <a:pt x="-2280" y="104891"/>
                    <a:pt x="-2371" y="92318"/>
                  </a:cubicBezTo>
                  <a:lnTo>
                    <a:pt x="-2943" y="21863"/>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7" name="Freeform: Shape 206">
              <a:extLst>
                <a:ext uri="{FF2B5EF4-FFF2-40B4-BE49-F238E27FC236}">
                  <a16:creationId xmlns:a16="http://schemas.microsoft.com/office/drawing/2014/main" id="{30E0B19F-0AEF-78DB-F877-C23E2D33D447}"/>
                </a:ext>
              </a:extLst>
            </p:cNvPr>
            <p:cNvSpPr/>
            <p:nvPr/>
          </p:nvSpPr>
          <p:spPr>
            <a:xfrm flipV="1">
              <a:off x="4319140" y="5325078"/>
              <a:ext cx="110008" cy="78021"/>
            </a:xfrm>
            <a:custGeom>
              <a:avLst/>
              <a:gdLst>
                <a:gd name="connsiteX0" fmla="*/ -2697 w 165149"/>
                <a:gd name="connsiteY0" fmla="*/ 21868 h 117128"/>
                <a:gd name="connsiteX1" fmla="*/ 19988 w 165149"/>
                <a:gd name="connsiteY1" fmla="*/ -1175 h 117128"/>
                <a:gd name="connsiteX2" fmla="*/ 138837 w 165149"/>
                <a:gd name="connsiteY2" fmla="*/ -2135 h 117128"/>
                <a:gd name="connsiteX3" fmla="*/ 161887 w 165149"/>
                <a:gd name="connsiteY3" fmla="*/ 20542 h 117128"/>
                <a:gd name="connsiteX4" fmla="*/ 162451 w 165149"/>
                <a:gd name="connsiteY4" fmla="*/ 90989 h 117128"/>
                <a:gd name="connsiteX5" fmla="*/ 139774 w 165149"/>
                <a:gd name="connsiteY5" fmla="*/ 114032 h 117128"/>
                <a:gd name="connsiteX6" fmla="*/ 20917 w 165149"/>
                <a:gd name="connsiteY6" fmla="*/ 114992 h 117128"/>
                <a:gd name="connsiteX7" fmla="*/ -2126 w 165149"/>
                <a:gd name="connsiteY7" fmla="*/ 92315 h 117128"/>
                <a:gd name="connsiteX8" fmla="*/ -2697 w 165149"/>
                <a:gd name="connsiteY8" fmla="*/ 21868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2697" y="21868"/>
                  </a:moveTo>
                  <a:cubicBezTo>
                    <a:pt x="-2796" y="9295"/>
                    <a:pt x="7415" y="-1076"/>
                    <a:pt x="19988" y="-1175"/>
                  </a:cubicBezTo>
                  <a:lnTo>
                    <a:pt x="138837" y="-2135"/>
                  </a:lnTo>
                  <a:cubicBezTo>
                    <a:pt x="151417" y="-2234"/>
                    <a:pt x="161780" y="7962"/>
                    <a:pt x="161887" y="20542"/>
                  </a:cubicBezTo>
                  <a:lnTo>
                    <a:pt x="162451" y="90989"/>
                  </a:lnTo>
                  <a:cubicBezTo>
                    <a:pt x="162558" y="103562"/>
                    <a:pt x="152355" y="113933"/>
                    <a:pt x="139774" y="114032"/>
                  </a:cubicBezTo>
                  <a:lnTo>
                    <a:pt x="20917" y="114992"/>
                  </a:lnTo>
                  <a:cubicBezTo>
                    <a:pt x="8344" y="115099"/>
                    <a:pt x="-2027" y="104888"/>
                    <a:pt x="-2126" y="92315"/>
                  </a:cubicBezTo>
                  <a:lnTo>
                    <a:pt x="-2697" y="21868"/>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8" name="Freeform: Shape 207">
              <a:extLst>
                <a:ext uri="{FF2B5EF4-FFF2-40B4-BE49-F238E27FC236}">
                  <a16:creationId xmlns:a16="http://schemas.microsoft.com/office/drawing/2014/main" id="{1AEDED40-1D7C-6BDA-CBEC-D1084BC41B06}"/>
                </a:ext>
              </a:extLst>
            </p:cNvPr>
            <p:cNvSpPr/>
            <p:nvPr/>
          </p:nvSpPr>
          <p:spPr>
            <a:xfrm flipV="1">
              <a:off x="5757999" y="5235246"/>
              <a:ext cx="110004" cy="78021"/>
            </a:xfrm>
            <a:custGeom>
              <a:avLst/>
              <a:gdLst>
                <a:gd name="connsiteX0" fmla="*/ -5154 w 165142"/>
                <a:gd name="connsiteY0" fmla="*/ 21660 h 117128"/>
                <a:gd name="connsiteX1" fmla="*/ 17523 w 165142"/>
                <a:gd name="connsiteY1" fmla="*/ -1383 h 117128"/>
                <a:gd name="connsiteX2" fmla="*/ 136380 w 165142"/>
                <a:gd name="connsiteY2" fmla="*/ -2335 h 117128"/>
                <a:gd name="connsiteX3" fmla="*/ 159423 w 165142"/>
                <a:gd name="connsiteY3" fmla="*/ 20334 h 117128"/>
                <a:gd name="connsiteX4" fmla="*/ 159987 w 165142"/>
                <a:gd name="connsiteY4" fmla="*/ 90789 h 117128"/>
                <a:gd name="connsiteX5" fmla="*/ 137317 w 165142"/>
                <a:gd name="connsiteY5" fmla="*/ 113831 h 117128"/>
                <a:gd name="connsiteX6" fmla="*/ 18453 w 165142"/>
                <a:gd name="connsiteY6" fmla="*/ 114792 h 117128"/>
                <a:gd name="connsiteX7" fmla="*/ -4582 w 165142"/>
                <a:gd name="connsiteY7" fmla="*/ 92114 h 117128"/>
                <a:gd name="connsiteX8" fmla="*/ -5154 w 165142"/>
                <a:gd name="connsiteY8" fmla="*/ 21660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5154" y="21660"/>
                  </a:moveTo>
                  <a:cubicBezTo>
                    <a:pt x="-5253" y="9087"/>
                    <a:pt x="4950" y="-1284"/>
                    <a:pt x="17523" y="-1383"/>
                  </a:cubicBezTo>
                  <a:lnTo>
                    <a:pt x="136380" y="-2335"/>
                  </a:lnTo>
                  <a:cubicBezTo>
                    <a:pt x="148953" y="-2442"/>
                    <a:pt x="159324" y="7761"/>
                    <a:pt x="159423" y="20334"/>
                  </a:cubicBezTo>
                  <a:lnTo>
                    <a:pt x="159987" y="90789"/>
                  </a:lnTo>
                  <a:cubicBezTo>
                    <a:pt x="160094" y="103362"/>
                    <a:pt x="149883" y="113732"/>
                    <a:pt x="137317" y="113831"/>
                  </a:cubicBezTo>
                  <a:lnTo>
                    <a:pt x="18453" y="114792"/>
                  </a:lnTo>
                  <a:cubicBezTo>
                    <a:pt x="5888" y="114891"/>
                    <a:pt x="-4483" y="104687"/>
                    <a:pt x="-4582" y="92114"/>
                  </a:cubicBezTo>
                  <a:lnTo>
                    <a:pt x="-5154" y="21660"/>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9" name="Freeform: Shape 208">
              <a:extLst>
                <a:ext uri="{FF2B5EF4-FFF2-40B4-BE49-F238E27FC236}">
                  <a16:creationId xmlns:a16="http://schemas.microsoft.com/office/drawing/2014/main" id="{36DCBEC7-C4AB-2F6F-E9A6-F3BDDD970200}"/>
                </a:ext>
              </a:extLst>
            </p:cNvPr>
            <p:cNvSpPr/>
            <p:nvPr/>
          </p:nvSpPr>
          <p:spPr>
            <a:xfrm flipV="1">
              <a:off x="5614115" y="5234089"/>
              <a:ext cx="110004" cy="78021"/>
            </a:xfrm>
            <a:custGeom>
              <a:avLst/>
              <a:gdLst>
                <a:gd name="connsiteX0" fmla="*/ -4908 w 165142"/>
                <a:gd name="connsiteY0" fmla="*/ 21657 h 117128"/>
                <a:gd name="connsiteX1" fmla="*/ 17769 w 165142"/>
                <a:gd name="connsiteY1" fmla="*/ -1378 h 117128"/>
                <a:gd name="connsiteX2" fmla="*/ 136618 w 165142"/>
                <a:gd name="connsiteY2" fmla="*/ -2338 h 117128"/>
                <a:gd name="connsiteX3" fmla="*/ 159669 w 165142"/>
                <a:gd name="connsiteY3" fmla="*/ 20339 h 117128"/>
                <a:gd name="connsiteX4" fmla="*/ 160232 w 165142"/>
                <a:gd name="connsiteY4" fmla="*/ 90786 h 117128"/>
                <a:gd name="connsiteX5" fmla="*/ 137555 w 165142"/>
                <a:gd name="connsiteY5" fmla="*/ 113829 h 117128"/>
                <a:gd name="connsiteX6" fmla="*/ 18706 w 165142"/>
                <a:gd name="connsiteY6" fmla="*/ 114789 h 117128"/>
                <a:gd name="connsiteX7" fmla="*/ -4344 w 165142"/>
                <a:gd name="connsiteY7" fmla="*/ 92112 h 117128"/>
                <a:gd name="connsiteX8" fmla="*/ -4908 w 165142"/>
                <a:gd name="connsiteY8" fmla="*/ 21657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4908" y="21657"/>
                  </a:moveTo>
                  <a:cubicBezTo>
                    <a:pt x="-5015" y="9092"/>
                    <a:pt x="5188" y="-1279"/>
                    <a:pt x="17769" y="-1378"/>
                  </a:cubicBezTo>
                  <a:lnTo>
                    <a:pt x="136618" y="-2338"/>
                  </a:lnTo>
                  <a:cubicBezTo>
                    <a:pt x="149199" y="-2445"/>
                    <a:pt x="159562" y="7759"/>
                    <a:pt x="159669" y="20339"/>
                  </a:cubicBezTo>
                  <a:lnTo>
                    <a:pt x="160232" y="90786"/>
                  </a:lnTo>
                  <a:cubicBezTo>
                    <a:pt x="160339" y="103359"/>
                    <a:pt x="150136" y="113730"/>
                    <a:pt x="137555" y="113829"/>
                  </a:cubicBezTo>
                  <a:lnTo>
                    <a:pt x="18706" y="114789"/>
                  </a:lnTo>
                  <a:cubicBezTo>
                    <a:pt x="6126" y="114888"/>
                    <a:pt x="-4238" y="104685"/>
                    <a:pt x="-4344" y="92112"/>
                  </a:cubicBezTo>
                  <a:lnTo>
                    <a:pt x="-4908" y="21657"/>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0" name="Freeform: Shape 209">
              <a:extLst>
                <a:ext uri="{FF2B5EF4-FFF2-40B4-BE49-F238E27FC236}">
                  <a16:creationId xmlns:a16="http://schemas.microsoft.com/office/drawing/2014/main" id="{4218C37D-94F1-73D8-2D3C-DA7D44AE3814}"/>
                </a:ext>
              </a:extLst>
            </p:cNvPr>
            <p:cNvSpPr/>
            <p:nvPr/>
          </p:nvSpPr>
          <p:spPr>
            <a:xfrm flipV="1">
              <a:off x="5470227" y="5232932"/>
              <a:ext cx="110008" cy="78021"/>
            </a:xfrm>
            <a:custGeom>
              <a:avLst/>
              <a:gdLst>
                <a:gd name="connsiteX0" fmla="*/ -4663 w 165149"/>
                <a:gd name="connsiteY0" fmla="*/ 21655 h 117128"/>
                <a:gd name="connsiteX1" fmla="*/ 18014 w 165149"/>
                <a:gd name="connsiteY1" fmla="*/ -1381 h 117128"/>
                <a:gd name="connsiteX2" fmla="*/ 136879 w 165149"/>
                <a:gd name="connsiteY2" fmla="*/ -2341 h 117128"/>
                <a:gd name="connsiteX3" fmla="*/ 159914 w 165149"/>
                <a:gd name="connsiteY3" fmla="*/ 20336 h 117128"/>
                <a:gd name="connsiteX4" fmla="*/ 160486 w 165149"/>
                <a:gd name="connsiteY4" fmla="*/ 90791 h 117128"/>
                <a:gd name="connsiteX5" fmla="*/ 137816 w 165149"/>
                <a:gd name="connsiteY5" fmla="*/ 113834 h 117128"/>
                <a:gd name="connsiteX6" fmla="*/ 18952 w 165149"/>
                <a:gd name="connsiteY6" fmla="*/ 114787 h 117128"/>
                <a:gd name="connsiteX7" fmla="*/ -4091 w 165149"/>
                <a:gd name="connsiteY7" fmla="*/ 92117 h 117128"/>
                <a:gd name="connsiteX8" fmla="*/ -4663 w 165149"/>
                <a:gd name="connsiteY8" fmla="*/ 21655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4663" y="21655"/>
                  </a:moveTo>
                  <a:cubicBezTo>
                    <a:pt x="-4762" y="9089"/>
                    <a:pt x="5441" y="-1281"/>
                    <a:pt x="18014" y="-1381"/>
                  </a:cubicBezTo>
                  <a:lnTo>
                    <a:pt x="136879" y="-2341"/>
                  </a:lnTo>
                  <a:cubicBezTo>
                    <a:pt x="149444" y="-2440"/>
                    <a:pt x="159815" y="7763"/>
                    <a:pt x="159914" y="20336"/>
                  </a:cubicBezTo>
                  <a:lnTo>
                    <a:pt x="160486" y="90791"/>
                  </a:lnTo>
                  <a:cubicBezTo>
                    <a:pt x="160585" y="103364"/>
                    <a:pt x="150381" y="113727"/>
                    <a:pt x="137816" y="113834"/>
                  </a:cubicBezTo>
                  <a:lnTo>
                    <a:pt x="18952" y="114787"/>
                  </a:lnTo>
                  <a:cubicBezTo>
                    <a:pt x="6379" y="114885"/>
                    <a:pt x="-3992" y="104682"/>
                    <a:pt x="-4091" y="92117"/>
                  </a:cubicBezTo>
                  <a:lnTo>
                    <a:pt x="-4663" y="21655"/>
                  </a:lnTo>
                </a:path>
              </a:pathLst>
            </a:custGeom>
            <a:solidFill>
              <a:srgbClr val="989697"/>
            </a:solidFill>
            <a:ln w="762"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1" name="Freeform: Shape 210">
              <a:extLst>
                <a:ext uri="{FF2B5EF4-FFF2-40B4-BE49-F238E27FC236}">
                  <a16:creationId xmlns:a16="http://schemas.microsoft.com/office/drawing/2014/main" id="{C271008E-C45A-00A8-5B85-09CA156B5DD1}"/>
                </a:ext>
              </a:extLst>
            </p:cNvPr>
            <p:cNvSpPr/>
            <p:nvPr/>
          </p:nvSpPr>
          <p:spPr>
            <a:xfrm flipV="1">
              <a:off x="5326342" y="5231770"/>
              <a:ext cx="110008" cy="78026"/>
            </a:xfrm>
            <a:custGeom>
              <a:avLst/>
              <a:gdLst>
                <a:gd name="connsiteX0" fmla="*/ -4417 w 165149"/>
                <a:gd name="connsiteY0" fmla="*/ 21660 h 117136"/>
                <a:gd name="connsiteX1" fmla="*/ 18260 w 165149"/>
                <a:gd name="connsiteY1" fmla="*/ -1383 h 117136"/>
                <a:gd name="connsiteX2" fmla="*/ 137117 w 165149"/>
                <a:gd name="connsiteY2" fmla="*/ -2343 h 117136"/>
                <a:gd name="connsiteX3" fmla="*/ 160160 w 165149"/>
                <a:gd name="connsiteY3" fmla="*/ 20334 h 117136"/>
                <a:gd name="connsiteX4" fmla="*/ 160731 w 165149"/>
                <a:gd name="connsiteY4" fmla="*/ 90788 h 117136"/>
                <a:gd name="connsiteX5" fmla="*/ 138054 w 165149"/>
                <a:gd name="connsiteY5" fmla="*/ 113831 h 117136"/>
                <a:gd name="connsiteX6" fmla="*/ 19190 w 165149"/>
                <a:gd name="connsiteY6" fmla="*/ 114791 h 117136"/>
                <a:gd name="connsiteX7" fmla="*/ -3845 w 165149"/>
                <a:gd name="connsiteY7" fmla="*/ 92114 h 117136"/>
                <a:gd name="connsiteX8" fmla="*/ -4417 w 165149"/>
                <a:gd name="connsiteY8" fmla="*/ 21660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36">
                  <a:moveTo>
                    <a:pt x="-4417" y="21660"/>
                  </a:moveTo>
                  <a:cubicBezTo>
                    <a:pt x="-4516" y="9087"/>
                    <a:pt x="5687" y="-1284"/>
                    <a:pt x="18260" y="-1383"/>
                  </a:cubicBezTo>
                  <a:lnTo>
                    <a:pt x="137117" y="-2343"/>
                  </a:lnTo>
                  <a:cubicBezTo>
                    <a:pt x="149690" y="-2442"/>
                    <a:pt x="160061" y="7761"/>
                    <a:pt x="160160" y="20334"/>
                  </a:cubicBezTo>
                  <a:lnTo>
                    <a:pt x="160731" y="90788"/>
                  </a:lnTo>
                  <a:cubicBezTo>
                    <a:pt x="160830" y="103361"/>
                    <a:pt x="150620" y="113732"/>
                    <a:pt x="138054" y="113831"/>
                  </a:cubicBezTo>
                  <a:lnTo>
                    <a:pt x="19190" y="114791"/>
                  </a:lnTo>
                  <a:cubicBezTo>
                    <a:pt x="6625" y="114891"/>
                    <a:pt x="-3746" y="104680"/>
                    <a:pt x="-3845" y="92114"/>
                  </a:cubicBezTo>
                  <a:lnTo>
                    <a:pt x="-4417" y="21660"/>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2" name="Freeform: Shape 211">
              <a:extLst>
                <a:ext uri="{FF2B5EF4-FFF2-40B4-BE49-F238E27FC236}">
                  <a16:creationId xmlns:a16="http://schemas.microsoft.com/office/drawing/2014/main" id="{105A5293-2C95-78B7-619D-3A157D19D268}"/>
                </a:ext>
              </a:extLst>
            </p:cNvPr>
            <p:cNvSpPr/>
            <p:nvPr/>
          </p:nvSpPr>
          <p:spPr>
            <a:xfrm flipV="1">
              <a:off x="5182458" y="5230612"/>
              <a:ext cx="110004" cy="78021"/>
            </a:xfrm>
            <a:custGeom>
              <a:avLst/>
              <a:gdLst>
                <a:gd name="connsiteX0" fmla="*/ -4171 w 165142"/>
                <a:gd name="connsiteY0" fmla="*/ 21650 h 117128"/>
                <a:gd name="connsiteX1" fmla="*/ 18506 w 165142"/>
                <a:gd name="connsiteY1" fmla="*/ -1393 h 117128"/>
                <a:gd name="connsiteX2" fmla="*/ 137355 w 165142"/>
                <a:gd name="connsiteY2" fmla="*/ -2346 h 117128"/>
                <a:gd name="connsiteX3" fmla="*/ 160406 w 165142"/>
                <a:gd name="connsiteY3" fmla="*/ 20324 h 117128"/>
                <a:gd name="connsiteX4" fmla="*/ 160969 w 165142"/>
                <a:gd name="connsiteY4" fmla="*/ 90778 h 117128"/>
                <a:gd name="connsiteX5" fmla="*/ 138292 w 165142"/>
                <a:gd name="connsiteY5" fmla="*/ 113821 h 117128"/>
                <a:gd name="connsiteX6" fmla="*/ 19443 w 165142"/>
                <a:gd name="connsiteY6" fmla="*/ 114781 h 117128"/>
                <a:gd name="connsiteX7" fmla="*/ -3607 w 165142"/>
                <a:gd name="connsiteY7" fmla="*/ 92104 h 117128"/>
                <a:gd name="connsiteX8" fmla="*/ -4171 w 165142"/>
                <a:gd name="connsiteY8" fmla="*/ 21650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4171" y="21650"/>
                  </a:moveTo>
                  <a:cubicBezTo>
                    <a:pt x="-4278" y="9077"/>
                    <a:pt x="5925" y="-1294"/>
                    <a:pt x="18506" y="-1393"/>
                  </a:cubicBezTo>
                  <a:lnTo>
                    <a:pt x="137355" y="-2346"/>
                  </a:lnTo>
                  <a:cubicBezTo>
                    <a:pt x="149936" y="-2452"/>
                    <a:pt x="160299" y="7751"/>
                    <a:pt x="160406" y="20324"/>
                  </a:cubicBezTo>
                  <a:lnTo>
                    <a:pt x="160969" y="90778"/>
                  </a:lnTo>
                  <a:cubicBezTo>
                    <a:pt x="161076" y="103351"/>
                    <a:pt x="150873" y="113722"/>
                    <a:pt x="138292" y="113821"/>
                  </a:cubicBezTo>
                  <a:lnTo>
                    <a:pt x="19443" y="114781"/>
                  </a:lnTo>
                  <a:cubicBezTo>
                    <a:pt x="6863" y="114880"/>
                    <a:pt x="-3501" y="104677"/>
                    <a:pt x="-3607" y="92104"/>
                  </a:cubicBezTo>
                  <a:lnTo>
                    <a:pt x="-4171" y="21650"/>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3" name="Freeform: Shape 212">
              <a:extLst>
                <a:ext uri="{FF2B5EF4-FFF2-40B4-BE49-F238E27FC236}">
                  <a16:creationId xmlns:a16="http://schemas.microsoft.com/office/drawing/2014/main" id="{DD3268B6-DBC4-3F75-7A3A-A8D168C50FAF}"/>
                </a:ext>
              </a:extLst>
            </p:cNvPr>
            <p:cNvSpPr/>
            <p:nvPr/>
          </p:nvSpPr>
          <p:spPr>
            <a:xfrm flipV="1">
              <a:off x="5038570" y="5229455"/>
              <a:ext cx="110008" cy="78021"/>
            </a:xfrm>
            <a:custGeom>
              <a:avLst/>
              <a:gdLst>
                <a:gd name="connsiteX0" fmla="*/ -3926 w 165149"/>
                <a:gd name="connsiteY0" fmla="*/ 21655 h 117128"/>
                <a:gd name="connsiteX1" fmla="*/ 18751 w 165149"/>
                <a:gd name="connsiteY1" fmla="*/ -1388 h 117128"/>
                <a:gd name="connsiteX2" fmla="*/ 137616 w 165149"/>
                <a:gd name="connsiteY2" fmla="*/ -2348 h 117128"/>
                <a:gd name="connsiteX3" fmla="*/ 160651 w 165149"/>
                <a:gd name="connsiteY3" fmla="*/ 20329 h 117128"/>
                <a:gd name="connsiteX4" fmla="*/ 161223 w 165149"/>
                <a:gd name="connsiteY4" fmla="*/ 90776 h 117128"/>
                <a:gd name="connsiteX5" fmla="*/ 138545 w 165149"/>
                <a:gd name="connsiteY5" fmla="*/ 113819 h 117128"/>
                <a:gd name="connsiteX6" fmla="*/ 19689 w 165149"/>
                <a:gd name="connsiteY6" fmla="*/ 114779 h 117128"/>
                <a:gd name="connsiteX7" fmla="*/ -3354 w 165149"/>
                <a:gd name="connsiteY7" fmla="*/ 92102 h 117128"/>
                <a:gd name="connsiteX8" fmla="*/ -3926 w 165149"/>
                <a:gd name="connsiteY8" fmla="*/ 21655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3926" y="21655"/>
                  </a:moveTo>
                  <a:cubicBezTo>
                    <a:pt x="-4025" y="9082"/>
                    <a:pt x="6178" y="-1289"/>
                    <a:pt x="18751" y="-1388"/>
                  </a:cubicBezTo>
                  <a:lnTo>
                    <a:pt x="137616" y="-2348"/>
                  </a:lnTo>
                  <a:cubicBezTo>
                    <a:pt x="150181" y="-2455"/>
                    <a:pt x="160552" y="7756"/>
                    <a:pt x="160651" y="20329"/>
                  </a:cubicBezTo>
                  <a:lnTo>
                    <a:pt x="161223" y="90776"/>
                  </a:lnTo>
                  <a:cubicBezTo>
                    <a:pt x="161322" y="103349"/>
                    <a:pt x="151118" y="113720"/>
                    <a:pt x="138545" y="113819"/>
                  </a:cubicBezTo>
                  <a:lnTo>
                    <a:pt x="19689" y="114779"/>
                  </a:lnTo>
                  <a:cubicBezTo>
                    <a:pt x="7116" y="114878"/>
                    <a:pt x="-3255" y="104682"/>
                    <a:pt x="-3354" y="92102"/>
                  </a:cubicBezTo>
                  <a:lnTo>
                    <a:pt x="-3926" y="21655"/>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4" name="Freeform: Shape 213">
              <a:extLst>
                <a:ext uri="{FF2B5EF4-FFF2-40B4-BE49-F238E27FC236}">
                  <a16:creationId xmlns:a16="http://schemas.microsoft.com/office/drawing/2014/main" id="{0BDC91D1-9B85-C8E9-DF34-07E407D442D7}"/>
                </a:ext>
              </a:extLst>
            </p:cNvPr>
            <p:cNvSpPr/>
            <p:nvPr/>
          </p:nvSpPr>
          <p:spPr>
            <a:xfrm flipV="1">
              <a:off x="4894685" y="5228297"/>
              <a:ext cx="110008" cy="78021"/>
            </a:xfrm>
            <a:custGeom>
              <a:avLst/>
              <a:gdLst>
                <a:gd name="connsiteX0" fmla="*/ -3680 w 165149"/>
                <a:gd name="connsiteY0" fmla="*/ 21652 h 117128"/>
                <a:gd name="connsiteX1" fmla="*/ 18997 w 165149"/>
                <a:gd name="connsiteY1" fmla="*/ -1391 h 117128"/>
                <a:gd name="connsiteX2" fmla="*/ 137854 w 165149"/>
                <a:gd name="connsiteY2" fmla="*/ -2351 h 117128"/>
                <a:gd name="connsiteX3" fmla="*/ 160897 w 165149"/>
                <a:gd name="connsiteY3" fmla="*/ 20326 h 117128"/>
                <a:gd name="connsiteX4" fmla="*/ 161468 w 165149"/>
                <a:gd name="connsiteY4" fmla="*/ 90781 h 117128"/>
                <a:gd name="connsiteX5" fmla="*/ 138791 w 165149"/>
                <a:gd name="connsiteY5" fmla="*/ 113823 h 117128"/>
                <a:gd name="connsiteX6" fmla="*/ 19927 w 165149"/>
                <a:gd name="connsiteY6" fmla="*/ 114776 h 117128"/>
                <a:gd name="connsiteX7" fmla="*/ -3108 w 165149"/>
                <a:gd name="connsiteY7" fmla="*/ 92106 h 117128"/>
                <a:gd name="connsiteX8" fmla="*/ -3680 w 165149"/>
                <a:gd name="connsiteY8" fmla="*/ 21652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3680" y="21652"/>
                  </a:moveTo>
                  <a:cubicBezTo>
                    <a:pt x="-3779" y="9079"/>
                    <a:pt x="6424" y="-1292"/>
                    <a:pt x="18997" y="-1391"/>
                  </a:cubicBezTo>
                  <a:lnTo>
                    <a:pt x="137854" y="-2351"/>
                  </a:lnTo>
                  <a:cubicBezTo>
                    <a:pt x="150427" y="-2450"/>
                    <a:pt x="160798" y="7753"/>
                    <a:pt x="160897" y="20326"/>
                  </a:cubicBezTo>
                  <a:lnTo>
                    <a:pt x="161468" y="90781"/>
                  </a:lnTo>
                  <a:cubicBezTo>
                    <a:pt x="161567" y="103354"/>
                    <a:pt x="151357" y="113725"/>
                    <a:pt x="138791" y="113823"/>
                  </a:cubicBezTo>
                  <a:lnTo>
                    <a:pt x="19927" y="114776"/>
                  </a:lnTo>
                  <a:cubicBezTo>
                    <a:pt x="7362" y="114883"/>
                    <a:pt x="-3009" y="104679"/>
                    <a:pt x="-3108" y="92106"/>
                  </a:cubicBezTo>
                  <a:lnTo>
                    <a:pt x="-3680" y="21652"/>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5" name="Freeform: Shape 214">
              <a:extLst>
                <a:ext uri="{FF2B5EF4-FFF2-40B4-BE49-F238E27FC236}">
                  <a16:creationId xmlns:a16="http://schemas.microsoft.com/office/drawing/2014/main" id="{FF92D656-1AFF-131D-32E1-F766981665BA}"/>
                </a:ext>
              </a:extLst>
            </p:cNvPr>
            <p:cNvSpPr/>
            <p:nvPr/>
          </p:nvSpPr>
          <p:spPr>
            <a:xfrm flipV="1">
              <a:off x="4750802" y="5227136"/>
              <a:ext cx="110004" cy="78021"/>
            </a:xfrm>
            <a:custGeom>
              <a:avLst/>
              <a:gdLst>
                <a:gd name="connsiteX0" fmla="*/ -3434 w 165142"/>
                <a:gd name="connsiteY0" fmla="*/ 21642 h 117128"/>
                <a:gd name="connsiteX1" fmla="*/ 19243 w 165142"/>
                <a:gd name="connsiteY1" fmla="*/ -1401 h 117128"/>
                <a:gd name="connsiteX2" fmla="*/ 138092 w 165142"/>
                <a:gd name="connsiteY2" fmla="*/ -2353 h 117128"/>
                <a:gd name="connsiteX3" fmla="*/ 161143 w 165142"/>
                <a:gd name="connsiteY3" fmla="*/ 20316 h 117128"/>
                <a:gd name="connsiteX4" fmla="*/ 161707 w 165142"/>
                <a:gd name="connsiteY4" fmla="*/ 90771 h 117128"/>
                <a:gd name="connsiteX5" fmla="*/ 139029 w 165142"/>
                <a:gd name="connsiteY5" fmla="*/ 113813 h 117128"/>
                <a:gd name="connsiteX6" fmla="*/ 20180 w 165142"/>
                <a:gd name="connsiteY6" fmla="*/ 114774 h 117128"/>
                <a:gd name="connsiteX7" fmla="*/ -2870 w 165142"/>
                <a:gd name="connsiteY7" fmla="*/ 92096 h 117128"/>
                <a:gd name="connsiteX8" fmla="*/ -3434 w 165142"/>
                <a:gd name="connsiteY8" fmla="*/ 21642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3434" y="21642"/>
                  </a:moveTo>
                  <a:cubicBezTo>
                    <a:pt x="-3541" y="9069"/>
                    <a:pt x="6662" y="-1302"/>
                    <a:pt x="19243" y="-1401"/>
                  </a:cubicBezTo>
                  <a:lnTo>
                    <a:pt x="138092" y="-2353"/>
                  </a:lnTo>
                  <a:cubicBezTo>
                    <a:pt x="150673" y="-2460"/>
                    <a:pt x="161036" y="7743"/>
                    <a:pt x="161143" y="20316"/>
                  </a:cubicBezTo>
                  <a:lnTo>
                    <a:pt x="161707" y="90771"/>
                  </a:lnTo>
                  <a:cubicBezTo>
                    <a:pt x="161806" y="103344"/>
                    <a:pt x="151610" y="113714"/>
                    <a:pt x="139029" y="113813"/>
                  </a:cubicBezTo>
                  <a:lnTo>
                    <a:pt x="20180" y="114774"/>
                  </a:lnTo>
                  <a:cubicBezTo>
                    <a:pt x="7600" y="114872"/>
                    <a:pt x="-2764" y="104669"/>
                    <a:pt x="-2870" y="92096"/>
                  </a:cubicBezTo>
                  <a:lnTo>
                    <a:pt x="-3434" y="21642"/>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6" name="Freeform: Shape 215">
              <a:extLst>
                <a:ext uri="{FF2B5EF4-FFF2-40B4-BE49-F238E27FC236}">
                  <a16:creationId xmlns:a16="http://schemas.microsoft.com/office/drawing/2014/main" id="{327D688A-0972-3D39-806F-E3AE4A072CA0}"/>
                </a:ext>
              </a:extLst>
            </p:cNvPr>
            <p:cNvSpPr/>
            <p:nvPr/>
          </p:nvSpPr>
          <p:spPr>
            <a:xfrm flipV="1">
              <a:off x="4606913" y="5225978"/>
              <a:ext cx="110008" cy="78021"/>
            </a:xfrm>
            <a:custGeom>
              <a:avLst/>
              <a:gdLst>
                <a:gd name="connsiteX0" fmla="*/ -3189 w 165149"/>
                <a:gd name="connsiteY0" fmla="*/ 21647 h 117128"/>
                <a:gd name="connsiteX1" fmla="*/ 19489 w 165149"/>
                <a:gd name="connsiteY1" fmla="*/ -1404 h 117128"/>
                <a:gd name="connsiteX2" fmla="*/ 138353 w 165149"/>
                <a:gd name="connsiteY2" fmla="*/ -2356 h 117128"/>
                <a:gd name="connsiteX3" fmla="*/ 161388 w 165149"/>
                <a:gd name="connsiteY3" fmla="*/ 20313 h 117128"/>
                <a:gd name="connsiteX4" fmla="*/ 161960 w 165149"/>
                <a:gd name="connsiteY4" fmla="*/ 90768 h 117128"/>
                <a:gd name="connsiteX5" fmla="*/ 139283 w 165149"/>
                <a:gd name="connsiteY5" fmla="*/ 113811 h 117128"/>
                <a:gd name="connsiteX6" fmla="*/ 20426 w 165149"/>
                <a:gd name="connsiteY6" fmla="*/ 114771 h 117128"/>
                <a:gd name="connsiteX7" fmla="*/ -2617 w 165149"/>
                <a:gd name="connsiteY7" fmla="*/ 92094 h 117128"/>
                <a:gd name="connsiteX8" fmla="*/ -3189 w 165149"/>
                <a:gd name="connsiteY8" fmla="*/ 21647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3189" y="21647"/>
                  </a:moveTo>
                  <a:cubicBezTo>
                    <a:pt x="-3288" y="9074"/>
                    <a:pt x="6923" y="-1297"/>
                    <a:pt x="19489" y="-1404"/>
                  </a:cubicBezTo>
                  <a:lnTo>
                    <a:pt x="138353" y="-2356"/>
                  </a:lnTo>
                  <a:cubicBezTo>
                    <a:pt x="150918" y="-2455"/>
                    <a:pt x="161289" y="7740"/>
                    <a:pt x="161388" y="20313"/>
                  </a:cubicBezTo>
                  <a:lnTo>
                    <a:pt x="161960" y="90768"/>
                  </a:lnTo>
                  <a:cubicBezTo>
                    <a:pt x="162059" y="103341"/>
                    <a:pt x="151856" y="113712"/>
                    <a:pt x="139283" y="113811"/>
                  </a:cubicBezTo>
                  <a:lnTo>
                    <a:pt x="20426" y="114771"/>
                  </a:lnTo>
                  <a:cubicBezTo>
                    <a:pt x="7853" y="114870"/>
                    <a:pt x="-2518" y="104667"/>
                    <a:pt x="-2617" y="92094"/>
                  </a:cubicBezTo>
                  <a:lnTo>
                    <a:pt x="-3189" y="21647"/>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7" name="Freeform: Shape 216">
              <a:extLst>
                <a:ext uri="{FF2B5EF4-FFF2-40B4-BE49-F238E27FC236}">
                  <a16:creationId xmlns:a16="http://schemas.microsoft.com/office/drawing/2014/main" id="{50C7335F-30E6-4179-2701-5433664C9CAE}"/>
                </a:ext>
              </a:extLst>
            </p:cNvPr>
            <p:cNvSpPr/>
            <p:nvPr/>
          </p:nvSpPr>
          <p:spPr>
            <a:xfrm flipV="1">
              <a:off x="4463029" y="5224821"/>
              <a:ext cx="110008" cy="78021"/>
            </a:xfrm>
            <a:custGeom>
              <a:avLst/>
              <a:gdLst>
                <a:gd name="connsiteX0" fmla="*/ -2943 w 165149"/>
                <a:gd name="connsiteY0" fmla="*/ 21644 h 117128"/>
                <a:gd name="connsiteX1" fmla="*/ 19734 w 165149"/>
                <a:gd name="connsiteY1" fmla="*/ -1399 h 117128"/>
                <a:gd name="connsiteX2" fmla="*/ 138591 w 165149"/>
                <a:gd name="connsiteY2" fmla="*/ -2359 h 117128"/>
                <a:gd name="connsiteX3" fmla="*/ 161634 w 165149"/>
                <a:gd name="connsiteY3" fmla="*/ 20318 h 117128"/>
                <a:gd name="connsiteX4" fmla="*/ 162205 w 165149"/>
                <a:gd name="connsiteY4" fmla="*/ 90765 h 117128"/>
                <a:gd name="connsiteX5" fmla="*/ 139528 w 165149"/>
                <a:gd name="connsiteY5" fmla="*/ 113816 h 117128"/>
                <a:gd name="connsiteX6" fmla="*/ 20664 w 165149"/>
                <a:gd name="connsiteY6" fmla="*/ 114768 h 117128"/>
                <a:gd name="connsiteX7" fmla="*/ -2371 w 165149"/>
                <a:gd name="connsiteY7" fmla="*/ 92099 h 117128"/>
                <a:gd name="connsiteX8" fmla="*/ -2943 w 165149"/>
                <a:gd name="connsiteY8" fmla="*/ 21644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2943" y="21644"/>
                  </a:moveTo>
                  <a:cubicBezTo>
                    <a:pt x="-3042" y="9071"/>
                    <a:pt x="7161" y="-1300"/>
                    <a:pt x="19734" y="-1399"/>
                  </a:cubicBezTo>
                  <a:lnTo>
                    <a:pt x="138591" y="-2359"/>
                  </a:lnTo>
                  <a:cubicBezTo>
                    <a:pt x="151164" y="-2458"/>
                    <a:pt x="161535" y="7745"/>
                    <a:pt x="161634" y="20318"/>
                  </a:cubicBezTo>
                  <a:lnTo>
                    <a:pt x="162205" y="90765"/>
                  </a:lnTo>
                  <a:cubicBezTo>
                    <a:pt x="162304" y="103338"/>
                    <a:pt x="152094" y="113709"/>
                    <a:pt x="139528" y="113816"/>
                  </a:cubicBezTo>
                  <a:lnTo>
                    <a:pt x="20664" y="114768"/>
                  </a:lnTo>
                  <a:cubicBezTo>
                    <a:pt x="8099" y="114867"/>
                    <a:pt x="-2272" y="104672"/>
                    <a:pt x="-2371" y="92099"/>
                  </a:cubicBezTo>
                  <a:lnTo>
                    <a:pt x="-2943" y="21644"/>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8" name="Freeform: Shape 217">
              <a:extLst>
                <a:ext uri="{FF2B5EF4-FFF2-40B4-BE49-F238E27FC236}">
                  <a16:creationId xmlns:a16="http://schemas.microsoft.com/office/drawing/2014/main" id="{00C06062-2824-500D-A49D-B9F25D05F8B7}"/>
                </a:ext>
              </a:extLst>
            </p:cNvPr>
            <p:cNvSpPr/>
            <p:nvPr/>
          </p:nvSpPr>
          <p:spPr>
            <a:xfrm flipV="1">
              <a:off x="4319140" y="5223659"/>
              <a:ext cx="110008" cy="78026"/>
            </a:xfrm>
            <a:custGeom>
              <a:avLst/>
              <a:gdLst>
                <a:gd name="connsiteX0" fmla="*/ -2697 w 165149"/>
                <a:gd name="connsiteY0" fmla="*/ 21642 h 117136"/>
                <a:gd name="connsiteX1" fmla="*/ 19988 w 165149"/>
                <a:gd name="connsiteY1" fmla="*/ -1401 h 117136"/>
                <a:gd name="connsiteX2" fmla="*/ 138837 w 165149"/>
                <a:gd name="connsiteY2" fmla="*/ -2361 h 117136"/>
                <a:gd name="connsiteX3" fmla="*/ 161887 w 165149"/>
                <a:gd name="connsiteY3" fmla="*/ 20316 h 117136"/>
                <a:gd name="connsiteX4" fmla="*/ 162451 w 165149"/>
                <a:gd name="connsiteY4" fmla="*/ 90770 h 117136"/>
                <a:gd name="connsiteX5" fmla="*/ 139774 w 165149"/>
                <a:gd name="connsiteY5" fmla="*/ 113813 h 117136"/>
                <a:gd name="connsiteX6" fmla="*/ 20917 w 165149"/>
                <a:gd name="connsiteY6" fmla="*/ 114773 h 117136"/>
                <a:gd name="connsiteX7" fmla="*/ -2126 w 165149"/>
                <a:gd name="connsiteY7" fmla="*/ 92096 h 117136"/>
                <a:gd name="connsiteX8" fmla="*/ -2697 w 165149"/>
                <a:gd name="connsiteY8" fmla="*/ 21642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36">
                  <a:moveTo>
                    <a:pt x="-2697" y="21642"/>
                  </a:moveTo>
                  <a:cubicBezTo>
                    <a:pt x="-2796" y="9069"/>
                    <a:pt x="7415" y="-1302"/>
                    <a:pt x="19988" y="-1401"/>
                  </a:cubicBezTo>
                  <a:lnTo>
                    <a:pt x="138837" y="-2361"/>
                  </a:lnTo>
                  <a:cubicBezTo>
                    <a:pt x="151417" y="-2460"/>
                    <a:pt x="161780" y="7743"/>
                    <a:pt x="161887" y="20316"/>
                  </a:cubicBezTo>
                  <a:lnTo>
                    <a:pt x="162451" y="90770"/>
                  </a:lnTo>
                  <a:cubicBezTo>
                    <a:pt x="162558" y="103343"/>
                    <a:pt x="152355" y="113714"/>
                    <a:pt x="139774" y="113813"/>
                  </a:cubicBezTo>
                  <a:lnTo>
                    <a:pt x="20917" y="114773"/>
                  </a:lnTo>
                  <a:cubicBezTo>
                    <a:pt x="8344" y="114872"/>
                    <a:pt x="-2027" y="104669"/>
                    <a:pt x="-2126" y="92096"/>
                  </a:cubicBezTo>
                  <a:lnTo>
                    <a:pt x="-2697" y="21642"/>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9" name="Freeform: Shape 218">
              <a:extLst>
                <a:ext uri="{FF2B5EF4-FFF2-40B4-BE49-F238E27FC236}">
                  <a16:creationId xmlns:a16="http://schemas.microsoft.com/office/drawing/2014/main" id="{15AFFDBA-2DFD-E369-F053-0D6C57401EFF}"/>
                </a:ext>
              </a:extLst>
            </p:cNvPr>
            <p:cNvSpPr/>
            <p:nvPr/>
          </p:nvSpPr>
          <p:spPr>
            <a:xfrm flipV="1">
              <a:off x="5758781" y="5138263"/>
              <a:ext cx="110008" cy="78026"/>
            </a:xfrm>
            <a:custGeom>
              <a:avLst/>
              <a:gdLst>
                <a:gd name="connsiteX0" fmla="*/ -5155 w 165149"/>
                <a:gd name="connsiteY0" fmla="*/ 21451 h 117136"/>
                <a:gd name="connsiteX1" fmla="*/ 17522 w 165149"/>
                <a:gd name="connsiteY1" fmla="*/ -1592 h 117136"/>
                <a:gd name="connsiteX2" fmla="*/ 136379 w 165149"/>
                <a:gd name="connsiteY2" fmla="*/ -2552 h 117136"/>
                <a:gd name="connsiteX3" fmla="*/ 159422 w 165149"/>
                <a:gd name="connsiteY3" fmla="*/ 20125 h 117136"/>
                <a:gd name="connsiteX4" fmla="*/ 159993 w 165149"/>
                <a:gd name="connsiteY4" fmla="*/ 90580 h 117136"/>
                <a:gd name="connsiteX5" fmla="*/ 137308 w 165149"/>
                <a:gd name="connsiteY5" fmla="*/ 113623 h 117136"/>
                <a:gd name="connsiteX6" fmla="*/ 18459 w 165149"/>
                <a:gd name="connsiteY6" fmla="*/ 114583 h 117136"/>
                <a:gd name="connsiteX7" fmla="*/ -4591 w 165149"/>
                <a:gd name="connsiteY7" fmla="*/ 91906 h 117136"/>
                <a:gd name="connsiteX8" fmla="*/ -5155 w 165149"/>
                <a:gd name="connsiteY8" fmla="*/ 21451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36">
                  <a:moveTo>
                    <a:pt x="-5155" y="21451"/>
                  </a:moveTo>
                  <a:cubicBezTo>
                    <a:pt x="-5262" y="8878"/>
                    <a:pt x="4949" y="-1493"/>
                    <a:pt x="17522" y="-1592"/>
                  </a:cubicBezTo>
                  <a:lnTo>
                    <a:pt x="136379" y="-2552"/>
                  </a:lnTo>
                  <a:cubicBezTo>
                    <a:pt x="148952" y="-2651"/>
                    <a:pt x="159323" y="7552"/>
                    <a:pt x="159422" y="20125"/>
                  </a:cubicBezTo>
                  <a:lnTo>
                    <a:pt x="159993" y="90580"/>
                  </a:lnTo>
                  <a:cubicBezTo>
                    <a:pt x="160085" y="103153"/>
                    <a:pt x="149889" y="113516"/>
                    <a:pt x="137308" y="113623"/>
                  </a:cubicBezTo>
                  <a:lnTo>
                    <a:pt x="18459" y="114583"/>
                  </a:lnTo>
                  <a:cubicBezTo>
                    <a:pt x="5879" y="114682"/>
                    <a:pt x="-4484" y="104479"/>
                    <a:pt x="-4591" y="91906"/>
                  </a:cubicBezTo>
                  <a:lnTo>
                    <a:pt x="-5155" y="21451"/>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0" name="Freeform: Shape 219">
              <a:extLst>
                <a:ext uri="{FF2B5EF4-FFF2-40B4-BE49-F238E27FC236}">
                  <a16:creationId xmlns:a16="http://schemas.microsoft.com/office/drawing/2014/main" id="{3ABC5243-BDCF-8D4E-303F-A573642D5EA4}"/>
                </a:ext>
              </a:extLst>
            </p:cNvPr>
            <p:cNvSpPr/>
            <p:nvPr/>
          </p:nvSpPr>
          <p:spPr>
            <a:xfrm flipV="1">
              <a:off x="5614892" y="5137106"/>
              <a:ext cx="110008" cy="78026"/>
            </a:xfrm>
            <a:custGeom>
              <a:avLst/>
              <a:gdLst>
                <a:gd name="connsiteX0" fmla="*/ -4910 w 165149"/>
                <a:gd name="connsiteY0" fmla="*/ 21448 h 117136"/>
                <a:gd name="connsiteX1" fmla="*/ 17775 w 165149"/>
                <a:gd name="connsiteY1" fmla="*/ -1594 h 117136"/>
                <a:gd name="connsiteX2" fmla="*/ 136632 w 165149"/>
                <a:gd name="connsiteY2" fmla="*/ -2555 h 117136"/>
                <a:gd name="connsiteX3" fmla="*/ 159675 w 165149"/>
                <a:gd name="connsiteY3" fmla="*/ 20130 h 117136"/>
                <a:gd name="connsiteX4" fmla="*/ 160239 w 165149"/>
                <a:gd name="connsiteY4" fmla="*/ 90577 h 117136"/>
                <a:gd name="connsiteX5" fmla="*/ 137569 w 165149"/>
                <a:gd name="connsiteY5" fmla="*/ 113620 h 117136"/>
                <a:gd name="connsiteX6" fmla="*/ 18705 w 165149"/>
                <a:gd name="connsiteY6" fmla="*/ 114580 h 117136"/>
                <a:gd name="connsiteX7" fmla="*/ -4338 w 165149"/>
                <a:gd name="connsiteY7" fmla="*/ 91903 h 117136"/>
                <a:gd name="connsiteX8" fmla="*/ -4910 w 165149"/>
                <a:gd name="connsiteY8" fmla="*/ 21448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36">
                  <a:moveTo>
                    <a:pt x="-4910" y="21448"/>
                  </a:moveTo>
                  <a:cubicBezTo>
                    <a:pt x="-5001" y="8875"/>
                    <a:pt x="5195" y="-1488"/>
                    <a:pt x="17775" y="-1594"/>
                  </a:cubicBezTo>
                  <a:lnTo>
                    <a:pt x="136632" y="-2555"/>
                  </a:lnTo>
                  <a:cubicBezTo>
                    <a:pt x="149205" y="-2654"/>
                    <a:pt x="159568" y="7550"/>
                    <a:pt x="159675" y="20130"/>
                  </a:cubicBezTo>
                  <a:lnTo>
                    <a:pt x="160239" y="90577"/>
                  </a:lnTo>
                  <a:cubicBezTo>
                    <a:pt x="160345" y="103150"/>
                    <a:pt x="150135" y="113521"/>
                    <a:pt x="137569" y="113620"/>
                  </a:cubicBezTo>
                  <a:lnTo>
                    <a:pt x="18705" y="114580"/>
                  </a:lnTo>
                  <a:cubicBezTo>
                    <a:pt x="6139" y="114679"/>
                    <a:pt x="-4239" y="104476"/>
                    <a:pt x="-4338" y="91903"/>
                  </a:cubicBezTo>
                  <a:lnTo>
                    <a:pt x="-4910" y="21448"/>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1" name="Freeform: Shape 220">
              <a:extLst>
                <a:ext uri="{FF2B5EF4-FFF2-40B4-BE49-F238E27FC236}">
                  <a16:creationId xmlns:a16="http://schemas.microsoft.com/office/drawing/2014/main" id="{D32CCF43-6904-280C-4C81-520EF80B4B20}"/>
                </a:ext>
              </a:extLst>
            </p:cNvPr>
            <p:cNvSpPr/>
            <p:nvPr/>
          </p:nvSpPr>
          <p:spPr>
            <a:xfrm flipV="1">
              <a:off x="5471014" y="5135948"/>
              <a:ext cx="109999" cy="78021"/>
            </a:xfrm>
            <a:custGeom>
              <a:avLst/>
              <a:gdLst>
                <a:gd name="connsiteX0" fmla="*/ -4664 w 165134"/>
                <a:gd name="connsiteY0" fmla="*/ 21438 h 117128"/>
                <a:gd name="connsiteX1" fmla="*/ 18006 w 165134"/>
                <a:gd name="connsiteY1" fmla="*/ -1605 h 117128"/>
                <a:gd name="connsiteX2" fmla="*/ 136862 w 165134"/>
                <a:gd name="connsiteY2" fmla="*/ -2557 h 117128"/>
                <a:gd name="connsiteX3" fmla="*/ 159905 w 165134"/>
                <a:gd name="connsiteY3" fmla="*/ 20120 h 117128"/>
                <a:gd name="connsiteX4" fmla="*/ 160469 w 165134"/>
                <a:gd name="connsiteY4" fmla="*/ 90567 h 117128"/>
                <a:gd name="connsiteX5" fmla="*/ 137800 w 165134"/>
                <a:gd name="connsiteY5" fmla="*/ 113617 h 117128"/>
                <a:gd name="connsiteX6" fmla="*/ 18943 w 165134"/>
                <a:gd name="connsiteY6" fmla="*/ 114570 h 117128"/>
                <a:gd name="connsiteX7" fmla="*/ -4100 w 165134"/>
                <a:gd name="connsiteY7" fmla="*/ 91900 h 117128"/>
                <a:gd name="connsiteX8" fmla="*/ -4664 w 165134"/>
                <a:gd name="connsiteY8" fmla="*/ 21438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34" h="117128">
                  <a:moveTo>
                    <a:pt x="-4664" y="21438"/>
                  </a:moveTo>
                  <a:cubicBezTo>
                    <a:pt x="-4771" y="8873"/>
                    <a:pt x="5433" y="-1498"/>
                    <a:pt x="18006" y="-1605"/>
                  </a:cubicBezTo>
                  <a:lnTo>
                    <a:pt x="136862" y="-2557"/>
                  </a:lnTo>
                  <a:cubicBezTo>
                    <a:pt x="149435" y="-2656"/>
                    <a:pt x="159806" y="7547"/>
                    <a:pt x="159905" y="20120"/>
                  </a:cubicBezTo>
                  <a:lnTo>
                    <a:pt x="160469" y="90567"/>
                  </a:lnTo>
                  <a:cubicBezTo>
                    <a:pt x="160576" y="103147"/>
                    <a:pt x="150373" y="113511"/>
                    <a:pt x="137800" y="113617"/>
                  </a:cubicBezTo>
                  <a:lnTo>
                    <a:pt x="18943" y="114570"/>
                  </a:lnTo>
                  <a:cubicBezTo>
                    <a:pt x="6370" y="114669"/>
                    <a:pt x="-4001" y="104466"/>
                    <a:pt x="-4100" y="91900"/>
                  </a:cubicBezTo>
                  <a:lnTo>
                    <a:pt x="-4664" y="21438"/>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2" name="Freeform: Shape 221">
              <a:extLst>
                <a:ext uri="{FF2B5EF4-FFF2-40B4-BE49-F238E27FC236}">
                  <a16:creationId xmlns:a16="http://schemas.microsoft.com/office/drawing/2014/main" id="{D5F86877-8B90-1A03-B063-9A7CC2655374}"/>
                </a:ext>
              </a:extLst>
            </p:cNvPr>
            <p:cNvSpPr/>
            <p:nvPr/>
          </p:nvSpPr>
          <p:spPr>
            <a:xfrm flipV="1">
              <a:off x="5327124" y="5134786"/>
              <a:ext cx="110008" cy="78026"/>
            </a:xfrm>
            <a:custGeom>
              <a:avLst/>
              <a:gdLst>
                <a:gd name="connsiteX0" fmla="*/ -4418 w 165149"/>
                <a:gd name="connsiteY0" fmla="*/ 21443 h 117136"/>
                <a:gd name="connsiteX1" fmla="*/ 18259 w 165149"/>
                <a:gd name="connsiteY1" fmla="*/ -1600 h 117136"/>
                <a:gd name="connsiteX2" fmla="*/ 137116 w 165149"/>
                <a:gd name="connsiteY2" fmla="*/ -2560 h 117136"/>
                <a:gd name="connsiteX3" fmla="*/ 160159 w 165149"/>
                <a:gd name="connsiteY3" fmla="*/ 20117 h 117136"/>
                <a:gd name="connsiteX4" fmla="*/ 160730 w 165149"/>
                <a:gd name="connsiteY4" fmla="*/ 90572 h 117136"/>
                <a:gd name="connsiteX5" fmla="*/ 138045 w 165149"/>
                <a:gd name="connsiteY5" fmla="*/ 113615 h 117136"/>
                <a:gd name="connsiteX6" fmla="*/ 19196 w 165149"/>
                <a:gd name="connsiteY6" fmla="*/ 114575 h 117136"/>
                <a:gd name="connsiteX7" fmla="*/ -3854 w 165149"/>
                <a:gd name="connsiteY7" fmla="*/ 91898 h 117136"/>
                <a:gd name="connsiteX8" fmla="*/ -4418 w 165149"/>
                <a:gd name="connsiteY8" fmla="*/ 21443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36">
                  <a:moveTo>
                    <a:pt x="-4418" y="21443"/>
                  </a:moveTo>
                  <a:cubicBezTo>
                    <a:pt x="-4525" y="8870"/>
                    <a:pt x="5686" y="-1501"/>
                    <a:pt x="18259" y="-1600"/>
                  </a:cubicBezTo>
                  <a:lnTo>
                    <a:pt x="137116" y="-2560"/>
                  </a:lnTo>
                  <a:cubicBezTo>
                    <a:pt x="149689" y="-2659"/>
                    <a:pt x="160060" y="7544"/>
                    <a:pt x="160159" y="20117"/>
                  </a:cubicBezTo>
                  <a:lnTo>
                    <a:pt x="160730" y="90572"/>
                  </a:lnTo>
                  <a:cubicBezTo>
                    <a:pt x="160822" y="103145"/>
                    <a:pt x="150626" y="113508"/>
                    <a:pt x="138045" y="113615"/>
                  </a:cubicBezTo>
                  <a:lnTo>
                    <a:pt x="19196" y="114575"/>
                  </a:lnTo>
                  <a:cubicBezTo>
                    <a:pt x="6616" y="114674"/>
                    <a:pt x="-3748" y="104463"/>
                    <a:pt x="-3854" y="91898"/>
                  </a:cubicBezTo>
                  <a:lnTo>
                    <a:pt x="-4418" y="21443"/>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3" name="Freeform: Shape 222">
              <a:extLst>
                <a:ext uri="{FF2B5EF4-FFF2-40B4-BE49-F238E27FC236}">
                  <a16:creationId xmlns:a16="http://schemas.microsoft.com/office/drawing/2014/main" id="{DA31DEB9-4A28-E70D-4205-66196FA944AD}"/>
                </a:ext>
              </a:extLst>
            </p:cNvPr>
            <p:cNvSpPr/>
            <p:nvPr/>
          </p:nvSpPr>
          <p:spPr>
            <a:xfrm flipV="1">
              <a:off x="5183235" y="5133629"/>
              <a:ext cx="110008" cy="78021"/>
            </a:xfrm>
            <a:custGeom>
              <a:avLst/>
              <a:gdLst>
                <a:gd name="connsiteX0" fmla="*/ -4173 w 165149"/>
                <a:gd name="connsiteY0" fmla="*/ 21433 h 117128"/>
                <a:gd name="connsiteX1" fmla="*/ 18505 w 165149"/>
                <a:gd name="connsiteY1" fmla="*/ -1610 h 117128"/>
                <a:gd name="connsiteX2" fmla="*/ 137369 w 165149"/>
                <a:gd name="connsiteY2" fmla="*/ -2562 h 117128"/>
                <a:gd name="connsiteX3" fmla="*/ 160412 w 165149"/>
                <a:gd name="connsiteY3" fmla="*/ 20107 h 117128"/>
                <a:gd name="connsiteX4" fmla="*/ 160976 w 165149"/>
                <a:gd name="connsiteY4" fmla="*/ 90562 h 117128"/>
                <a:gd name="connsiteX5" fmla="*/ 138306 w 165149"/>
                <a:gd name="connsiteY5" fmla="*/ 113605 h 117128"/>
                <a:gd name="connsiteX6" fmla="*/ 19442 w 165149"/>
                <a:gd name="connsiteY6" fmla="*/ 114565 h 117128"/>
                <a:gd name="connsiteX7" fmla="*/ -3601 w 165149"/>
                <a:gd name="connsiteY7" fmla="*/ 91888 h 117128"/>
                <a:gd name="connsiteX8" fmla="*/ -4173 w 165149"/>
                <a:gd name="connsiteY8" fmla="*/ 21433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4173" y="21433"/>
                  </a:moveTo>
                  <a:cubicBezTo>
                    <a:pt x="-4264" y="8860"/>
                    <a:pt x="5932" y="-1511"/>
                    <a:pt x="18505" y="-1610"/>
                  </a:cubicBezTo>
                  <a:lnTo>
                    <a:pt x="137369" y="-2562"/>
                  </a:lnTo>
                  <a:cubicBezTo>
                    <a:pt x="149942" y="-2669"/>
                    <a:pt x="160305" y="7534"/>
                    <a:pt x="160412" y="20107"/>
                  </a:cubicBezTo>
                  <a:lnTo>
                    <a:pt x="160976" y="90562"/>
                  </a:lnTo>
                  <a:cubicBezTo>
                    <a:pt x="161082" y="103135"/>
                    <a:pt x="150872" y="113506"/>
                    <a:pt x="138306" y="113605"/>
                  </a:cubicBezTo>
                  <a:lnTo>
                    <a:pt x="19442" y="114565"/>
                  </a:lnTo>
                  <a:cubicBezTo>
                    <a:pt x="6876" y="114664"/>
                    <a:pt x="-3502" y="104461"/>
                    <a:pt x="-3601" y="91888"/>
                  </a:cubicBezTo>
                  <a:lnTo>
                    <a:pt x="-4173" y="21433"/>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4" name="Freeform: Shape 223">
              <a:extLst>
                <a:ext uri="{FF2B5EF4-FFF2-40B4-BE49-F238E27FC236}">
                  <a16:creationId xmlns:a16="http://schemas.microsoft.com/office/drawing/2014/main" id="{D40EF2DE-1802-17F8-E3AC-E09B3C145CDF}"/>
                </a:ext>
              </a:extLst>
            </p:cNvPr>
            <p:cNvSpPr/>
            <p:nvPr/>
          </p:nvSpPr>
          <p:spPr>
            <a:xfrm flipV="1">
              <a:off x="5039357" y="5132472"/>
              <a:ext cx="109999" cy="78021"/>
            </a:xfrm>
            <a:custGeom>
              <a:avLst/>
              <a:gdLst>
                <a:gd name="connsiteX0" fmla="*/ -3927 w 165134"/>
                <a:gd name="connsiteY0" fmla="*/ 21431 h 117128"/>
                <a:gd name="connsiteX1" fmla="*/ 18743 w 165134"/>
                <a:gd name="connsiteY1" fmla="*/ -1605 h 117128"/>
                <a:gd name="connsiteX2" fmla="*/ 137599 w 165134"/>
                <a:gd name="connsiteY2" fmla="*/ -2565 h 117128"/>
                <a:gd name="connsiteX3" fmla="*/ 160643 w 165134"/>
                <a:gd name="connsiteY3" fmla="*/ 20112 h 117128"/>
                <a:gd name="connsiteX4" fmla="*/ 161206 w 165134"/>
                <a:gd name="connsiteY4" fmla="*/ 90559 h 117128"/>
                <a:gd name="connsiteX5" fmla="*/ 138537 w 165134"/>
                <a:gd name="connsiteY5" fmla="*/ 113602 h 117128"/>
                <a:gd name="connsiteX6" fmla="*/ 19680 w 165134"/>
                <a:gd name="connsiteY6" fmla="*/ 114562 h 117128"/>
                <a:gd name="connsiteX7" fmla="*/ -3363 w 165134"/>
                <a:gd name="connsiteY7" fmla="*/ 91885 h 117128"/>
                <a:gd name="connsiteX8" fmla="*/ -3927 w 165134"/>
                <a:gd name="connsiteY8" fmla="*/ 21431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34" h="117128">
                  <a:moveTo>
                    <a:pt x="-3927" y="21431"/>
                  </a:moveTo>
                  <a:cubicBezTo>
                    <a:pt x="-4034" y="8865"/>
                    <a:pt x="6170" y="-1506"/>
                    <a:pt x="18743" y="-1605"/>
                  </a:cubicBezTo>
                  <a:lnTo>
                    <a:pt x="137599" y="-2565"/>
                  </a:lnTo>
                  <a:cubicBezTo>
                    <a:pt x="150172" y="-2672"/>
                    <a:pt x="160543" y="7539"/>
                    <a:pt x="160643" y="20112"/>
                  </a:cubicBezTo>
                  <a:lnTo>
                    <a:pt x="161206" y="90559"/>
                  </a:lnTo>
                  <a:cubicBezTo>
                    <a:pt x="161313" y="103132"/>
                    <a:pt x="151110" y="113503"/>
                    <a:pt x="138537" y="113602"/>
                  </a:cubicBezTo>
                  <a:lnTo>
                    <a:pt x="19680" y="114562"/>
                  </a:lnTo>
                  <a:cubicBezTo>
                    <a:pt x="7107" y="114661"/>
                    <a:pt x="-3256" y="104458"/>
                    <a:pt x="-3363" y="91885"/>
                  </a:cubicBezTo>
                  <a:lnTo>
                    <a:pt x="-3927" y="21431"/>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5" name="Freeform: Shape 224">
              <a:extLst>
                <a:ext uri="{FF2B5EF4-FFF2-40B4-BE49-F238E27FC236}">
                  <a16:creationId xmlns:a16="http://schemas.microsoft.com/office/drawing/2014/main" id="{B643CC04-384A-E25F-8881-036A046F4E00}"/>
                </a:ext>
              </a:extLst>
            </p:cNvPr>
            <p:cNvSpPr/>
            <p:nvPr/>
          </p:nvSpPr>
          <p:spPr>
            <a:xfrm flipV="1">
              <a:off x="4895467" y="5131314"/>
              <a:ext cx="110008" cy="78021"/>
            </a:xfrm>
            <a:custGeom>
              <a:avLst/>
              <a:gdLst>
                <a:gd name="connsiteX0" fmla="*/ -3681 w 165149"/>
                <a:gd name="connsiteY0" fmla="*/ 21428 h 117128"/>
                <a:gd name="connsiteX1" fmla="*/ 18996 w 165149"/>
                <a:gd name="connsiteY1" fmla="*/ -1607 h 117128"/>
                <a:gd name="connsiteX2" fmla="*/ 137853 w 165149"/>
                <a:gd name="connsiteY2" fmla="*/ -2568 h 117128"/>
                <a:gd name="connsiteX3" fmla="*/ 160896 w 165149"/>
                <a:gd name="connsiteY3" fmla="*/ 20110 h 117128"/>
                <a:gd name="connsiteX4" fmla="*/ 161467 w 165149"/>
                <a:gd name="connsiteY4" fmla="*/ 90564 h 117128"/>
                <a:gd name="connsiteX5" fmla="*/ 138782 w 165149"/>
                <a:gd name="connsiteY5" fmla="*/ 113607 h 117128"/>
                <a:gd name="connsiteX6" fmla="*/ 19933 w 165149"/>
                <a:gd name="connsiteY6" fmla="*/ 114559 h 117128"/>
                <a:gd name="connsiteX7" fmla="*/ -3117 w 165149"/>
                <a:gd name="connsiteY7" fmla="*/ 91890 h 117128"/>
                <a:gd name="connsiteX8" fmla="*/ -3681 w 165149"/>
                <a:gd name="connsiteY8" fmla="*/ 21428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3681" y="21428"/>
                  </a:moveTo>
                  <a:cubicBezTo>
                    <a:pt x="-3788" y="8862"/>
                    <a:pt x="6423" y="-1508"/>
                    <a:pt x="18996" y="-1607"/>
                  </a:cubicBezTo>
                  <a:lnTo>
                    <a:pt x="137853" y="-2568"/>
                  </a:lnTo>
                  <a:cubicBezTo>
                    <a:pt x="150426" y="-2667"/>
                    <a:pt x="160797" y="7537"/>
                    <a:pt x="160896" y="20110"/>
                  </a:cubicBezTo>
                  <a:lnTo>
                    <a:pt x="161467" y="90564"/>
                  </a:lnTo>
                  <a:cubicBezTo>
                    <a:pt x="161566" y="103137"/>
                    <a:pt x="151363" y="113508"/>
                    <a:pt x="138782" y="113607"/>
                  </a:cubicBezTo>
                  <a:lnTo>
                    <a:pt x="19933" y="114559"/>
                  </a:lnTo>
                  <a:cubicBezTo>
                    <a:pt x="7353" y="114658"/>
                    <a:pt x="-3011" y="104455"/>
                    <a:pt x="-3117" y="91890"/>
                  </a:cubicBezTo>
                  <a:lnTo>
                    <a:pt x="-3681" y="21428"/>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6" name="Freeform: Shape 225">
              <a:extLst>
                <a:ext uri="{FF2B5EF4-FFF2-40B4-BE49-F238E27FC236}">
                  <a16:creationId xmlns:a16="http://schemas.microsoft.com/office/drawing/2014/main" id="{2C82D08D-2561-23B5-15AD-F6C962B88D1D}"/>
                </a:ext>
              </a:extLst>
            </p:cNvPr>
            <p:cNvSpPr/>
            <p:nvPr/>
          </p:nvSpPr>
          <p:spPr>
            <a:xfrm flipV="1">
              <a:off x="4751578" y="5130152"/>
              <a:ext cx="110008" cy="78026"/>
            </a:xfrm>
            <a:custGeom>
              <a:avLst/>
              <a:gdLst>
                <a:gd name="connsiteX0" fmla="*/ -3436 w 165149"/>
                <a:gd name="connsiteY0" fmla="*/ 21433 h 117136"/>
                <a:gd name="connsiteX1" fmla="*/ 19241 w 165149"/>
                <a:gd name="connsiteY1" fmla="*/ -1610 h 117136"/>
                <a:gd name="connsiteX2" fmla="*/ 138106 w 165149"/>
                <a:gd name="connsiteY2" fmla="*/ -2570 h 117136"/>
                <a:gd name="connsiteX3" fmla="*/ 161149 w 165149"/>
                <a:gd name="connsiteY3" fmla="*/ 20107 h 117136"/>
                <a:gd name="connsiteX4" fmla="*/ 161713 w 165149"/>
                <a:gd name="connsiteY4" fmla="*/ 90561 h 117136"/>
                <a:gd name="connsiteX5" fmla="*/ 139043 w 165149"/>
                <a:gd name="connsiteY5" fmla="*/ 113604 h 117136"/>
                <a:gd name="connsiteX6" fmla="*/ 20179 w 165149"/>
                <a:gd name="connsiteY6" fmla="*/ 114564 h 117136"/>
                <a:gd name="connsiteX7" fmla="*/ -2864 w 165149"/>
                <a:gd name="connsiteY7" fmla="*/ 91887 h 117136"/>
                <a:gd name="connsiteX8" fmla="*/ -3436 w 165149"/>
                <a:gd name="connsiteY8" fmla="*/ 21433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36">
                  <a:moveTo>
                    <a:pt x="-3436" y="21433"/>
                  </a:moveTo>
                  <a:cubicBezTo>
                    <a:pt x="-3527" y="8860"/>
                    <a:pt x="6668" y="-1511"/>
                    <a:pt x="19241" y="-1610"/>
                  </a:cubicBezTo>
                  <a:lnTo>
                    <a:pt x="138106" y="-2570"/>
                  </a:lnTo>
                  <a:cubicBezTo>
                    <a:pt x="150679" y="-2669"/>
                    <a:pt x="161042" y="7534"/>
                    <a:pt x="161149" y="20107"/>
                  </a:cubicBezTo>
                  <a:lnTo>
                    <a:pt x="161713" y="90561"/>
                  </a:lnTo>
                  <a:cubicBezTo>
                    <a:pt x="161812" y="103134"/>
                    <a:pt x="151608" y="113505"/>
                    <a:pt x="139043" y="113604"/>
                  </a:cubicBezTo>
                  <a:lnTo>
                    <a:pt x="20179" y="114564"/>
                  </a:lnTo>
                  <a:cubicBezTo>
                    <a:pt x="7613" y="114663"/>
                    <a:pt x="-2765" y="104460"/>
                    <a:pt x="-2864" y="91887"/>
                  </a:cubicBezTo>
                  <a:lnTo>
                    <a:pt x="-3436" y="21433"/>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7" name="Freeform: Shape 226">
              <a:extLst>
                <a:ext uri="{FF2B5EF4-FFF2-40B4-BE49-F238E27FC236}">
                  <a16:creationId xmlns:a16="http://schemas.microsoft.com/office/drawing/2014/main" id="{05866837-9A3A-C5E4-333C-64CDCE96731E}"/>
                </a:ext>
              </a:extLst>
            </p:cNvPr>
            <p:cNvSpPr/>
            <p:nvPr/>
          </p:nvSpPr>
          <p:spPr>
            <a:xfrm flipV="1">
              <a:off x="4607700" y="5128995"/>
              <a:ext cx="109999" cy="78021"/>
            </a:xfrm>
            <a:custGeom>
              <a:avLst/>
              <a:gdLst>
                <a:gd name="connsiteX0" fmla="*/ -3190 w 165134"/>
                <a:gd name="connsiteY0" fmla="*/ 21430 h 117128"/>
                <a:gd name="connsiteX1" fmla="*/ 19480 w 165134"/>
                <a:gd name="connsiteY1" fmla="*/ -1620 h 117128"/>
                <a:gd name="connsiteX2" fmla="*/ 138337 w 165134"/>
                <a:gd name="connsiteY2" fmla="*/ -2573 h 117128"/>
                <a:gd name="connsiteX3" fmla="*/ 161379 w 165134"/>
                <a:gd name="connsiteY3" fmla="*/ 20097 h 117128"/>
                <a:gd name="connsiteX4" fmla="*/ 161943 w 165134"/>
                <a:gd name="connsiteY4" fmla="*/ 90552 h 117128"/>
                <a:gd name="connsiteX5" fmla="*/ 139274 w 165134"/>
                <a:gd name="connsiteY5" fmla="*/ 113594 h 117128"/>
                <a:gd name="connsiteX6" fmla="*/ 20417 w 165134"/>
                <a:gd name="connsiteY6" fmla="*/ 114555 h 117128"/>
                <a:gd name="connsiteX7" fmla="*/ -2626 w 165134"/>
                <a:gd name="connsiteY7" fmla="*/ 91877 h 117128"/>
                <a:gd name="connsiteX8" fmla="*/ -3190 w 165134"/>
                <a:gd name="connsiteY8" fmla="*/ 21430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34" h="117128">
                  <a:moveTo>
                    <a:pt x="-3190" y="21430"/>
                  </a:moveTo>
                  <a:cubicBezTo>
                    <a:pt x="-3297" y="8850"/>
                    <a:pt x="6907" y="-1513"/>
                    <a:pt x="19480" y="-1620"/>
                  </a:cubicBezTo>
                  <a:lnTo>
                    <a:pt x="138337" y="-2573"/>
                  </a:lnTo>
                  <a:cubicBezTo>
                    <a:pt x="150910" y="-2679"/>
                    <a:pt x="161280" y="7524"/>
                    <a:pt x="161379" y="20097"/>
                  </a:cubicBezTo>
                  <a:lnTo>
                    <a:pt x="161943" y="90552"/>
                  </a:lnTo>
                  <a:cubicBezTo>
                    <a:pt x="162050" y="103125"/>
                    <a:pt x="151847" y="113495"/>
                    <a:pt x="139274" y="113594"/>
                  </a:cubicBezTo>
                  <a:lnTo>
                    <a:pt x="20417" y="114555"/>
                  </a:lnTo>
                  <a:cubicBezTo>
                    <a:pt x="7844" y="114654"/>
                    <a:pt x="-2527" y="104450"/>
                    <a:pt x="-2626" y="91877"/>
                  </a:cubicBezTo>
                  <a:lnTo>
                    <a:pt x="-3190" y="21430"/>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8" name="Freeform: Shape 227">
              <a:extLst>
                <a:ext uri="{FF2B5EF4-FFF2-40B4-BE49-F238E27FC236}">
                  <a16:creationId xmlns:a16="http://schemas.microsoft.com/office/drawing/2014/main" id="{E502F9F8-5267-9B3F-2F1E-C9B1DF068E1A}"/>
                </a:ext>
              </a:extLst>
            </p:cNvPr>
            <p:cNvSpPr/>
            <p:nvPr/>
          </p:nvSpPr>
          <p:spPr>
            <a:xfrm flipV="1">
              <a:off x="4463811" y="5127838"/>
              <a:ext cx="110008" cy="78021"/>
            </a:xfrm>
            <a:custGeom>
              <a:avLst/>
              <a:gdLst>
                <a:gd name="connsiteX0" fmla="*/ -2944 w 165149"/>
                <a:gd name="connsiteY0" fmla="*/ 21428 h 117128"/>
                <a:gd name="connsiteX1" fmla="*/ 19733 w 165149"/>
                <a:gd name="connsiteY1" fmla="*/ -1615 h 117128"/>
                <a:gd name="connsiteX2" fmla="*/ 138590 w 165149"/>
                <a:gd name="connsiteY2" fmla="*/ -2575 h 117128"/>
                <a:gd name="connsiteX3" fmla="*/ 161633 w 165149"/>
                <a:gd name="connsiteY3" fmla="*/ 20102 h 117128"/>
                <a:gd name="connsiteX4" fmla="*/ 162204 w 165149"/>
                <a:gd name="connsiteY4" fmla="*/ 90549 h 117128"/>
                <a:gd name="connsiteX5" fmla="*/ 139519 w 165149"/>
                <a:gd name="connsiteY5" fmla="*/ 113599 h 117128"/>
                <a:gd name="connsiteX6" fmla="*/ 20670 w 165149"/>
                <a:gd name="connsiteY6" fmla="*/ 114552 h 117128"/>
                <a:gd name="connsiteX7" fmla="*/ -2380 w 165149"/>
                <a:gd name="connsiteY7" fmla="*/ 91882 h 117128"/>
                <a:gd name="connsiteX8" fmla="*/ -2944 w 165149"/>
                <a:gd name="connsiteY8" fmla="*/ 21428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2944" y="21428"/>
                  </a:moveTo>
                  <a:cubicBezTo>
                    <a:pt x="-3051" y="8855"/>
                    <a:pt x="7160" y="-1516"/>
                    <a:pt x="19733" y="-1615"/>
                  </a:cubicBezTo>
                  <a:lnTo>
                    <a:pt x="138590" y="-2575"/>
                  </a:lnTo>
                  <a:cubicBezTo>
                    <a:pt x="151163" y="-2682"/>
                    <a:pt x="161534" y="7529"/>
                    <a:pt x="161633" y="20102"/>
                  </a:cubicBezTo>
                  <a:lnTo>
                    <a:pt x="162204" y="90549"/>
                  </a:lnTo>
                  <a:cubicBezTo>
                    <a:pt x="162303" y="103122"/>
                    <a:pt x="152100" y="113493"/>
                    <a:pt x="139519" y="113599"/>
                  </a:cubicBezTo>
                  <a:lnTo>
                    <a:pt x="20670" y="114552"/>
                  </a:lnTo>
                  <a:cubicBezTo>
                    <a:pt x="8090" y="114651"/>
                    <a:pt x="-2274" y="104455"/>
                    <a:pt x="-2380" y="91882"/>
                  </a:cubicBezTo>
                  <a:lnTo>
                    <a:pt x="-2944" y="21428"/>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9" name="Freeform: Shape 228">
              <a:extLst>
                <a:ext uri="{FF2B5EF4-FFF2-40B4-BE49-F238E27FC236}">
                  <a16:creationId xmlns:a16="http://schemas.microsoft.com/office/drawing/2014/main" id="{4637670A-FF26-9FAE-9EA6-6155D6A72E9A}"/>
                </a:ext>
              </a:extLst>
            </p:cNvPr>
            <p:cNvSpPr/>
            <p:nvPr/>
          </p:nvSpPr>
          <p:spPr>
            <a:xfrm flipV="1">
              <a:off x="4319927" y="5126680"/>
              <a:ext cx="110004" cy="78021"/>
            </a:xfrm>
            <a:custGeom>
              <a:avLst/>
              <a:gdLst>
                <a:gd name="connsiteX0" fmla="*/ -2698 w 165142"/>
                <a:gd name="connsiteY0" fmla="*/ 21425 h 117128"/>
                <a:gd name="connsiteX1" fmla="*/ 19971 w 165142"/>
                <a:gd name="connsiteY1" fmla="*/ -1618 h 117128"/>
                <a:gd name="connsiteX2" fmla="*/ 138836 w 165142"/>
                <a:gd name="connsiteY2" fmla="*/ -2578 h 117128"/>
                <a:gd name="connsiteX3" fmla="*/ 161879 w 165142"/>
                <a:gd name="connsiteY3" fmla="*/ 20099 h 117128"/>
                <a:gd name="connsiteX4" fmla="*/ 162442 w 165142"/>
                <a:gd name="connsiteY4" fmla="*/ 90554 h 117128"/>
                <a:gd name="connsiteX5" fmla="*/ 139773 w 165142"/>
                <a:gd name="connsiteY5" fmla="*/ 113597 h 117128"/>
                <a:gd name="connsiteX6" fmla="*/ 20909 w 165142"/>
                <a:gd name="connsiteY6" fmla="*/ 114549 h 117128"/>
                <a:gd name="connsiteX7" fmla="*/ -2134 w 165142"/>
                <a:gd name="connsiteY7" fmla="*/ 91880 h 117128"/>
                <a:gd name="connsiteX8" fmla="*/ -2698 w 165142"/>
                <a:gd name="connsiteY8" fmla="*/ 21425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2698" y="21425"/>
                  </a:moveTo>
                  <a:cubicBezTo>
                    <a:pt x="-2805" y="8852"/>
                    <a:pt x="7398" y="-1519"/>
                    <a:pt x="19971" y="-1618"/>
                  </a:cubicBezTo>
                  <a:lnTo>
                    <a:pt x="138836" y="-2578"/>
                  </a:lnTo>
                  <a:cubicBezTo>
                    <a:pt x="151409" y="-2677"/>
                    <a:pt x="161772" y="7526"/>
                    <a:pt x="161879" y="20099"/>
                  </a:cubicBezTo>
                  <a:lnTo>
                    <a:pt x="162442" y="90554"/>
                  </a:lnTo>
                  <a:cubicBezTo>
                    <a:pt x="162541" y="103127"/>
                    <a:pt x="152338" y="113498"/>
                    <a:pt x="139773" y="113597"/>
                  </a:cubicBezTo>
                  <a:lnTo>
                    <a:pt x="20909" y="114549"/>
                  </a:lnTo>
                  <a:cubicBezTo>
                    <a:pt x="8336" y="114656"/>
                    <a:pt x="-2035" y="104453"/>
                    <a:pt x="-2134" y="91880"/>
                  </a:cubicBezTo>
                  <a:lnTo>
                    <a:pt x="-2698" y="21425"/>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30" name="Freeform: Shape 229">
              <a:extLst>
                <a:ext uri="{FF2B5EF4-FFF2-40B4-BE49-F238E27FC236}">
                  <a16:creationId xmlns:a16="http://schemas.microsoft.com/office/drawing/2014/main" id="{FD6BD94A-697D-02BF-9FE4-36F928CF030F}"/>
                </a:ext>
              </a:extLst>
            </p:cNvPr>
            <p:cNvSpPr/>
            <p:nvPr/>
          </p:nvSpPr>
          <p:spPr>
            <a:xfrm flipV="1">
              <a:off x="5614238" y="5335606"/>
              <a:ext cx="251187" cy="78812"/>
            </a:xfrm>
            <a:custGeom>
              <a:avLst/>
              <a:gdLst>
                <a:gd name="connsiteX0" fmla="*/ -5030 w 377091"/>
                <a:gd name="connsiteY0" fmla="*/ 914 h 118315"/>
                <a:gd name="connsiteX1" fmla="*/ 371132 w 377091"/>
                <a:gd name="connsiteY1" fmla="*/ -2111 h 118315"/>
                <a:gd name="connsiteX2" fmla="*/ 372061 w 377091"/>
                <a:gd name="connsiteY2" fmla="*/ 113172 h 118315"/>
                <a:gd name="connsiteX3" fmla="*/ -4092 w 377091"/>
                <a:gd name="connsiteY3" fmla="*/ 116205 h 118315"/>
                <a:gd name="connsiteX4" fmla="*/ -5030 w 377091"/>
                <a:gd name="connsiteY4" fmla="*/ 914 h 118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091" h="118315">
                  <a:moveTo>
                    <a:pt x="-5030" y="914"/>
                  </a:moveTo>
                  <a:lnTo>
                    <a:pt x="371132" y="-2111"/>
                  </a:lnTo>
                  <a:lnTo>
                    <a:pt x="372061" y="113172"/>
                  </a:lnTo>
                  <a:lnTo>
                    <a:pt x="-4092" y="116205"/>
                  </a:lnTo>
                  <a:lnTo>
                    <a:pt x="-5030" y="914"/>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31" name="Freeform: Shape 230">
              <a:extLst>
                <a:ext uri="{FF2B5EF4-FFF2-40B4-BE49-F238E27FC236}">
                  <a16:creationId xmlns:a16="http://schemas.microsoft.com/office/drawing/2014/main" id="{E9341766-F593-DDDE-1338-A25C54CD4A64}"/>
                </a:ext>
              </a:extLst>
            </p:cNvPr>
            <p:cNvSpPr/>
            <p:nvPr/>
          </p:nvSpPr>
          <p:spPr>
            <a:xfrm flipV="1">
              <a:off x="4752071" y="5428934"/>
              <a:ext cx="830225" cy="78869"/>
            </a:xfrm>
            <a:custGeom>
              <a:avLst/>
              <a:gdLst>
                <a:gd name="connsiteX0" fmla="*/ -4051 w 1246366"/>
                <a:gd name="connsiteY0" fmla="*/ 30811 h 118401"/>
                <a:gd name="connsiteX1" fmla="*/ 18618 w 1246366"/>
                <a:gd name="connsiteY1" fmla="*/ 7768 h 118401"/>
                <a:gd name="connsiteX2" fmla="*/ 1218768 w 1246366"/>
                <a:gd name="connsiteY2" fmla="*/ -1902 h 118401"/>
                <a:gd name="connsiteX3" fmla="*/ 1241804 w 1246366"/>
                <a:gd name="connsiteY3" fmla="*/ 20775 h 118401"/>
                <a:gd name="connsiteX4" fmla="*/ 1242314 w 1246366"/>
                <a:gd name="connsiteY4" fmla="*/ 83792 h 118401"/>
                <a:gd name="connsiteX5" fmla="*/ 1219645 w 1246366"/>
                <a:gd name="connsiteY5" fmla="*/ 106835 h 118401"/>
                <a:gd name="connsiteX6" fmla="*/ 19502 w 1246366"/>
                <a:gd name="connsiteY6" fmla="*/ 116497 h 118401"/>
                <a:gd name="connsiteX7" fmla="*/ -3548 w 1246366"/>
                <a:gd name="connsiteY7" fmla="*/ 93828 h 118401"/>
                <a:gd name="connsiteX8" fmla="*/ -4051 w 1246366"/>
                <a:gd name="connsiteY8" fmla="*/ 30811 h 11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6366" h="118401">
                  <a:moveTo>
                    <a:pt x="-4051" y="30811"/>
                  </a:moveTo>
                  <a:cubicBezTo>
                    <a:pt x="-4158" y="18238"/>
                    <a:pt x="6053" y="7867"/>
                    <a:pt x="18618" y="7768"/>
                  </a:cubicBezTo>
                  <a:lnTo>
                    <a:pt x="1218768" y="-1902"/>
                  </a:lnTo>
                  <a:cubicBezTo>
                    <a:pt x="1231334" y="-2001"/>
                    <a:pt x="1241704" y="8202"/>
                    <a:pt x="1241804" y="20775"/>
                  </a:cubicBezTo>
                  <a:lnTo>
                    <a:pt x="1242314" y="83792"/>
                  </a:lnTo>
                  <a:cubicBezTo>
                    <a:pt x="1242413" y="96365"/>
                    <a:pt x="1232210" y="106736"/>
                    <a:pt x="1219645" y="106835"/>
                  </a:cubicBezTo>
                  <a:lnTo>
                    <a:pt x="19502" y="116497"/>
                  </a:lnTo>
                  <a:cubicBezTo>
                    <a:pt x="6922" y="116604"/>
                    <a:pt x="-3441" y="106401"/>
                    <a:pt x="-3548" y="93828"/>
                  </a:cubicBezTo>
                  <a:lnTo>
                    <a:pt x="-4051" y="30811"/>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32" name="Freeform: Shape 231">
              <a:extLst>
                <a:ext uri="{FF2B5EF4-FFF2-40B4-BE49-F238E27FC236}">
                  <a16:creationId xmlns:a16="http://schemas.microsoft.com/office/drawing/2014/main" id="{F63CD203-4325-09F0-7639-668C2D48E9CE}"/>
                </a:ext>
              </a:extLst>
            </p:cNvPr>
            <p:cNvSpPr/>
            <p:nvPr/>
          </p:nvSpPr>
          <p:spPr>
            <a:xfrm flipV="1">
              <a:off x="4608359" y="5427777"/>
              <a:ext cx="109247" cy="73062"/>
            </a:xfrm>
            <a:custGeom>
              <a:avLst/>
              <a:gdLst>
                <a:gd name="connsiteX0" fmla="*/ -3190 w 164006"/>
                <a:gd name="connsiteY0" fmla="*/ 22084 h 109683"/>
                <a:gd name="connsiteX1" fmla="*/ 19494 w 164006"/>
                <a:gd name="connsiteY1" fmla="*/ -966 h 109683"/>
                <a:gd name="connsiteX2" fmla="*/ 137261 w 164006"/>
                <a:gd name="connsiteY2" fmla="*/ -1911 h 109683"/>
                <a:gd name="connsiteX3" fmla="*/ 160312 w 164006"/>
                <a:gd name="connsiteY3" fmla="*/ 20766 h 109683"/>
                <a:gd name="connsiteX4" fmla="*/ 160815 w 164006"/>
                <a:gd name="connsiteY4" fmla="*/ 83783 h 109683"/>
                <a:gd name="connsiteX5" fmla="*/ 138138 w 164006"/>
                <a:gd name="connsiteY5" fmla="*/ 106826 h 109683"/>
                <a:gd name="connsiteX6" fmla="*/ 20363 w 164006"/>
                <a:gd name="connsiteY6" fmla="*/ 107771 h 109683"/>
                <a:gd name="connsiteX7" fmla="*/ -2672 w 164006"/>
                <a:gd name="connsiteY7" fmla="*/ 85102 h 109683"/>
                <a:gd name="connsiteX8" fmla="*/ -3190 w 164006"/>
                <a:gd name="connsiteY8" fmla="*/ 22084 h 10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006" h="109683">
                  <a:moveTo>
                    <a:pt x="-3190" y="22084"/>
                  </a:moveTo>
                  <a:cubicBezTo>
                    <a:pt x="-3282" y="9511"/>
                    <a:pt x="6921" y="-860"/>
                    <a:pt x="19494" y="-966"/>
                  </a:cubicBezTo>
                  <a:lnTo>
                    <a:pt x="137261" y="-1911"/>
                  </a:lnTo>
                  <a:cubicBezTo>
                    <a:pt x="149834" y="-2010"/>
                    <a:pt x="160205" y="8193"/>
                    <a:pt x="160312" y="20766"/>
                  </a:cubicBezTo>
                  <a:lnTo>
                    <a:pt x="160815" y="83783"/>
                  </a:lnTo>
                  <a:cubicBezTo>
                    <a:pt x="160922" y="96356"/>
                    <a:pt x="150718" y="106727"/>
                    <a:pt x="138138" y="106826"/>
                  </a:cubicBezTo>
                  <a:lnTo>
                    <a:pt x="20363" y="107771"/>
                  </a:lnTo>
                  <a:cubicBezTo>
                    <a:pt x="7798" y="107878"/>
                    <a:pt x="-2573" y="97675"/>
                    <a:pt x="-2672" y="85102"/>
                  </a:cubicBezTo>
                  <a:lnTo>
                    <a:pt x="-3190" y="22084"/>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33" name="Freeform: Shape 232">
              <a:extLst>
                <a:ext uri="{FF2B5EF4-FFF2-40B4-BE49-F238E27FC236}">
                  <a16:creationId xmlns:a16="http://schemas.microsoft.com/office/drawing/2014/main" id="{767B4336-41DB-7B29-3B0B-E8795836EE16}"/>
                </a:ext>
              </a:extLst>
            </p:cNvPr>
            <p:cNvSpPr/>
            <p:nvPr/>
          </p:nvSpPr>
          <p:spPr>
            <a:xfrm flipV="1">
              <a:off x="4319439" y="5426437"/>
              <a:ext cx="109963" cy="73067"/>
            </a:xfrm>
            <a:custGeom>
              <a:avLst/>
              <a:gdLst>
                <a:gd name="connsiteX0" fmla="*/ -2698 w 165081"/>
                <a:gd name="connsiteY0" fmla="*/ 22089 h 109691"/>
                <a:gd name="connsiteX1" fmla="*/ 19972 w 165081"/>
                <a:gd name="connsiteY1" fmla="*/ -962 h 109691"/>
                <a:gd name="connsiteX2" fmla="*/ 138836 w 165081"/>
                <a:gd name="connsiteY2" fmla="*/ -1914 h 109691"/>
                <a:gd name="connsiteX3" fmla="*/ 161872 w 165081"/>
                <a:gd name="connsiteY3" fmla="*/ 20755 h 109691"/>
                <a:gd name="connsiteX4" fmla="*/ 162382 w 165081"/>
                <a:gd name="connsiteY4" fmla="*/ 83780 h 109691"/>
                <a:gd name="connsiteX5" fmla="*/ 139705 w 165081"/>
                <a:gd name="connsiteY5" fmla="*/ 106824 h 109691"/>
                <a:gd name="connsiteX6" fmla="*/ 20848 w 165081"/>
                <a:gd name="connsiteY6" fmla="*/ 107776 h 109691"/>
                <a:gd name="connsiteX7" fmla="*/ -2194 w 165081"/>
                <a:gd name="connsiteY7" fmla="*/ 85107 h 109691"/>
                <a:gd name="connsiteX8" fmla="*/ -2698 w 165081"/>
                <a:gd name="connsiteY8" fmla="*/ 22089 h 10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81" h="109691">
                  <a:moveTo>
                    <a:pt x="-2698" y="22089"/>
                  </a:moveTo>
                  <a:cubicBezTo>
                    <a:pt x="-2804" y="9508"/>
                    <a:pt x="7399" y="-862"/>
                    <a:pt x="19972" y="-962"/>
                  </a:cubicBezTo>
                  <a:lnTo>
                    <a:pt x="138836" y="-1914"/>
                  </a:lnTo>
                  <a:cubicBezTo>
                    <a:pt x="151402" y="-2021"/>
                    <a:pt x="161780" y="8182"/>
                    <a:pt x="161872" y="20755"/>
                  </a:cubicBezTo>
                  <a:lnTo>
                    <a:pt x="162382" y="83780"/>
                  </a:lnTo>
                  <a:cubicBezTo>
                    <a:pt x="162481" y="96353"/>
                    <a:pt x="152278" y="106717"/>
                    <a:pt x="139705" y="106824"/>
                  </a:cubicBezTo>
                  <a:lnTo>
                    <a:pt x="20848" y="107776"/>
                  </a:lnTo>
                  <a:cubicBezTo>
                    <a:pt x="8275" y="107875"/>
                    <a:pt x="-2096" y="97672"/>
                    <a:pt x="-2194" y="85107"/>
                  </a:cubicBezTo>
                  <a:lnTo>
                    <a:pt x="-2698" y="22089"/>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34" name="Freeform: Shape 233">
              <a:extLst>
                <a:ext uri="{FF2B5EF4-FFF2-40B4-BE49-F238E27FC236}">
                  <a16:creationId xmlns:a16="http://schemas.microsoft.com/office/drawing/2014/main" id="{A01320EA-BB2D-10CB-AC29-AB543C1453F2}"/>
                </a:ext>
              </a:extLst>
            </p:cNvPr>
            <p:cNvSpPr/>
            <p:nvPr/>
          </p:nvSpPr>
          <p:spPr>
            <a:xfrm flipV="1">
              <a:off x="4464764" y="5426615"/>
              <a:ext cx="109968" cy="73072"/>
            </a:xfrm>
            <a:custGeom>
              <a:avLst/>
              <a:gdLst>
                <a:gd name="connsiteX0" fmla="*/ -2946 w 165088"/>
                <a:gd name="connsiteY0" fmla="*/ 22082 h 109699"/>
                <a:gd name="connsiteX1" fmla="*/ 19731 w 165088"/>
                <a:gd name="connsiteY1" fmla="*/ -953 h 109699"/>
                <a:gd name="connsiteX2" fmla="*/ 138596 w 165088"/>
                <a:gd name="connsiteY2" fmla="*/ -1914 h 109699"/>
                <a:gd name="connsiteX3" fmla="*/ 161631 w 165088"/>
                <a:gd name="connsiteY3" fmla="*/ 20764 h 109699"/>
                <a:gd name="connsiteX4" fmla="*/ 162141 w 165088"/>
                <a:gd name="connsiteY4" fmla="*/ 83781 h 109699"/>
                <a:gd name="connsiteX5" fmla="*/ 139465 w 165088"/>
                <a:gd name="connsiteY5" fmla="*/ 106824 h 109699"/>
                <a:gd name="connsiteX6" fmla="*/ 20608 w 165088"/>
                <a:gd name="connsiteY6" fmla="*/ 107784 h 109699"/>
                <a:gd name="connsiteX7" fmla="*/ -2435 w 165088"/>
                <a:gd name="connsiteY7" fmla="*/ 85107 h 109699"/>
                <a:gd name="connsiteX8" fmla="*/ -2946 w 165088"/>
                <a:gd name="connsiteY8" fmla="*/ 22082 h 109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88" h="109699">
                  <a:moveTo>
                    <a:pt x="-2946" y="22082"/>
                  </a:moveTo>
                  <a:cubicBezTo>
                    <a:pt x="-3045" y="9509"/>
                    <a:pt x="7166" y="-855"/>
                    <a:pt x="19731" y="-953"/>
                  </a:cubicBezTo>
                  <a:lnTo>
                    <a:pt x="138596" y="-1914"/>
                  </a:lnTo>
                  <a:cubicBezTo>
                    <a:pt x="151161" y="-2020"/>
                    <a:pt x="161532" y="8191"/>
                    <a:pt x="161631" y="20764"/>
                  </a:cubicBezTo>
                  <a:lnTo>
                    <a:pt x="162141" y="83781"/>
                  </a:lnTo>
                  <a:cubicBezTo>
                    <a:pt x="162241" y="96346"/>
                    <a:pt x="152038" y="106717"/>
                    <a:pt x="139465" y="106824"/>
                  </a:cubicBezTo>
                  <a:lnTo>
                    <a:pt x="20608" y="107784"/>
                  </a:lnTo>
                  <a:cubicBezTo>
                    <a:pt x="8035" y="107883"/>
                    <a:pt x="-2336" y="97680"/>
                    <a:pt x="-2435" y="85107"/>
                  </a:cubicBezTo>
                  <a:lnTo>
                    <a:pt x="-2946" y="22082"/>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35" name="Freeform: Shape 234">
              <a:extLst>
                <a:ext uri="{FF2B5EF4-FFF2-40B4-BE49-F238E27FC236}">
                  <a16:creationId xmlns:a16="http://schemas.microsoft.com/office/drawing/2014/main" id="{35388CC2-C060-E81D-6A28-5C3A8982517D}"/>
                </a:ext>
              </a:extLst>
            </p:cNvPr>
            <p:cNvSpPr/>
            <p:nvPr/>
          </p:nvSpPr>
          <p:spPr>
            <a:xfrm flipV="1">
              <a:off x="5613486" y="5436360"/>
              <a:ext cx="109968" cy="73077"/>
            </a:xfrm>
            <a:custGeom>
              <a:avLst/>
              <a:gdLst>
                <a:gd name="connsiteX0" fmla="*/ -4907 w 165088"/>
                <a:gd name="connsiteY0" fmla="*/ 22119 h 109706"/>
                <a:gd name="connsiteX1" fmla="*/ 17770 w 165088"/>
                <a:gd name="connsiteY1" fmla="*/ -932 h 109706"/>
                <a:gd name="connsiteX2" fmla="*/ 136627 w 165088"/>
                <a:gd name="connsiteY2" fmla="*/ -1892 h 109706"/>
                <a:gd name="connsiteX3" fmla="*/ 159670 w 165088"/>
                <a:gd name="connsiteY3" fmla="*/ 20793 h 109706"/>
                <a:gd name="connsiteX4" fmla="*/ 160180 w 165088"/>
                <a:gd name="connsiteY4" fmla="*/ 83810 h 109706"/>
                <a:gd name="connsiteX5" fmla="*/ 137496 w 165088"/>
                <a:gd name="connsiteY5" fmla="*/ 106853 h 109706"/>
                <a:gd name="connsiteX6" fmla="*/ 18646 w 165088"/>
                <a:gd name="connsiteY6" fmla="*/ 107813 h 109706"/>
                <a:gd name="connsiteX7" fmla="*/ -4404 w 165088"/>
                <a:gd name="connsiteY7" fmla="*/ 85136 h 109706"/>
                <a:gd name="connsiteX8" fmla="*/ -4907 w 165088"/>
                <a:gd name="connsiteY8" fmla="*/ 22119 h 10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88" h="109706">
                  <a:moveTo>
                    <a:pt x="-4907" y="22119"/>
                  </a:moveTo>
                  <a:cubicBezTo>
                    <a:pt x="-5013" y="9546"/>
                    <a:pt x="5197" y="-825"/>
                    <a:pt x="17770" y="-932"/>
                  </a:cubicBezTo>
                  <a:lnTo>
                    <a:pt x="136627" y="-1892"/>
                  </a:lnTo>
                  <a:cubicBezTo>
                    <a:pt x="149200" y="-1991"/>
                    <a:pt x="159571" y="8220"/>
                    <a:pt x="159670" y="20793"/>
                  </a:cubicBezTo>
                  <a:lnTo>
                    <a:pt x="160180" y="83810"/>
                  </a:lnTo>
                  <a:cubicBezTo>
                    <a:pt x="160280" y="96383"/>
                    <a:pt x="150076" y="106746"/>
                    <a:pt x="137496" y="106853"/>
                  </a:cubicBezTo>
                  <a:lnTo>
                    <a:pt x="18646" y="107813"/>
                  </a:lnTo>
                  <a:cubicBezTo>
                    <a:pt x="6066" y="107912"/>
                    <a:pt x="-4297" y="97701"/>
                    <a:pt x="-4404" y="85136"/>
                  </a:cubicBezTo>
                  <a:lnTo>
                    <a:pt x="-4907" y="22119"/>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36" name="Freeform: Shape 235">
              <a:extLst>
                <a:ext uri="{FF2B5EF4-FFF2-40B4-BE49-F238E27FC236}">
                  <a16:creationId xmlns:a16="http://schemas.microsoft.com/office/drawing/2014/main" id="{3F0B9666-0B84-F3D4-9285-5B6EF4D6FF6D}"/>
                </a:ext>
              </a:extLst>
            </p:cNvPr>
            <p:cNvSpPr/>
            <p:nvPr/>
          </p:nvSpPr>
          <p:spPr>
            <a:xfrm flipV="1">
              <a:off x="5758817" y="5436548"/>
              <a:ext cx="109968" cy="73067"/>
            </a:xfrm>
            <a:custGeom>
              <a:avLst/>
              <a:gdLst>
                <a:gd name="connsiteX0" fmla="*/ -5155 w 165088"/>
                <a:gd name="connsiteY0" fmla="*/ 22111 h 109691"/>
                <a:gd name="connsiteX1" fmla="*/ 17514 w 165088"/>
                <a:gd name="connsiteY1" fmla="*/ -939 h 109691"/>
                <a:gd name="connsiteX2" fmla="*/ 136378 w 165088"/>
                <a:gd name="connsiteY2" fmla="*/ -1892 h 109691"/>
                <a:gd name="connsiteX3" fmla="*/ 159414 w 165088"/>
                <a:gd name="connsiteY3" fmla="*/ 20786 h 109691"/>
                <a:gd name="connsiteX4" fmla="*/ 159932 w 165088"/>
                <a:gd name="connsiteY4" fmla="*/ 83803 h 109691"/>
                <a:gd name="connsiteX5" fmla="*/ 137247 w 165088"/>
                <a:gd name="connsiteY5" fmla="*/ 106846 h 109691"/>
                <a:gd name="connsiteX6" fmla="*/ 18398 w 165088"/>
                <a:gd name="connsiteY6" fmla="*/ 107798 h 109691"/>
                <a:gd name="connsiteX7" fmla="*/ -4653 w 165088"/>
                <a:gd name="connsiteY7" fmla="*/ 85129 h 109691"/>
                <a:gd name="connsiteX8" fmla="*/ -5155 w 165088"/>
                <a:gd name="connsiteY8" fmla="*/ 22111 h 10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88" h="109691">
                  <a:moveTo>
                    <a:pt x="-5155" y="22111"/>
                  </a:moveTo>
                  <a:cubicBezTo>
                    <a:pt x="-5262" y="9538"/>
                    <a:pt x="4949" y="-832"/>
                    <a:pt x="17514" y="-939"/>
                  </a:cubicBezTo>
                  <a:lnTo>
                    <a:pt x="136378" y="-1892"/>
                  </a:lnTo>
                  <a:cubicBezTo>
                    <a:pt x="148944" y="-1991"/>
                    <a:pt x="159322" y="8213"/>
                    <a:pt x="159414" y="20786"/>
                  </a:cubicBezTo>
                  <a:lnTo>
                    <a:pt x="159932" y="83803"/>
                  </a:lnTo>
                  <a:cubicBezTo>
                    <a:pt x="160024" y="96376"/>
                    <a:pt x="149828" y="106747"/>
                    <a:pt x="137247" y="106846"/>
                  </a:cubicBezTo>
                  <a:lnTo>
                    <a:pt x="18398" y="107798"/>
                  </a:lnTo>
                  <a:cubicBezTo>
                    <a:pt x="5818" y="107905"/>
                    <a:pt x="-4546" y="97702"/>
                    <a:pt x="-4653" y="85129"/>
                  </a:cubicBezTo>
                  <a:lnTo>
                    <a:pt x="-5155" y="22111"/>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0" name="Freeform: Shape 399">
              <a:extLst>
                <a:ext uri="{FF2B5EF4-FFF2-40B4-BE49-F238E27FC236}">
                  <a16:creationId xmlns:a16="http://schemas.microsoft.com/office/drawing/2014/main" id="{A5628FAE-E7D8-6A17-ACCF-F3485F1AC9F1}"/>
                </a:ext>
              </a:extLst>
            </p:cNvPr>
            <p:cNvSpPr/>
            <p:nvPr/>
          </p:nvSpPr>
          <p:spPr>
            <a:xfrm flipV="1">
              <a:off x="4405205" y="5225389"/>
              <a:ext cx="109999" cy="77178"/>
            </a:xfrm>
            <a:custGeom>
              <a:avLst/>
              <a:gdLst>
                <a:gd name="connsiteX0" fmla="*/ -2844 w 165134"/>
                <a:gd name="connsiteY0" fmla="*/ 21645 h 115863"/>
                <a:gd name="connsiteX1" fmla="*/ 19833 w 165134"/>
                <a:gd name="connsiteY1" fmla="*/ -1406 h 115863"/>
                <a:gd name="connsiteX2" fmla="*/ 138682 w 165134"/>
                <a:gd name="connsiteY2" fmla="*/ -2358 h 115863"/>
                <a:gd name="connsiteX3" fmla="*/ 161733 w 165134"/>
                <a:gd name="connsiteY3" fmla="*/ 20319 h 115863"/>
                <a:gd name="connsiteX4" fmla="*/ 162289 w 165134"/>
                <a:gd name="connsiteY4" fmla="*/ 89501 h 115863"/>
                <a:gd name="connsiteX5" fmla="*/ 139612 w 165134"/>
                <a:gd name="connsiteY5" fmla="*/ 112551 h 115863"/>
                <a:gd name="connsiteX6" fmla="*/ 20755 w 165134"/>
                <a:gd name="connsiteY6" fmla="*/ 113504 h 115863"/>
                <a:gd name="connsiteX7" fmla="*/ -2295 w 165134"/>
                <a:gd name="connsiteY7" fmla="*/ 90827 h 115863"/>
                <a:gd name="connsiteX8" fmla="*/ -2844 w 165134"/>
                <a:gd name="connsiteY8" fmla="*/ 21645 h 11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34" h="115863">
                  <a:moveTo>
                    <a:pt x="-2844" y="21645"/>
                  </a:moveTo>
                  <a:cubicBezTo>
                    <a:pt x="-2951" y="9072"/>
                    <a:pt x="7252" y="-1299"/>
                    <a:pt x="19833" y="-1406"/>
                  </a:cubicBezTo>
                  <a:lnTo>
                    <a:pt x="138682" y="-2358"/>
                  </a:lnTo>
                  <a:cubicBezTo>
                    <a:pt x="151263" y="-2457"/>
                    <a:pt x="161626" y="7746"/>
                    <a:pt x="161733" y="20319"/>
                  </a:cubicBezTo>
                  <a:lnTo>
                    <a:pt x="162289" y="89501"/>
                  </a:lnTo>
                  <a:cubicBezTo>
                    <a:pt x="162388" y="102074"/>
                    <a:pt x="152185" y="112445"/>
                    <a:pt x="139612" y="112551"/>
                  </a:cubicBezTo>
                  <a:lnTo>
                    <a:pt x="20755" y="113504"/>
                  </a:lnTo>
                  <a:cubicBezTo>
                    <a:pt x="8182" y="113603"/>
                    <a:pt x="-2189" y="103400"/>
                    <a:pt x="-2295" y="90827"/>
                  </a:cubicBezTo>
                  <a:lnTo>
                    <a:pt x="-2844" y="21645"/>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1" name="Freeform: Shape 400">
              <a:extLst>
                <a:ext uri="{FF2B5EF4-FFF2-40B4-BE49-F238E27FC236}">
                  <a16:creationId xmlns:a16="http://schemas.microsoft.com/office/drawing/2014/main" id="{751A5305-2945-6921-3051-5B6029384866}"/>
                </a:ext>
              </a:extLst>
            </p:cNvPr>
            <p:cNvSpPr/>
            <p:nvPr/>
          </p:nvSpPr>
          <p:spPr>
            <a:xfrm flipV="1">
              <a:off x="5672279" y="5137568"/>
              <a:ext cx="110004" cy="77986"/>
            </a:xfrm>
            <a:custGeom>
              <a:avLst/>
              <a:gdLst>
                <a:gd name="connsiteX0" fmla="*/ -5007 w 165142"/>
                <a:gd name="connsiteY0" fmla="*/ 21449 h 117075"/>
                <a:gd name="connsiteX1" fmla="*/ 17670 w 165142"/>
                <a:gd name="connsiteY1" fmla="*/ -1594 h 117075"/>
                <a:gd name="connsiteX2" fmla="*/ 136519 w 165142"/>
                <a:gd name="connsiteY2" fmla="*/ -2554 h 117075"/>
                <a:gd name="connsiteX3" fmla="*/ 159569 w 165142"/>
                <a:gd name="connsiteY3" fmla="*/ 20131 h 117075"/>
                <a:gd name="connsiteX4" fmla="*/ 160133 w 165142"/>
                <a:gd name="connsiteY4" fmla="*/ 90517 h 117075"/>
                <a:gd name="connsiteX5" fmla="*/ 137456 w 165142"/>
                <a:gd name="connsiteY5" fmla="*/ 113560 h 117075"/>
                <a:gd name="connsiteX6" fmla="*/ 18607 w 165142"/>
                <a:gd name="connsiteY6" fmla="*/ 114520 h 117075"/>
                <a:gd name="connsiteX7" fmla="*/ -4443 w 165142"/>
                <a:gd name="connsiteY7" fmla="*/ 91843 h 117075"/>
                <a:gd name="connsiteX8" fmla="*/ -5007 w 165142"/>
                <a:gd name="connsiteY8" fmla="*/ 21449 h 11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075">
                  <a:moveTo>
                    <a:pt x="-5007" y="21449"/>
                  </a:moveTo>
                  <a:cubicBezTo>
                    <a:pt x="-5114" y="8876"/>
                    <a:pt x="5089" y="-1487"/>
                    <a:pt x="17670" y="-1594"/>
                  </a:cubicBezTo>
                  <a:lnTo>
                    <a:pt x="136519" y="-2554"/>
                  </a:lnTo>
                  <a:cubicBezTo>
                    <a:pt x="149100" y="-2653"/>
                    <a:pt x="159463" y="7550"/>
                    <a:pt x="159569" y="20131"/>
                  </a:cubicBezTo>
                  <a:lnTo>
                    <a:pt x="160133" y="90517"/>
                  </a:lnTo>
                  <a:cubicBezTo>
                    <a:pt x="160232" y="103090"/>
                    <a:pt x="150037" y="113461"/>
                    <a:pt x="137456" y="113560"/>
                  </a:cubicBezTo>
                  <a:lnTo>
                    <a:pt x="18607" y="114520"/>
                  </a:lnTo>
                  <a:cubicBezTo>
                    <a:pt x="6026" y="114619"/>
                    <a:pt x="-4337" y="104416"/>
                    <a:pt x="-4443" y="91843"/>
                  </a:cubicBezTo>
                  <a:lnTo>
                    <a:pt x="-5007" y="21449"/>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2" name="Freeform: Shape 401">
              <a:extLst>
                <a:ext uri="{FF2B5EF4-FFF2-40B4-BE49-F238E27FC236}">
                  <a16:creationId xmlns:a16="http://schemas.microsoft.com/office/drawing/2014/main" id="{7E14E306-60AA-8881-4FD3-58101E076E0B}"/>
                </a:ext>
              </a:extLst>
            </p:cNvPr>
            <p:cNvSpPr/>
            <p:nvPr/>
          </p:nvSpPr>
          <p:spPr>
            <a:xfrm flipV="1">
              <a:off x="5758309" y="5193706"/>
              <a:ext cx="110059" cy="63123"/>
            </a:xfrm>
            <a:custGeom>
              <a:avLst/>
              <a:gdLst>
                <a:gd name="connsiteX0" fmla="*/ -5154 w 165225"/>
                <a:gd name="connsiteY0" fmla="*/ 21558 h 94763"/>
                <a:gd name="connsiteX1" fmla="*/ 17523 w 165225"/>
                <a:gd name="connsiteY1" fmla="*/ -1485 h 94763"/>
                <a:gd name="connsiteX2" fmla="*/ 136638 w 165225"/>
                <a:gd name="connsiteY2" fmla="*/ -2445 h 94763"/>
                <a:gd name="connsiteX3" fmla="*/ 159681 w 165225"/>
                <a:gd name="connsiteY3" fmla="*/ 20232 h 94763"/>
                <a:gd name="connsiteX4" fmla="*/ 160070 w 165225"/>
                <a:gd name="connsiteY4" fmla="*/ 68314 h 94763"/>
                <a:gd name="connsiteX5" fmla="*/ 137385 w 165225"/>
                <a:gd name="connsiteY5" fmla="*/ 91358 h 94763"/>
                <a:gd name="connsiteX6" fmla="*/ 18269 w 165225"/>
                <a:gd name="connsiteY6" fmla="*/ 92317 h 94763"/>
                <a:gd name="connsiteX7" fmla="*/ -4766 w 165225"/>
                <a:gd name="connsiteY7" fmla="*/ 69648 h 94763"/>
                <a:gd name="connsiteX8" fmla="*/ -5154 w 165225"/>
                <a:gd name="connsiteY8" fmla="*/ 21558 h 9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225" h="94763">
                  <a:moveTo>
                    <a:pt x="-5154" y="21558"/>
                  </a:moveTo>
                  <a:cubicBezTo>
                    <a:pt x="-5261" y="8985"/>
                    <a:pt x="4942" y="-1386"/>
                    <a:pt x="17523" y="-1485"/>
                  </a:cubicBezTo>
                  <a:lnTo>
                    <a:pt x="136638" y="-2445"/>
                  </a:lnTo>
                  <a:cubicBezTo>
                    <a:pt x="149204" y="-2552"/>
                    <a:pt x="159575" y="7659"/>
                    <a:pt x="159681" y="20232"/>
                  </a:cubicBezTo>
                  <a:lnTo>
                    <a:pt x="160070" y="68314"/>
                  </a:lnTo>
                  <a:cubicBezTo>
                    <a:pt x="160161" y="80887"/>
                    <a:pt x="149966" y="91258"/>
                    <a:pt x="137385" y="91358"/>
                  </a:cubicBezTo>
                  <a:lnTo>
                    <a:pt x="18269" y="92317"/>
                  </a:lnTo>
                  <a:cubicBezTo>
                    <a:pt x="5704" y="92417"/>
                    <a:pt x="-4667" y="82214"/>
                    <a:pt x="-4766" y="69648"/>
                  </a:cubicBezTo>
                  <a:lnTo>
                    <a:pt x="-5154" y="21558"/>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3" name="Freeform: Shape 402">
              <a:extLst>
                <a:ext uri="{FF2B5EF4-FFF2-40B4-BE49-F238E27FC236}">
                  <a16:creationId xmlns:a16="http://schemas.microsoft.com/office/drawing/2014/main" id="{7BA48884-202A-F0A8-C60D-F8D306CC72C5}"/>
                </a:ext>
              </a:extLst>
            </p:cNvPr>
            <p:cNvSpPr/>
            <p:nvPr/>
          </p:nvSpPr>
          <p:spPr>
            <a:xfrm flipV="1">
              <a:off x="4463562" y="4939560"/>
              <a:ext cx="109968" cy="73072"/>
            </a:xfrm>
            <a:custGeom>
              <a:avLst/>
              <a:gdLst>
                <a:gd name="connsiteX0" fmla="*/ -2944 w 165088"/>
                <a:gd name="connsiteY0" fmla="*/ 21002 h 109698"/>
                <a:gd name="connsiteX1" fmla="*/ 19733 w 165088"/>
                <a:gd name="connsiteY1" fmla="*/ -2041 h 109698"/>
                <a:gd name="connsiteX2" fmla="*/ 138590 w 165088"/>
                <a:gd name="connsiteY2" fmla="*/ -3001 h 109698"/>
                <a:gd name="connsiteX3" fmla="*/ 161641 w 165088"/>
                <a:gd name="connsiteY3" fmla="*/ 19676 h 109698"/>
                <a:gd name="connsiteX4" fmla="*/ 162144 w 165088"/>
                <a:gd name="connsiteY4" fmla="*/ 82701 h 109698"/>
                <a:gd name="connsiteX5" fmla="*/ 139474 w 165088"/>
                <a:gd name="connsiteY5" fmla="*/ 105744 h 109698"/>
                <a:gd name="connsiteX6" fmla="*/ 20610 w 165088"/>
                <a:gd name="connsiteY6" fmla="*/ 106696 h 109698"/>
                <a:gd name="connsiteX7" fmla="*/ -2426 w 165088"/>
                <a:gd name="connsiteY7" fmla="*/ 84019 h 109698"/>
                <a:gd name="connsiteX8" fmla="*/ -2944 w 165088"/>
                <a:gd name="connsiteY8" fmla="*/ 21002 h 109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88" h="109698">
                  <a:moveTo>
                    <a:pt x="-2944" y="21002"/>
                  </a:moveTo>
                  <a:cubicBezTo>
                    <a:pt x="-3043" y="8429"/>
                    <a:pt x="7160" y="-1942"/>
                    <a:pt x="19733" y="-2041"/>
                  </a:cubicBezTo>
                  <a:lnTo>
                    <a:pt x="138590" y="-3001"/>
                  </a:lnTo>
                  <a:cubicBezTo>
                    <a:pt x="151171" y="-3100"/>
                    <a:pt x="161534" y="7103"/>
                    <a:pt x="161641" y="19676"/>
                  </a:cubicBezTo>
                  <a:lnTo>
                    <a:pt x="162144" y="82701"/>
                  </a:lnTo>
                  <a:cubicBezTo>
                    <a:pt x="162242" y="95266"/>
                    <a:pt x="152039" y="105637"/>
                    <a:pt x="139474" y="105744"/>
                  </a:cubicBezTo>
                  <a:lnTo>
                    <a:pt x="20610" y="106696"/>
                  </a:lnTo>
                  <a:cubicBezTo>
                    <a:pt x="8044" y="106795"/>
                    <a:pt x="-2334" y="96592"/>
                    <a:pt x="-2426" y="84019"/>
                  </a:cubicBezTo>
                  <a:lnTo>
                    <a:pt x="-2944" y="21002"/>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4" name="Freeform: Shape 403">
              <a:extLst>
                <a:ext uri="{FF2B5EF4-FFF2-40B4-BE49-F238E27FC236}">
                  <a16:creationId xmlns:a16="http://schemas.microsoft.com/office/drawing/2014/main" id="{25606030-1792-E787-BC76-20DC9FBADACB}"/>
                </a:ext>
              </a:extLst>
            </p:cNvPr>
            <p:cNvSpPr/>
            <p:nvPr/>
          </p:nvSpPr>
          <p:spPr>
            <a:xfrm flipV="1">
              <a:off x="5039758" y="4942382"/>
              <a:ext cx="109963" cy="73072"/>
            </a:xfrm>
            <a:custGeom>
              <a:avLst/>
              <a:gdLst>
                <a:gd name="connsiteX0" fmla="*/ -3927 w 165081"/>
                <a:gd name="connsiteY0" fmla="*/ 21008 h 109699"/>
                <a:gd name="connsiteX1" fmla="*/ 18742 w 165081"/>
                <a:gd name="connsiteY1" fmla="*/ -2035 h 109699"/>
                <a:gd name="connsiteX2" fmla="*/ 137599 w 165081"/>
                <a:gd name="connsiteY2" fmla="*/ -2995 h 109699"/>
                <a:gd name="connsiteX3" fmla="*/ 160642 w 165081"/>
                <a:gd name="connsiteY3" fmla="*/ 19682 h 109699"/>
                <a:gd name="connsiteX4" fmla="*/ 161152 w 165081"/>
                <a:gd name="connsiteY4" fmla="*/ 82700 h 109699"/>
                <a:gd name="connsiteX5" fmla="*/ 138475 w 165081"/>
                <a:gd name="connsiteY5" fmla="*/ 105742 h 109699"/>
                <a:gd name="connsiteX6" fmla="*/ 19626 w 165081"/>
                <a:gd name="connsiteY6" fmla="*/ 106703 h 109699"/>
                <a:gd name="connsiteX7" fmla="*/ -3424 w 165081"/>
                <a:gd name="connsiteY7" fmla="*/ 84025 h 109699"/>
                <a:gd name="connsiteX8" fmla="*/ -3927 w 165081"/>
                <a:gd name="connsiteY8" fmla="*/ 21008 h 109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81" h="109699">
                  <a:moveTo>
                    <a:pt x="-3927" y="21008"/>
                  </a:moveTo>
                  <a:cubicBezTo>
                    <a:pt x="-4034" y="8435"/>
                    <a:pt x="6169" y="-1928"/>
                    <a:pt x="18742" y="-2035"/>
                  </a:cubicBezTo>
                  <a:lnTo>
                    <a:pt x="137599" y="-2995"/>
                  </a:lnTo>
                  <a:cubicBezTo>
                    <a:pt x="150172" y="-3094"/>
                    <a:pt x="160543" y="7109"/>
                    <a:pt x="160642" y="19682"/>
                  </a:cubicBezTo>
                  <a:lnTo>
                    <a:pt x="161152" y="82700"/>
                  </a:lnTo>
                  <a:cubicBezTo>
                    <a:pt x="161251" y="95273"/>
                    <a:pt x="151056" y="105643"/>
                    <a:pt x="138475" y="105742"/>
                  </a:cubicBezTo>
                  <a:lnTo>
                    <a:pt x="19626" y="106703"/>
                  </a:lnTo>
                  <a:cubicBezTo>
                    <a:pt x="7045" y="106809"/>
                    <a:pt x="-3325" y="96598"/>
                    <a:pt x="-3424" y="84025"/>
                  </a:cubicBezTo>
                  <a:lnTo>
                    <a:pt x="-3927" y="21008"/>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5" name="Freeform: Shape 404">
              <a:extLst>
                <a:ext uri="{FF2B5EF4-FFF2-40B4-BE49-F238E27FC236}">
                  <a16:creationId xmlns:a16="http://schemas.microsoft.com/office/drawing/2014/main" id="{DA3B9B1B-6354-DEE6-22CF-93B959289B29}"/>
                </a:ext>
              </a:extLst>
            </p:cNvPr>
            <p:cNvSpPr/>
            <p:nvPr/>
          </p:nvSpPr>
          <p:spPr>
            <a:xfrm flipV="1">
              <a:off x="5617811" y="4948829"/>
              <a:ext cx="109973" cy="73072"/>
            </a:xfrm>
            <a:custGeom>
              <a:avLst/>
              <a:gdLst>
                <a:gd name="connsiteX0" fmla="*/ -4915 w 165096"/>
                <a:gd name="connsiteY0" fmla="*/ 21022 h 109699"/>
                <a:gd name="connsiteX1" fmla="*/ 17763 w 165096"/>
                <a:gd name="connsiteY1" fmla="*/ -2020 h 109699"/>
                <a:gd name="connsiteX2" fmla="*/ 136627 w 165096"/>
                <a:gd name="connsiteY2" fmla="*/ -2981 h 109699"/>
                <a:gd name="connsiteX3" fmla="*/ 159662 w 165096"/>
                <a:gd name="connsiteY3" fmla="*/ 19697 h 109699"/>
                <a:gd name="connsiteX4" fmla="*/ 160180 w 165096"/>
                <a:gd name="connsiteY4" fmla="*/ 82714 h 109699"/>
                <a:gd name="connsiteX5" fmla="*/ 137496 w 165096"/>
                <a:gd name="connsiteY5" fmla="*/ 105757 h 109699"/>
                <a:gd name="connsiteX6" fmla="*/ 18639 w 165096"/>
                <a:gd name="connsiteY6" fmla="*/ 106717 h 109699"/>
                <a:gd name="connsiteX7" fmla="*/ -4404 w 165096"/>
                <a:gd name="connsiteY7" fmla="*/ 84040 h 109699"/>
                <a:gd name="connsiteX8" fmla="*/ -4915 w 165096"/>
                <a:gd name="connsiteY8" fmla="*/ 21022 h 109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96" h="109699">
                  <a:moveTo>
                    <a:pt x="-4915" y="21022"/>
                  </a:moveTo>
                  <a:cubicBezTo>
                    <a:pt x="-5014" y="8449"/>
                    <a:pt x="5197" y="-1921"/>
                    <a:pt x="17763" y="-2020"/>
                  </a:cubicBezTo>
                  <a:lnTo>
                    <a:pt x="136627" y="-2981"/>
                  </a:lnTo>
                  <a:cubicBezTo>
                    <a:pt x="149193" y="-3080"/>
                    <a:pt x="159563" y="7124"/>
                    <a:pt x="159662" y="19697"/>
                  </a:cubicBezTo>
                  <a:lnTo>
                    <a:pt x="160180" y="82714"/>
                  </a:lnTo>
                  <a:cubicBezTo>
                    <a:pt x="160272" y="95287"/>
                    <a:pt x="150069" y="105658"/>
                    <a:pt x="137496" y="105757"/>
                  </a:cubicBezTo>
                  <a:lnTo>
                    <a:pt x="18639" y="106717"/>
                  </a:lnTo>
                  <a:cubicBezTo>
                    <a:pt x="6066" y="106824"/>
                    <a:pt x="-4297" y="96613"/>
                    <a:pt x="-4404" y="84040"/>
                  </a:cubicBezTo>
                  <a:lnTo>
                    <a:pt x="-4915" y="21022"/>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6" name="Freeform: Shape 405">
              <a:extLst>
                <a:ext uri="{FF2B5EF4-FFF2-40B4-BE49-F238E27FC236}">
                  <a16:creationId xmlns:a16="http://schemas.microsoft.com/office/drawing/2014/main" id="{79672C04-4F7F-B195-5FE9-13907A993655}"/>
                </a:ext>
              </a:extLst>
            </p:cNvPr>
            <p:cNvSpPr/>
            <p:nvPr/>
          </p:nvSpPr>
          <p:spPr>
            <a:xfrm flipV="1">
              <a:off x="4420844" y="5281564"/>
              <a:ext cx="460414" cy="273408"/>
            </a:xfrm>
            <a:custGeom>
              <a:avLst/>
              <a:gdLst>
                <a:gd name="connsiteX0" fmla="*/ 488716 w 691192"/>
                <a:gd name="connsiteY0" fmla="*/ -2015 h 410451"/>
                <a:gd name="connsiteX1" fmla="*/ 367969 w 691192"/>
                <a:gd name="connsiteY1" fmla="*/ -1047 h 410451"/>
                <a:gd name="connsiteX2" fmla="*/ 369508 w 691192"/>
                <a:gd name="connsiteY2" fmla="*/ -689 h 410451"/>
                <a:gd name="connsiteX3" fmla="*/ 415061 w 691192"/>
                <a:gd name="connsiteY3" fmla="*/ 79283 h 410451"/>
                <a:gd name="connsiteX4" fmla="*/ 418787 w 691192"/>
                <a:gd name="connsiteY4" fmla="*/ 79253 h 410451"/>
                <a:gd name="connsiteX5" fmla="*/ 418970 w 691192"/>
                <a:gd name="connsiteY5" fmla="*/ 79253 h 410451"/>
                <a:gd name="connsiteX6" fmla="*/ 441837 w 691192"/>
                <a:gd name="connsiteY6" fmla="*/ 101930 h 410451"/>
                <a:gd name="connsiteX7" fmla="*/ 441982 w 691192"/>
                <a:gd name="connsiteY7" fmla="*/ 119959 h 410451"/>
                <a:gd name="connsiteX8" fmla="*/ 525436 w 691192"/>
                <a:gd name="connsiteY8" fmla="*/ 221640 h 410451"/>
                <a:gd name="connsiteX9" fmla="*/ 633701 w 691192"/>
                <a:gd name="connsiteY9" fmla="*/ 220764 h 410451"/>
                <a:gd name="connsiteX10" fmla="*/ 633892 w 691192"/>
                <a:gd name="connsiteY10" fmla="*/ 220764 h 410451"/>
                <a:gd name="connsiteX11" fmla="*/ 656752 w 691192"/>
                <a:gd name="connsiteY11" fmla="*/ 243441 h 410451"/>
                <a:gd name="connsiteX12" fmla="*/ 657209 w 691192"/>
                <a:gd name="connsiteY12" fmla="*/ 300743 h 410451"/>
                <a:gd name="connsiteX13" fmla="*/ 675604 w 691192"/>
                <a:gd name="connsiteY13" fmla="*/ 286814 h 410451"/>
                <a:gd name="connsiteX14" fmla="*/ 669439 w 691192"/>
                <a:gd name="connsiteY14" fmla="*/ 212747 h 410451"/>
                <a:gd name="connsiteX15" fmla="*/ 639363 w 691192"/>
                <a:gd name="connsiteY15" fmla="*/ 186222 h 410451"/>
                <a:gd name="connsiteX16" fmla="*/ 517633 w 691192"/>
                <a:gd name="connsiteY16" fmla="*/ 187198 h 410451"/>
                <a:gd name="connsiteX17" fmla="*/ 517443 w 691192"/>
                <a:gd name="connsiteY17" fmla="*/ 187205 h 410451"/>
                <a:gd name="connsiteX18" fmla="*/ 494583 w 691192"/>
                <a:gd name="connsiteY18" fmla="*/ 164528 h 410451"/>
                <a:gd name="connsiteX19" fmla="*/ 494080 w 691192"/>
                <a:gd name="connsiteY19" fmla="*/ 101511 h 410451"/>
                <a:gd name="connsiteX20" fmla="*/ 516750 w 691192"/>
                <a:gd name="connsiteY20" fmla="*/ 78468 h 410451"/>
                <a:gd name="connsiteX21" fmla="*/ 541507 w 691192"/>
                <a:gd name="connsiteY21" fmla="*/ 78262 h 410451"/>
                <a:gd name="connsiteX22" fmla="*/ 488716 w 691192"/>
                <a:gd name="connsiteY22" fmla="*/ -2015 h 410451"/>
                <a:gd name="connsiteX23" fmla="*/ 363054 w 691192"/>
                <a:gd name="connsiteY23" fmla="*/ -1009 h 410451"/>
                <a:gd name="connsiteX24" fmla="*/ -3171 w 691192"/>
                <a:gd name="connsiteY24" fmla="*/ 1940 h 410451"/>
                <a:gd name="connsiteX25" fmla="*/ 35143 w 691192"/>
                <a:gd name="connsiteY25" fmla="*/ 94104 h 410451"/>
                <a:gd name="connsiteX26" fmla="*/ 79811 w 691192"/>
                <a:gd name="connsiteY26" fmla="*/ 225427 h 410451"/>
                <a:gd name="connsiteX27" fmla="*/ 82836 w 691192"/>
                <a:gd name="connsiteY27" fmla="*/ 225199 h 410451"/>
                <a:gd name="connsiteX28" fmla="*/ 190857 w 691192"/>
                <a:gd name="connsiteY28" fmla="*/ 224330 h 410451"/>
                <a:gd name="connsiteX29" fmla="*/ 172234 w 691192"/>
                <a:gd name="connsiteY29" fmla="*/ 199252 h 410451"/>
                <a:gd name="connsiteX30" fmla="*/ 166839 w 691192"/>
                <a:gd name="connsiteY30" fmla="*/ 190032 h 410451"/>
                <a:gd name="connsiteX31" fmla="*/ 86319 w 691192"/>
                <a:gd name="connsiteY31" fmla="*/ 190680 h 410451"/>
                <a:gd name="connsiteX32" fmla="*/ 86136 w 691192"/>
                <a:gd name="connsiteY32" fmla="*/ 190680 h 410451"/>
                <a:gd name="connsiteX33" fmla="*/ 63276 w 691192"/>
                <a:gd name="connsiteY33" fmla="*/ 168003 h 410451"/>
                <a:gd name="connsiteX34" fmla="*/ 62765 w 691192"/>
                <a:gd name="connsiteY34" fmla="*/ 104978 h 410451"/>
                <a:gd name="connsiteX35" fmla="*/ 85442 w 691192"/>
                <a:gd name="connsiteY35" fmla="*/ 81943 h 410451"/>
                <a:gd name="connsiteX36" fmla="*/ 204307 w 691192"/>
                <a:gd name="connsiteY36" fmla="*/ 80983 h 410451"/>
                <a:gd name="connsiteX37" fmla="*/ 204497 w 691192"/>
                <a:gd name="connsiteY37" fmla="*/ 80983 h 410451"/>
                <a:gd name="connsiteX38" fmla="*/ 227342 w 691192"/>
                <a:gd name="connsiteY38" fmla="*/ 103660 h 410451"/>
                <a:gd name="connsiteX39" fmla="*/ 227852 w 691192"/>
                <a:gd name="connsiteY39" fmla="*/ 166677 h 410451"/>
                <a:gd name="connsiteX40" fmla="*/ 205175 w 691192"/>
                <a:gd name="connsiteY40" fmla="*/ 189720 h 410451"/>
                <a:gd name="connsiteX41" fmla="*/ 194652 w 691192"/>
                <a:gd name="connsiteY41" fmla="*/ 189804 h 410451"/>
                <a:gd name="connsiteX42" fmla="*/ 268437 w 691192"/>
                <a:gd name="connsiteY42" fmla="*/ 291493 h 410451"/>
                <a:gd name="connsiteX43" fmla="*/ 224827 w 691192"/>
                <a:gd name="connsiteY43" fmla="*/ 257622 h 410451"/>
                <a:gd name="connsiteX44" fmla="*/ 225300 w 691192"/>
                <a:gd name="connsiteY44" fmla="*/ 317370 h 410451"/>
                <a:gd name="connsiteX45" fmla="*/ 202630 w 691192"/>
                <a:gd name="connsiteY45" fmla="*/ 340413 h 410451"/>
                <a:gd name="connsiteX46" fmla="*/ 178505 w 691192"/>
                <a:gd name="connsiteY46" fmla="*/ 340611 h 410451"/>
                <a:gd name="connsiteX47" fmla="*/ 220774 w 691192"/>
                <a:gd name="connsiteY47" fmla="*/ 372303 h 410451"/>
                <a:gd name="connsiteX48" fmla="*/ 247680 w 691192"/>
                <a:gd name="connsiteY48" fmla="*/ 380845 h 410451"/>
                <a:gd name="connsiteX49" fmla="*/ 285925 w 691192"/>
                <a:gd name="connsiteY49" fmla="*/ 361109 h 410451"/>
                <a:gd name="connsiteX50" fmla="*/ 294207 w 691192"/>
                <a:gd name="connsiteY50" fmla="*/ 338988 h 410451"/>
                <a:gd name="connsiteX51" fmla="*/ 276735 w 691192"/>
                <a:gd name="connsiteY51" fmla="*/ 316959 h 410451"/>
                <a:gd name="connsiteX52" fmla="*/ 276163 w 691192"/>
                <a:gd name="connsiteY52" fmla="*/ 246504 h 410451"/>
                <a:gd name="connsiteX53" fmla="*/ 298840 w 691192"/>
                <a:gd name="connsiteY53" fmla="*/ 223461 h 410451"/>
                <a:gd name="connsiteX54" fmla="*/ 347113 w 691192"/>
                <a:gd name="connsiteY54" fmla="*/ 223073 h 410451"/>
                <a:gd name="connsiteX55" fmla="*/ 319773 w 691192"/>
                <a:gd name="connsiteY55" fmla="*/ 188798 h 410451"/>
                <a:gd name="connsiteX56" fmla="*/ 301888 w 691192"/>
                <a:gd name="connsiteY56" fmla="*/ 188935 h 410451"/>
                <a:gd name="connsiteX57" fmla="*/ 301698 w 691192"/>
                <a:gd name="connsiteY57" fmla="*/ 188943 h 410451"/>
                <a:gd name="connsiteX58" fmla="*/ 278853 w 691192"/>
                <a:gd name="connsiteY58" fmla="*/ 166265 h 410451"/>
                <a:gd name="connsiteX59" fmla="*/ 278525 w 691192"/>
                <a:gd name="connsiteY59" fmla="*/ 126139 h 410451"/>
                <a:gd name="connsiteX60" fmla="*/ 239420 w 691192"/>
                <a:gd name="connsiteY60" fmla="*/ 50761 h 410451"/>
                <a:gd name="connsiteX61" fmla="*/ 247634 w 691192"/>
                <a:gd name="connsiteY61" fmla="*/ 45755 h 410451"/>
                <a:gd name="connsiteX62" fmla="*/ 255490 w 691192"/>
                <a:gd name="connsiteY62" fmla="*/ 48788 h 410451"/>
                <a:gd name="connsiteX63" fmla="*/ 280202 w 691192"/>
                <a:gd name="connsiteY63" fmla="*/ 94058 h 410451"/>
                <a:gd name="connsiteX64" fmla="*/ 301020 w 691192"/>
                <a:gd name="connsiteY64" fmla="*/ 80198 h 410451"/>
                <a:gd name="connsiteX65" fmla="*/ 394197 w 691192"/>
                <a:gd name="connsiteY65" fmla="*/ 79451 h 410451"/>
                <a:gd name="connsiteX66" fmla="*/ 352058 w 691192"/>
                <a:gd name="connsiteY66" fmla="*/ 6626 h 410451"/>
                <a:gd name="connsiteX67" fmla="*/ 363054 w 691192"/>
                <a:gd name="connsiteY67" fmla="*/ -1009 h 410451"/>
                <a:gd name="connsiteX68" fmla="*/ 442203 w 691192"/>
                <a:gd name="connsiteY68" fmla="*/ 147764 h 410451"/>
                <a:gd name="connsiteX69" fmla="*/ 442340 w 691192"/>
                <a:gd name="connsiteY69" fmla="*/ 164947 h 410451"/>
                <a:gd name="connsiteX70" fmla="*/ 419663 w 691192"/>
                <a:gd name="connsiteY70" fmla="*/ 187990 h 410451"/>
                <a:gd name="connsiteX71" fmla="*/ 341352 w 691192"/>
                <a:gd name="connsiteY71" fmla="*/ 188623 h 410451"/>
                <a:gd name="connsiteX72" fmla="*/ 367565 w 691192"/>
                <a:gd name="connsiteY72" fmla="*/ 222905 h 410451"/>
                <a:gd name="connsiteX73" fmla="*/ 417705 w 691192"/>
                <a:gd name="connsiteY73" fmla="*/ 222501 h 410451"/>
                <a:gd name="connsiteX74" fmla="*/ 417888 w 691192"/>
                <a:gd name="connsiteY74" fmla="*/ 222501 h 410451"/>
                <a:gd name="connsiteX75" fmla="*/ 440740 w 691192"/>
                <a:gd name="connsiteY75" fmla="*/ 245178 h 410451"/>
                <a:gd name="connsiteX76" fmla="*/ 441312 w 691192"/>
                <a:gd name="connsiteY76" fmla="*/ 315633 h 410451"/>
                <a:gd name="connsiteX77" fmla="*/ 418634 w 691192"/>
                <a:gd name="connsiteY77" fmla="*/ 338676 h 410451"/>
                <a:gd name="connsiteX78" fmla="*/ 314941 w 691192"/>
                <a:gd name="connsiteY78" fmla="*/ 339506 h 410451"/>
                <a:gd name="connsiteX79" fmla="*/ 359046 w 691192"/>
                <a:gd name="connsiteY79" fmla="*/ 375229 h 410451"/>
                <a:gd name="connsiteX80" fmla="*/ 417705 w 691192"/>
                <a:gd name="connsiteY80" fmla="*/ 374756 h 410451"/>
                <a:gd name="connsiteX81" fmla="*/ 417888 w 691192"/>
                <a:gd name="connsiteY81" fmla="*/ 374756 h 410451"/>
                <a:gd name="connsiteX82" fmla="*/ 440740 w 691192"/>
                <a:gd name="connsiteY82" fmla="*/ 397426 h 410451"/>
                <a:gd name="connsiteX83" fmla="*/ 440831 w 691192"/>
                <a:gd name="connsiteY83" fmla="*/ 408437 h 410451"/>
                <a:gd name="connsiteX84" fmla="*/ 478474 w 691192"/>
                <a:gd name="connsiteY84" fmla="*/ 379321 h 410451"/>
                <a:gd name="connsiteX85" fmla="*/ 480379 w 691192"/>
                <a:gd name="connsiteY85" fmla="*/ 338935 h 410451"/>
                <a:gd name="connsiteX86" fmla="*/ 524796 w 691192"/>
                <a:gd name="connsiteY86" fmla="*/ 373895 h 410451"/>
                <a:gd name="connsiteX87" fmla="*/ 607671 w 691192"/>
                <a:gd name="connsiteY87" fmla="*/ 373225 h 410451"/>
                <a:gd name="connsiteX88" fmla="*/ 616183 w 691192"/>
                <a:gd name="connsiteY88" fmla="*/ 337083 h 410451"/>
                <a:gd name="connsiteX89" fmla="*/ 515789 w 691192"/>
                <a:gd name="connsiteY89" fmla="*/ 337891 h 410451"/>
                <a:gd name="connsiteX90" fmla="*/ 515599 w 691192"/>
                <a:gd name="connsiteY90" fmla="*/ 337891 h 410451"/>
                <a:gd name="connsiteX91" fmla="*/ 492739 w 691192"/>
                <a:gd name="connsiteY91" fmla="*/ 315221 h 410451"/>
                <a:gd name="connsiteX92" fmla="*/ 492175 w 691192"/>
                <a:gd name="connsiteY92" fmla="*/ 244767 h 410451"/>
                <a:gd name="connsiteX93" fmla="*/ 508611 w 691192"/>
                <a:gd name="connsiteY93" fmla="*/ 222646 h 410451"/>
                <a:gd name="connsiteX94" fmla="*/ 442203 w 691192"/>
                <a:gd name="connsiteY94" fmla="*/ 147764 h 410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691192" h="410451">
                  <a:moveTo>
                    <a:pt x="488716" y="-2015"/>
                  </a:moveTo>
                  <a:lnTo>
                    <a:pt x="367969" y="-1047"/>
                  </a:lnTo>
                  <a:cubicBezTo>
                    <a:pt x="368480" y="-955"/>
                    <a:pt x="368990" y="-841"/>
                    <a:pt x="369508" y="-689"/>
                  </a:cubicBezTo>
                  <a:cubicBezTo>
                    <a:pt x="383895" y="26819"/>
                    <a:pt x="398853" y="53375"/>
                    <a:pt x="415061" y="79283"/>
                  </a:cubicBezTo>
                  <a:lnTo>
                    <a:pt x="418787" y="79253"/>
                  </a:lnTo>
                  <a:cubicBezTo>
                    <a:pt x="418848" y="79253"/>
                    <a:pt x="418909" y="79253"/>
                    <a:pt x="418970" y="79253"/>
                  </a:cubicBezTo>
                  <a:cubicBezTo>
                    <a:pt x="431467" y="79253"/>
                    <a:pt x="441731" y="89418"/>
                    <a:pt x="441837" y="101930"/>
                  </a:cubicBezTo>
                  <a:lnTo>
                    <a:pt x="441982" y="119959"/>
                  </a:lnTo>
                  <a:cubicBezTo>
                    <a:pt x="466221" y="154561"/>
                    <a:pt x="493463" y="188203"/>
                    <a:pt x="525436" y="221640"/>
                  </a:cubicBezTo>
                  <a:lnTo>
                    <a:pt x="633701" y="220764"/>
                  </a:lnTo>
                  <a:cubicBezTo>
                    <a:pt x="633770" y="220764"/>
                    <a:pt x="633831" y="220764"/>
                    <a:pt x="633892" y="220764"/>
                  </a:cubicBezTo>
                  <a:cubicBezTo>
                    <a:pt x="646389" y="220764"/>
                    <a:pt x="656645" y="230929"/>
                    <a:pt x="656752" y="243441"/>
                  </a:cubicBezTo>
                  <a:lnTo>
                    <a:pt x="657209" y="300743"/>
                  </a:lnTo>
                  <a:cubicBezTo>
                    <a:pt x="664090" y="297627"/>
                    <a:pt x="670399" y="292963"/>
                    <a:pt x="675604" y="286814"/>
                  </a:cubicBezTo>
                  <a:cubicBezTo>
                    <a:pt x="694349" y="264632"/>
                    <a:pt x="691537" y="231485"/>
                    <a:pt x="669439" y="212747"/>
                  </a:cubicBezTo>
                  <a:cubicBezTo>
                    <a:pt x="658954" y="203878"/>
                    <a:pt x="648941" y="195039"/>
                    <a:pt x="639363" y="186222"/>
                  </a:cubicBezTo>
                  <a:lnTo>
                    <a:pt x="517633" y="187198"/>
                  </a:lnTo>
                  <a:cubicBezTo>
                    <a:pt x="517573" y="187205"/>
                    <a:pt x="517504" y="187205"/>
                    <a:pt x="517443" y="187205"/>
                  </a:cubicBezTo>
                  <a:cubicBezTo>
                    <a:pt x="504954" y="187205"/>
                    <a:pt x="494690" y="177040"/>
                    <a:pt x="494583" y="164528"/>
                  </a:cubicBezTo>
                  <a:lnTo>
                    <a:pt x="494080" y="101511"/>
                  </a:lnTo>
                  <a:cubicBezTo>
                    <a:pt x="493973" y="88938"/>
                    <a:pt x="504184" y="78567"/>
                    <a:pt x="516750" y="78468"/>
                  </a:cubicBezTo>
                  <a:lnTo>
                    <a:pt x="541507" y="78262"/>
                  </a:lnTo>
                  <a:cubicBezTo>
                    <a:pt x="522160" y="52339"/>
                    <a:pt x="504900" y="25760"/>
                    <a:pt x="488716" y="-2015"/>
                  </a:cubicBezTo>
                  <a:moveTo>
                    <a:pt x="363054" y="-1009"/>
                  </a:moveTo>
                  <a:lnTo>
                    <a:pt x="-3171" y="1940"/>
                  </a:lnTo>
                  <a:lnTo>
                    <a:pt x="35143" y="94104"/>
                  </a:lnTo>
                  <a:cubicBezTo>
                    <a:pt x="45780" y="139794"/>
                    <a:pt x="58208" y="183624"/>
                    <a:pt x="79811" y="225427"/>
                  </a:cubicBezTo>
                  <a:cubicBezTo>
                    <a:pt x="80802" y="225282"/>
                    <a:pt x="81815" y="225206"/>
                    <a:pt x="82836" y="225199"/>
                  </a:cubicBezTo>
                  <a:lnTo>
                    <a:pt x="190857" y="224330"/>
                  </a:lnTo>
                  <a:cubicBezTo>
                    <a:pt x="183824" y="216222"/>
                    <a:pt x="177507" y="207848"/>
                    <a:pt x="172234" y="199252"/>
                  </a:cubicBezTo>
                  <a:cubicBezTo>
                    <a:pt x="170367" y="196212"/>
                    <a:pt x="168569" y="193134"/>
                    <a:pt x="166839" y="190032"/>
                  </a:cubicBezTo>
                  <a:lnTo>
                    <a:pt x="86319" y="190680"/>
                  </a:lnTo>
                  <a:cubicBezTo>
                    <a:pt x="86258" y="190680"/>
                    <a:pt x="86197" y="190680"/>
                    <a:pt x="86136" y="190680"/>
                  </a:cubicBezTo>
                  <a:cubicBezTo>
                    <a:pt x="73647" y="190680"/>
                    <a:pt x="63375" y="180515"/>
                    <a:pt x="63276" y="168003"/>
                  </a:cubicBezTo>
                  <a:lnTo>
                    <a:pt x="62765" y="104978"/>
                  </a:lnTo>
                  <a:cubicBezTo>
                    <a:pt x="62666" y="92405"/>
                    <a:pt x="72877" y="82042"/>
                    <a:pt x="85442" y="81943"/>
                  </a:cubicBezTo>
                  <a:lnTo>
                    <a:pt x="204307" y="80983"/>
                  </a:lnTo>
                  <a:cubicBezTo>
                    <a:pt x="204368" y="80983"/>
                    <a:pt x="204436" y="80983"/>
                    <a:pt x="204497" y="80983"/>
                  </a:cubicBezTo>
                  <a:cubicBezTo>
                    <a:pt x="216979" y="80983"/>
                    <a:pt x="227243" y="91147"/>
                    <a:pt x="227342" y="103660"/>
                  </a:cubicBezTo>
                  <a:lnTo>
                    <a:pt x="227852" y="166677"/>
                  </a:lnTo>
                  <a:cubicBezTo>
                    <a:pt x="227952" y="179242"/>
                    <a:pt x="217748" y="189613"/>
                    <a:pt x="205175" y="189720"/>
                  </a:cubicBezTo>
                  <a:lnTo>
                    <a:pt x="194652" y="189804"/>
                  </a:lnTo>
                  <a:cubicBezTo>
                    <a:pt x="216202" y="224970"/>
                    <a:pt x="240974" y="259770"/>
                    <a:pt x="268437" y="291493"/>
                  </a:cubicBezTo>
                  <a:cubicBezTo>
                    <a:pt x="254324" y="281373"/>
                    <a:pt x="239229" y="269997"/>
                    <a:pt x="224827" y="257622"/>
                  </a:cubicBezTo>
                  <a:lnTo>
                    <a:pt x="225300" y="317370"/>
                  </a:lnTo>
                  <a:cubicBezTo>
                    <a:pt x="225406" y="329943"/>
                    <a:pt x="215196" y="340314"/>
                    <a:pt x="202630" y="340413"/>
                  </a:cubicBezTo>
                  <a:lnTo>
                    <a:pt x="178505" y="340611"/>
                  </a:lnTo>
                  <a:cubicBezTo>
                    <a:pt x="192976" y="352270"/>
                    <a:pt x="207393" y="362839"/>
                    <a:pt x="220774" y="372303"/>
                  </a:cubicBezTo>
                  <a:cubicBezTo>
                    <a:pt x="228965" y="378079"/>
                    <a:pt x="238368" y="380845"/>
                    <a:pt x="247680" y="380845"/>
                  </a:cubicBezTo>
                  <a:cubicBezTo>
                    <a:pt x="262348" y="380845"/>
                    <a:pt x="276788" y="373972"/>
                    <a:pt x="285925" y="361109"/>
                  </a:cubicBezTo>
                  <a:cubicBezTo>
                    <a:pt x="290702" y="354320"/>
                    <a:pt x="293423" y="346700"/>
                    <a:pt x="294207" y="338988"/>
                  </a:cubicBezTo>
                  <a:cubicBezTo>
                    <a:pt x="284279" y="336572"/>
                    <a:pt x="276819" y="327611"/>
                    <a:pt x="276735" y="316959"/>
                  </a:cubicBezTo>
                  <a:lnTo>
                    <a:pt x="276163" y="246504"/>
                  </a:lnTo>
                  <a:cubicBezTo>
                    <a:pt x="276064" y="233931"/>
                    <a:pt x="286275" y="223560"/>
                    <a:pt x="298840" y="223461"/>
                  </a:cubicBezTo>
                  <a:lnTo>
                    <a:pt x="347113" y="223073"/>
                  </a:lnTo>
                  <a:cubicBezTo>
                    <a:pt x="337619" y="212085"/>
                    <a:pt x="328490" y="200586"/>
                    <a:pt x="319773" y="188798"/>
                  </a:cubicBezTo>
                  <a:lnTo>
                    <a:pt x="301888" y="188935"/>
                  </a:lnTo>
                  <a:cubicBezTo>
                    <a:pt x="301827" y="188943"/>
                    <a:pt x="301766" y="188943"/>
                    <a:pt x="301698" y="188943"/>
                  </a:cubicBezTo>
                  <a:cubicBezTo>
                    <a:pt x="289216" y="188943"/>
                    <a:pt x="278952" y="178770"/>
                    <a:pt x="278853" y="166265"/>
                  </a:cubicBezTo>
                  <a:lnTo>
                    <a:pt x="278525" y="126139"/>
                  </a:lnTo>
                  <a:cubicBezTo>
                    <a:pt x="263324" y="100299"/>
                    <a:pt x="250187" y="74574"/>
                    <a:pt x="239420" y="50761"/>
                  </a:cubicBezTo>
                  <a:cubicBezTo>
                    <a:pt x="240784" y="48125"/>
                    <a:pt x="243748" y="45755"/>
                    <a:pt x="247634" y="45755"/>
                  </a:cubicBezTo>
                  <a:cubicBezTo>
                    <a:pt x="249966" y="45755"/>
                    <a:pt x="252640" y="46616"/>
                    <a:pt x="255490" y="48788"/>
                  </a:cubicBezTo>
                  <a:cubicBezTo>
                    <a:pt x="263522" y="64272"/>
                    <a:pt x="271751" y="79359"/>
                    <a:pt x="280202" y="94058"/>
                  </a:cubicBezTo>
                  <a:cubicBezTo>
                    <a:pt x="283692" y="85989"/>
                    <a:pt x="291700" y="80274"/>
                    <a:pt x="301020" y="80198"/>
                  </a:cubicBezTo>
                  <a:lnTo>
                    <a:pt x="394197" y="79451"/>
                  </a:lnTo>
                  <a:cubicBezTo>
                    <a:pt x="379536" y="56400"/>
                    <a:pt x="365508" y="32138"/>
                    <a:pt x="352058" y="6626"/>
                  </a:cubicBezTo>
                  <a:cubicBezTo>
                    <a:pt x="355305" y="2519"/>
                    <a:pt x="358985" y="-201"/>
                    <a:pt x="363054" y="-1009"/>
                  </a:cubicBezTo>
                  <a:moveTo>
                    <a:pt x="442203" y="147764"/>
                  </a:moveTo>
                  <a:lnTo>
                    <a:pt x="442340" y="164947"/>
                  </a:lnTo>
                  <a:cubicBezTo>
                    <a:pt x="442447" y="177520"/>
                    <a:pt x="432244" y="187891"/>
                    <a:pt x="419663" y="187990"/>
                  </a:cubicBezTo>
                  <a:lnTo>
                    <a:pt x="341352" y="188623"/>
                  </a:lnTo>
                  <a:cubicBezTo>
                    <a:pt x="349910" y="200357"/>
                    <a:pt x="358642" y="211787"/>
                    <a:pt x="367565" y="222905"/>
                  </a:cubicBezTo>
                  <a:lnTo>
                    <a:pt x="417705" y="222501"/>
                  </a:lnTo>
                  <a:cubicBezTo>
                    <a:pt x="417766" y="222501"/>
                    <a:pt x="417827" y="222501"/>
                    <a:pt x="417888" y="222501"/>
                  </a:cubicBezTo>
                  <a:cubicBezTo>
                    <a:pt x="430369" y="222501"/>
                    <a:pt x="440641" y="232666"/>
                    <a:pt x="440740" y="245178"/>
                  </a:cubicBezTo>
                  <a:lnTo>
                    <a:pt x="441312" y="315633"/>
                  </a:lnTo>
                  <a:cubicBezTo>
                    <a:pt x="441411" y="328206"/>
                    <a:pt x="431207" y="338577"/>
                    <a:pt x="418634" y="338676"/>
                  </a:cubicBezTo>
                  <a:lnTo>
                    <a:pt x="314941" y="339506"/>
                  </a:lnTo>
                  <a:cubicBezTo>
                    <a:pt x="329138" y="352521"/>
                    <a:pt x="343859" y="364523"/>
                    <a:pt x="359046" y="375229"/>
                  </a:cubicBezTo>
                  <a:lnTo>
                    <a:pt x="417705" y="374756"/>
                  </a:lnTo>
                  <a:cubicBezTo>
                    <a:pt x="417766" y="374756"/>
                    <a:pt x="417827" y="374756"/>
                    <a:pt x="417888" y="374756"/>
                  </a:cubicBezTo>
                  <a:cubicBezTo>
                    <a:pt x="430369" y="374749"/>
                    <a:pt x="440641" y="384914"/>
                    <a:pt x="440740" y="397426"/>
                  </a:cubicBezTo>
                  <a:lnTo>
                    <a:pt x="440831" y="408437"/>
                  </a:lnTo>
                  <a:cubicBezTo>
                    <a:pt x="456734" y="405389"/>
                    <a:pt x="471014" y="395064"/>
                    <a:pt x="478474" y="379321"/>
                  </a:cubicBezTo>
                  <a:cubicBezTo>
                    <a:pt x="484723" y="366131"/>
                    <a:pt x="484959" y="351660"/>
                    <a:pt x="480379" y="338935"/>
                  </a:cubicBezTo>
                  <a:cubicBezTo>
                    <a:pt x="494857" y="351142"/>
                    <a:pt x="509617" y="362800"/>
                    <a:pt x="524796" y="373895"/>
                  </a:cubicBezTo>
                  <a:lnTo>
                    <a:pt x="607671" y="373225"/>
                  </a:lnTo>
                  <a:cubicBezTo>
                    <a:pt x="613402" y="362633"/>
                    <a:pt x="616427" y="349641"/>
                    <a:pt x="616183" y="337083"/>
                  </a:cubicBezTo>
                  <a:lnTo>
                    <a:pt x="515789" y="337891"/>
                  </a:lnTo>
                  <a:cubicBezTo>
                    <a:pt x="515728" y="337891"/>
                    <a:pt x="515660" y="337891"/>
                    <a:pt x="515599" y="337891"/>
                  </a:cubicBezTo>
                  <a:cubicBezTo>
                    <a:pt x="503110" y="337891"/>
                    <a:pt x="492846" y="327733"/>
                    <a:pt x="492739" y="315221"/>
                  </a:cubicBezTo>
                  <a:lnTo>
                    <a:pt x="492175" y="244767"/>
                  </a:lnTo>
                  <a:cubicBezTo>
                    <a:pt x="492091" y="234350"/>
                    <a:pt x="499071" y="225450"/>
                    <a:pt x="508611" y="222646"/>
                  </a:cubicBezTo>
                  <a:cubicBezTo>
                    <a:pt x="485325" y="199710"/>
                    <a:pt x="463211" y="174769"/>
                    <a:pt x="442203" y="147764"/>
                  </a:cubicBezTo>
                </a:path>
              </a:pathLst>
            </a:custGeom>
            <a:solidFill>
              <a:srgbClr val="28282E"/>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7" name="Freeform: Shape 406">
              <a:extLst>
                <a:ext uri="{FF2B5EF4-FFF2-40B4-BE49-F238E27FC236}">
                  <a16:creationId xmlns:a16="http://schemas.microsoft.com/office/drawing/2014/main" id="{0FBA22DE-09D9-DF8D-FCC7-BC76F47AE260}"/>
                </a:ext>
              </a:extLst>
            </p:cNvPr>
            <p:cNvSpPr/>
            <p:nvPr/>
          </p:nvSpPr>
          <p:spPr>
            <a:xfrm flipV="1">
              <a:off x="4750802" y="5328556"/>
              <a:ext cx="109932" cy="78020"/>
            </a:xfrm>
            <a:custGeom>
              <a:avLst/>
              <a:gdLst>
                <a:gd name="connsiteX0" fmla="*/ 138283 w 165034"/>
                <a:gd name="connsiteY0" fmla="*/ -2128 h 117126"/>
                <a:gd name="connsiteX1" fmla="*/ 138092 w 165034"/>
                <a:gd name="connsiteY1" fmla="*/ -2128 h 117126"/>
                <a:gd name="connsiteX2" fmla="*/ 29827 w 165034"/>
                <a:gd name="connsiteY2" fmla="*/ -1252 h 117126"/>
                <a:gd name="connsiteX3" fmla="*/ 105928 w 165034"/>
                <a:gd name="connsiteY3" fmla="*/ 70095 h 117126"/>
                <a:gd name="connsiteX4" fmla="*/ 139868 w 165034"/>
                <a:gd name="connsiteY4" fmla="*/ 82530 h 117126"/>
                <a:gd name="connsiteX5" fmla="*/ 161600 w 165034"/>
                <a:gd name="connsiteY5" fmla="*/ 77852 h 117126"/>
                <a:gd name="connsiteX6" fmla="*/ 161143 w 165034"/>
                <a:gd name="connsiteY6" fmla="*/ 20549 h 117126"/>
                <a:gd name="connsiteX7" fmla="*/ 138283 w 165034"/>
                <a:gd name="connsiteY7" fmla="*/ -2128 h 117126"/>
                <a:gd name="connsiteX8" fmla="*/ 13002 w 165034"/>
                <a:gd name="connsiteY8" fmla="*/ -246 h 117126"/>
                <a:gd name="connsiteX9" fmla="*/ -3434 w 165034"/>
                <a:gd name="connsiteY9" fmla="*/ 21875 h 117126"/>
                <a:gd name="connsiteX10" fmla="*/ -2870 w 165034"/>
                <a:gd name="connsiteY10" fmla="*/ 92330 h 117126"/>
                <a:gd name="connsiteX11" fmla="*/ 19990 w 165034"/>
                <a:gd name="connsiteY11" fmla="*/ 114999 h 117126"/>
                <a:gd name="connsiteX12" fmla="*/ 20180 w 165034"/>
                <a:gd name="connsiteY12" fmla="*/ 114999 h 117126"/>
                <a:gd name="connsiteX13" fmla="*/ 120574 w 165034"/>
                <a:gd name="connsiteY13" fmla="*/ 114191 h 117126"/>
                <a:gd name="connsiteX14" fmla="*/ 102118 w 165034"/>
                <a:gd name="connsiteY14" fmla="*/ 73905 h 117126"/>
                <a:gd name="connsiteX15" fmla="*/ 13002 w 165034"/>
                <a:gd name="connsiteY15" fmla="*/ -246 h 117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034" h="117126">
                  <a:moveTo>
                    <a:pt x="138283" y="-2128"/>
                  </a:moveTo>
                  <a:cubicBezTo>
                    <a:pt x="138222" y="-2128"/>
                    <a:pt x="138161" y="-2128"/>
                    <a:pt x="138092" y="-2128"/>
                  </a:cubicBezTo>
                  <a:lnTo>
                    <a:pt x="29827" y="-1252"/>
                  </a:lnTo>
                  <a:cubicBezTo>
                    <a:pt x="52588" y="22546"/>
                    <a:pt x="77749" y="46244"/>
                    <a:pt x="105928" y="70095"/>
                  </a:cubicBezTo>
                  <a:cubicBezTo>
                    <a:pt x="115811" y="78446"/>
                    <a:pt x="127874" y="82530"/>
                    <a:pt x="139868" y="82530"/>
                  </a:cubicBezTo>
                  <a:cubicBezTo>
                    <a:pt x="147320" y="82530"/>
                    <a:pt x="154742" y="80953"/>
                    <a:pt x="161600" y="77852"/>
                  </a:cubicBezTo>
                  <a:lnTo>
                    <a:pt x="161143" y="20549"/>
                  </a:lnTo>
                  <a:cubicBezTo>
                    <a:pt x="161036" y="8037"/>
                    <a:pt x="150779" y="-2128"/>
                    <a:pt x="138283" y="-2128"/>
                  </a:cubicBezTo>
                  <a:moveTo>
                    <a:pt x="13002" y="-246"/>
                  </a:moveTo>
                  <a:cubicBezTo>
                    <a:pt x="3462" y="2558"/>
                    <a:pt x="-3518" y="11459"/>
                    <a:pt x="-3434" y="21875"/>
                  </a:cubicBezTo>
                  <a:lnTo>
                    <a:pt x="-2870" y="92330"/>
                  </a:lnTo>
                  <a:cubicBezTo>
                    <a:pt x="-2764" y="104842"/>
                    <a:pt x="7501" y="114999"/>
                    <a:pt x="19990" y="114999"/>
                  </a:cubicBezTo>
                  <a:cubicBezTo>
                    <a:pt x="20051" y="114999"/>
                    <a:pt x="20119" y="114999"/>
                    <a:pt x="20180" y="114999"/>
                  </a:cubicBezTo>
                  <a:lnTo>
                    <a:pt x="120574" y="114191"/>
                  </a:lnTo>
                  <a:cubicBezTo>
                    <a:pt x="120254" y="98014"/>
                    <a:pt x="114508" y="82553"/>
                    <a:pt x="102118" y="73905"/>
                  </a:cubicBezTo>
                  <a:cubicBezTo>
                    <a:pt x="70663" y="52005"/>
                    <a:pt x="40991" y="27331"/>
                    <a:pt x="13002" y="-246"/>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8" name="Freeform: Shape 407">
              <a:extLst>
                <a:ext uri="{FF2B5EF4-FFF2-40B4-BE49-F238E27FC236}">
                  <a16:creationId xmlns:a16="http://schemas.microsoft.com/office/drawing/2014/main" id="{EE1E54D2-E710-F88D-F03F-6180933E632E}"/>
                </a:ext>
              </a:extLst>
            </p:cNvPr>
            <p:cNvSpPr/>
            <p:nvPr/>
          </p:nvSpPr>
          <p:spPr>
            <a:xfrm flipV="1">
              <a:off x="4606913" y="5327479"/>
              <a:ext cx="110008" cy="77939"/>
            </a:xfrm>
            <a:custGeom>
              <a:avLst/>
              <a:gdLst>
                <a:gd name="connsiteX0" fmla="*/ 138536 w 165149"/>
                <a:gd name="connsiteY0" fmla="*/ -2130 h 117005"/>
                <a:gd name="connsiteX1" fmla="*/ 138353 w 165149"/>
                <a:gd name="connsiteY1" fmla="*/ -2130 h 117005"/>
                <a:gd name="connsiteX2" fmla="*/ 88213 w 165149"/>
                <a:gd name="connsiteY2" fmla="*/ -1726 h 117005"/>
                <a:gd name="connsiteX3" fmla="*/ 160199 w 165149"/>
                <a:gd name="connsiteY3" fmla="*/ 77468 h 117005"/>
                <a:gd name="connsiteX4" fmla="*/ 67761 w 165149"/>
                <a:gd name="connsiteY4" fmla="*/ -1559 h 117005"/>
                <a:gd name="connsiteX5" fmla="*/ 19489 w 165149"/>
                <a:gd name="connsiteY5" fmla="*/ -1170 h 117005"/>
                <a:gd name="connsiteX6" fmla="*/ -3189 w 165149"/>
                <a:gd name="connsiteY6" fmla="*/ 21873 h 117005"/>
                <a:gd name="connsiteX7" fmla="*/ -2617 w 165149"/>
                <a:gd name="connsiteY7" fmla="*/ 92327 h 117005"/>
                <a:gd name="connsiteX8" fmla="*/ 14856 w 165149"/>
                <a:gd name="connsiteY8" fmla="*/ 114356 h 117005"/>
                <a:gd name="connsiteX9" fmla="*/ 11373 w 165149"/>
                <a:gd name="connsiteY9" fmla="*/ 91215 h 117005"/>
                <a:gd name="connsiteX10" fmla="*/ 35590 w 165149"/>
                <a:gd name="connsiteY10" fmla="*/ 114875 h 117005"/>
                <a:gd name="connsiteX11" fmla="*/ 139283 w 165149"/>
                <a:gd name="connsiteY11" fmla="*/ 114044 h 117005"/>
                <a:gd name="connsiteX12" fmla="*/ 161960 w 165149"/>
                <a:gd name="connsiteY12" fmla="*/ 91001 h 117005"/>
                <a:gd name="connsiteX13" fmla="*/ 161388 w 165149"/>
                <a:gd name="connsiteY13" fmla="*/ 20547 h 117005"/>
                <a:gd name="connsiteX14" fmla="*/ 138536 w 165149"/>
                <a:gd name="connsiteY14" fmla="*/ -2130 h 117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149" h="117005">
                  <a:moveTo>
                    <a:pt x="138536" y="-2130"/>
                  </a:moveTo>
                  <a:cubicBezTo>
                    <a:pt x="138475" y="-2130"/>
                    <a:pt x="138414" y="-2130"/>
                    <a:pt x="138353" y="-2130"/>
                  </a:cubicBezTo>
                  <a:lnTo>
                    <a:pt x="88213" y="-1726"/>
                  </a:lnTo>
                  <a:cubicBezTo>
                    <a:pt x="110990" y="26666"/>
                    <a:pt x="134970" y="53046"/>
                    <a:pt x="160199" y="77468"/>
                  </a:cubicBezTo>
                  <a:cubicBezTo>
                    <a:pt x="126763" y="58700"/>
                    <a:pt x="95658" y="30727"/>
                    <a:pt x="67761" y="-1559"/>
                  </a:cubicBezTo>
                  <a:lnTo>
                    <a:pt x="19489" y="-1170"/>
                  </a:lnTo>
                  <a:cubicBezTo>
                    <a:pt x="6923" y="-1071"/>
                    <a:pt x="-3288" y="9300"/>
                    <a:pt x="-3189" y="21873"/>
                  </a:cubicBezTo>
                  <a:lnTo>
                    <a:pt x="-2617" y="92327"/>
                  </a:lnTo>
                  <a:cubicBezTo>
                    <a:pt x="-2533" y="102980"/>
                    <a:pt x="4927" y="111941"/>
                    <a:pt x="14856" y="114356"/>
                  </a:cubicBezTo>
                  <a:cubicBezTo>
                    <a:pt x="15663" y="106470"/>
                    <a:pt x="14452" y="98492"/>
                    <a:pt x="11373" y="91215"/>
                  </a:cubicBezTo>
                  <a:cubicBezTo>
                    <a:pt x="19260" y="99406"/>
                    <a:pt x="27337" y="107316"/>
                    <a:pt x="35590" y="114875"/>
                  </a:cubicBezTo>
                  <a:lnTo>
                    <a:pt x="139283" y="114044"/>
                  </a:lnTo>
                  <a:cubicBezTo>
                    <a:pt x="151856" y="113945"/>
                    <a:pt x="162059" y="103574"/>
                    <a:pt x="161960" y="91001"/>
                  </a:cubicBezTo>
                  <a:lnTo>
                    <a:pt x="161388" y="20547"/>
                  </a:lnTo>
                  <a:cubicBezTo>
                    <a:pt x="161289" y="8035"/>
                    <a:pt x="151017" y="-2130"/>
                    <a:pt x="138536" y="-2130"/>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9" name="Freeform: Shape 408">
              <a:extLst>
                <a:ext uri="{FF2B5EF4-FFF2-40B4-BE49-F238E27FC236}">
                  <a16:creationId xmlns:a16="http://schemas.microsoft.com/office/drawing/2014/main" id="{A50D2E05-C5B5-B86B-A5D8-AC8AE11D92B5}"/>
                </a:ext>
              </a:extLst>
            </p:cNvPr>
            <p:cNvSpPr/>
            <p:nvPr/>
          </p:nvSpPr>
          <p:spPr>
            <a:xfrm flipV="1">
              <a:off x="4476120" y="5326743"/>
              <a:ext cx="96913" cy="77457"/>
            </a:xfrm>
            <a:custGeom>
              <a:avLst/>
              <a:gdLst>
                <a:gd name="connsiteX0" fmla="*/ 108092 w 145489"/>
                <a:gd name="connsiteY0" fmla="*/ -2133 h 116281"/>
                <a:gd name="connsiteX1" fmla="*/ 70 w 145489"/>
                <a:gd name="connsiteY1" fmla="*/ -1264 h 116281"/>
                <a:gd name="connsiteX2" fmla="*/ -2955 w 145489"/>
                <a:gd name="connsiteY2" fmla="*/ -1035 h 116281"/>
                <a:gd name="connsiteX3" fmla="*/ 9831 w 145489"/>
                <a:gd name="connsiteY3" fmla="*/ 21642 h 116281"/>
                <a:gd name="connsiteX4" fmla="*/ 95740 w 145489"/>
                <a:gd name="connsiteY4" fmla="*/ 114149 h 116281"/>
                <a:gd name="connsiteX5" fmla="*/ 119864 w 145489"/>
                <a:gd name="connsiteY5" fmla="*/ 113951 h 116281"/>
                <a:gd name="connsiteX6" fmla="*/ 142534 w 145489"/>
                <a:gd name="connsiteY6" fmla="*/ 90908 h 116281"/>
                <a:gd name="connsiteX7" fmla="*/ 142061 w 145489"/>
                <a:gd name="connsiteY7" fmla="*/ 31159 h 116281"/>
                <a:gd name="connsiteX8" fmla="*/ 108092 w 145489"/>
                <a:gd name="connsiteY8" fmla="*/ -2133 h 116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489" h="116281">
                  <a:moveTo>
                    <a:pt x="108092" y="-2133"/>
                  </a:moveTo>
                  <a:lnTo>
                    <a:pt x="70" y="-1264"/>
                  </a:lnTo>
                  <a:cubicBezTo>
                    <a:pt x="-951" y="-1256"/>
                    <a:pt x="-1964" y="-1180"/>
                    <a:pt x="-2955" y="-1035"/>
                  </a:cubicBezTo>
                  <a:cubicBezTo>
                    <a:pt x="992" y="6592"/>
                    <a:pt x="5237" y="14151"/>
                    <a:pt x="9831" y="21642"/>
                  </a:cubicBezTo>
                  <a:cubicBezTo>
                    <a:pt x="31922" y="57707"/>
                    <a:pt x="63979" y="88561"/>
                    <a:pt x="95740" y="114149"/>
                  </a:cubicBezTo>
                  <a:lnTo>
                    <a:pt x="119864" y="113951"/>
                  </a:lnTo>
                  <a:cubicBezTo>
                    <a:pt x="132430" y="113851"/>
                    <a:pt x="142640" y="103481"/>
                    <a:pt x="142534" y="90908"/>
                  </a:cubicBezTo>
                  <a:lnTo>
                    <a:pt x="142061" y="31159"/>
                  </a:lnTo>
                  <a:cubicBezTo>
                    <a:pt x="129915" y="20727"/>
                    <a:pt x="118256" y="9579"/>
                    <a:pt x="108092" y="-2133"/>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0" name="Freeform: Shape 409">
              <a:extLst>
                <a:ext uri="{FF2B5EF4-FFF2-40B4-BE49-F238E27FC236}">
                  <a16:creationId xmlns:a16="http://schemas.microsoft.com/office/drawing/2014/main" id="{32750B06-23ED-296A-EAAD-CEA011E778A8}"/>
                </a:ext>
              </a:extLst>
            </p:cNvPr>
            <p:cNvSpPr/>
            <p:nvPr/>
          </p:nvSpPr>
          <p:spPr>
            <a:xfrm flipV="1">
              <a:off x="4772532" y="5289761"/>
              <a:ext cx="55204" cy="15257"/>
            </a:xfrm>
            <a:custGeom>
              <a:avLst/>
              <a:gdLst>
                <a:gd name="connsiteX0" fmla="*/ 79450 w 82875"/>
                <a:gd name="connsiteY0" fmla="*/ -2285 h 22905"/>
                <a:gd name="connsiteX1" fmla="*/ -3425 w 82875"/>
                <a:gd name="connsiteY1" fmla="*/ -1614 h 22905"/>
                <a:gd name="connsiteX2" fmla="*/ 9391 w 82875"/>
                <a:gd name="connsiteY2" fmla="*/ 7538 h 22905"/>
                <a:gd name="connsiteX3" fmla="*/ 44908 w 82875"/>
                <a:gd name="connsiteY3" fmla="*/ 20621 h 22905"/>
                <a:gd name="connsiteX4" fmla="*/ 75983 w 82875"/>
                <a:gd name="connsiteY4" fmla="*/ 3354 h 22905"/>
                <a:gd name="connsiteX5" fmla="*/ 79450 w 82875"/>
                <a:gd name="connsiteY5" fmla="*/ -2285 h 22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875" h="22905">
                  <a:moveTo>
                    <a:pt x="79450" y="-2285"/>
                  </a:moveTo>
                  <a:lnTo>
                    <a:pt x="-3425" y="-1614"/>
                  </a:lnTo>
                  <a:cubicBezTo>
                    <a:pt x="811" y="1480"/>
                    <a:pt x="5086" y="4535"/>
                    <a:pt x="9391" y="7538"/>
                  </a:cubicBezTo>
                  <a:cubicBezTo>
                    <a:pt x="21149" y="15729"/>
                    <a:pt x="33455" y="20621"/>
                    <a:pt x="44908" y="20621"/>
                  </a:cubicBezTo>
                  <a:cubicBezTo>
                    <a:pt x="56689" y="20621"/>
                    <a:pt x="67563" y="15447"/>
                    <a:pt x="75983" y="3354"/>
                  </a:cubicBezTo>
                  <a:cubicBezTo>
                    <a:pt x="77232" y="1571"/>
                    <a:pt x="78391" y="-319"/>
                    <a:pt x="79450" y="-2285"/>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1" name="Freeform: Shape 410">
              <a:extLst>
                <a:ext uri="{FF2B5EF4-FFF2-40B4-BE49-F238E27FC236}">
                  <a16:creationId xmlns:a16="http://schemas.microsoft.com/office/drawing/2014/main" id="{C34828E8-13D7-6FE1-1574-FB2208A591F1}"/>
                </a:ext>
              </a:extLst>
            </p:cNvPr>
            <p:cNvSpPr/>
            <p:nvPr/>
          </p:nvSpPr>
          <p:spPr>
            <a:xfrm flipV="1">
              <a:off x="4662123" y="5280935"/>
              <a:ext cx="54478" cy="23064"/>
            </a:xfrm>
            <a:custGeom>
              <a:avLst/>
              <a:gdLst>
                <a:gd name="connsiteX0" fmla="*/ 55606 w 81785"/>
                <a:gd name="connsiteY0" fmla="*/ -2296 h 34625"/>
                <a:gd name="connsiteX1" fmla="*/ 55423 w 81785"/>
                <a:gd name="connsiteY1" fmla="*/ -2296 h 34625"/>
                <a:gd name="connsiteX2" fmla="*/ -3236 w 81785"/>
                <a:gd name="connsiteY2" fmla="*/ -1823 h 34625"/>
                <a:gd name="connsiteX3" fmla="*/ 46172 w 81785"/>
                <a:gd name="connsiteY3" fmla="*/ 27262 h 34625"/>
                <a:gd name="connsiteX4" fmla="*/ 68651 w 81785"/>
                <a:gd name="connsiteY4" fmla="*/ 32330 h 34625"/>
                <a:gd name="connsiteX5" fmla="*/ 78549 w 81785"/>
                <a:gd name="connsiteY5" fmla="*/ 31385 h 34625"/>
                <a:gd name="connsiteX6" fmla="*/ 78458 w 81785"/>
                <a:gd name="connsiteY6" fmla="*/ 20374 h 34625"/>
                <a:gd name="connsiteX7" fmla="*/ 55606 w 81785"/>
                <a:gd name="connsiteY7" fmla="*/ -2296 h 34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785" h="34625">
                  <a:moveTo>
                    <a:pt x="55606" y="-2296"/>
                  </a:moveTo>
                  <a:cubicBezTo>
                    <a:pt x="55544" y="-2296"/>
                    <a:pt x="55484" y="-2296"/>
                    <a:pt x="55423" y="-2296"/>
                  </a:cubicBezTo>
                  <a:lnTo>
                    <a:pt x="-3236" y="-1823"/>
                  </a:lnTo>
                  <a:cubicBezTo>
                    <a:pt x="12735" y="9424"/>
                    <a:pt x="29217" y="19223"/>
                    <a:pt x="46172" y="27262"/>
                  </a:cubicBezTo>
                  <a:cubicBezTo>
                    <a:pt x="53449" y="30699"/>
                    <a:pt x="61115" y="32330"/>
                    <a:pt x="68651" y="32330"/>
                  </a:cubicBezTo>
                  <a:cubicBezTo>
                    <a:pt x="71989" y="32330"/>
                    <a:pt x="75303" y="32010"/>
                    <a:pt x="78549" y="31385"/>
                  </a:cubicBezTo>
                  <a:lnTo>
                    <a:pt x="78458" y="20374"/>
                  </a:lnTo>
                  <a:cubicBezTo>
                    <a:pt x="78359" y="7862"/>
                    <a:pt x="68087" y="-2303"/>
                    <a:pt x="55606" y="-2296"/>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2" name="Freeform: Shape 411">
              <a:extLst>
                <a:ext uri="{FF2B5EF4-FFF2-40B4-BE49-F238E27FC236}">
                  <a16:creationId xmlns:a16="http://schemas.microsoft.com/office/drawing/2014/main" id="{0F9E603E-FFE8-94DA-F584-939A71FFDA22}"/>
                </a:ext>
              </a:extLst>
            </p:cNvPr>
            <p:cNvSpPr/>
            <p:nvPr/>
          </p:nvSpPr>
          <p:spPr>
            <a:xfrm flipV="1">
              <a:off x="4752071" y="5428930"/>
              <a:ext cx="96775" cy="72569"/>
            </a:xfrm>
            <a:custGeom>
              <a:avLst/>
              <a:gdLst>
                <a:gd name="connsiteX0" fmla="*/ 44002 w 145283"/>
                <a:gd name="connsiteY0" fmla="*/ -1910 h 108943"/>
                <a:gd name="connsiteX1" fmla="*/ 19245 w 145283"/>
                <a:gd name="connsiteY1" fmla="*/ -1704 h 108943"/>
                <a:gd name="connsiteX2" fmla="*/ -3425 w 145283"/>
                <a:gd name="connsiteY2" fmla="*/ 21339 h 108943"/>
                <a:gd name="connsiteX3" fmla="*/ -2922 w 145283"/>
                <a:gd name="connsiteY3" fmla="*/ 84356 h 108943"/>
                <a:gd name="connsiteX4" fmla="*/ 19938 w 145283"/>
                <a:gd name="connsiteY4" fmla="*/ 107033 h 108943"/>
                <a:gd name="connsiteX5" fmla="*/ 20128 w 145283"/>
                <a:gd name="connsiteY5" fmla="*/ 107026 h 108943"/>
                <a:gd name="connsiteX6" fmla="*/ 141858 w 145283"/>
                <a:gd name="connsiteY6" fmla="*/ 106050 h 108943"/>
                <a:gd name="connsiteX7" fmla="*/ 44002 w 145283"/>
                <a:gd name="connsiteY7" fmla="*/ -1910 h 108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83" h="108943">
                  <a:moveTo>
                    <a:pt x="44002" y="-1910"/>
                  </a:moveTo>
                  <a:lnTo>
                    <a:pt x="19245" y="-1704"/>
                  </a:lnTo>
                  <a:cubicBezTo>
                    <a:pt x="6679" y="-1605"/>
                    <a:pt x="-3532" y="8766"/>
                    <a:pt x="-3425" y="21339"/>
                  </a:cubicBezTo>
                  <a:lnTo>
                    <a:pt x="-2922" y="84356"/>
                  </a:lnTo>
                  <a:cubicBezTo>
                    <a:pt x="-2815" y="96868"/>
                    <a:pt x="7449" y="107033"/>
                    <a:pt x="19938" y="107033"/>
                  </a:cubicBezTo>
                  <a:cubicBezTo>
                    <a:pt x="19999" y="107033"/>
                    <a:pt x="20068" y="107033"/>
                    <a:pt x="20128" y="107026"/>
                  </a:cubicBezTo>
                  <a:lnTo>
                    <a:pt x="141858" y="106050"/>
                  </a:lnTo>
                  <a:cubicBezTo>
                    <a:pt x="103148" y="70396"/>
                    <a:pt x="71487" y="34918"/>
                    <a:pt x="44002" y="-1910"/>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3" name="Freeform: Shape 412">
              <a:extLst>
                <a:ext uri="{FF2B5EF4-FFF2-40B4-BE49-F238E27FC236}">
                  <a16:creationId xmlns:a16="http://schemas.microsoft.com/office/drawing/2014/main" id="{AE5A8A10-1610-D44D-4A76-263986DD40AF}"/>
                </a:ext>
              </a:extLst>
            </p:cNvPr>
            <p:cNvSpPr/>
            <p:nvPr/>
          </p:nvSpPr>
          <p:spPr>
            <a:xfrm flipV="1">
              <a:off x="4608486" y="5427773"/>
              <a:ext cx="109120" cy="73066"/>
            </a:xfrm>
            <a:custGeom>
              <a:avLst/>
              <a:gdLst>
                <a:gd name="connsiteX0" fmla="*/ 137253 w 163815"/>
                <a:gd name="connsiteY0" fmla="*/ -1912 h 109689"/>
                <a:gd name="connsiteX1" fmla="*/ 137070 w 163815"/>
                <a:gd name="connsiteY1" fmla="*/ -1912 h 109689"/>
                <a:gd name="connsiteX2" fmla="*/ 133344 w 163815"/>
                <a:gd name="connsiteY2" fmla="*/ -1881 h 109689"/>
                <a:gd name="connsiteX3" fmla="*/ 160265 w 163815"/>
                <a:gd name="connsiteY3" fmla="*/ 38794 h 109689"/>
                <a:gd name="connsiteX4" fmla="*/ 160121 w 163815"/>
                <a:gd name="connsiteY4" fmla="*/ 20765 h 109689"/>
                <a:gd name="connsiteX5" fmla="*/ 137253 w 163815"/>
                <a:gd name="connsiteY5" fmla="*/ -1912 h 109689"/>
                <a:gd name="connsiteX6" fmla="*/ 112480 w 163815"/>
                <a:gd name="connsiteY6" fmla="*/ -1714 h 109689"/>
                <a:gd name="connsiteX7" fmla="*/ 19303 w 163815"/>
                <a:gd name="connsiteY7" fmla="*/ -967 h 109689"/>
                <a:gd name="connsiteX8" fmla="*/ -1515 w 163815"/>
                <a:gd name="connsiteY8" fmla="*/ 12894 h 109689"/>
                <a:gd name="connsiteX9" fmla="*/ 59636 w 163815"/>
                <a:gd name="connsiteY9" fmla="*/ 107458 h 109689"/>
                <a:gd name="connsiteX10" fmla="*/ 137947 w 163815"/>
                <a:gd name="connsiteY10" fmla="*/ 106825 h 109689"/>
                <a:gd name="connsiteX11" fmla="*/ 160624 w 163815"/>
                <a:gd name="connsiteY11" fmla="*/ 83783 h 109689"/>
                <a:gd name="connsiteX12" fmla="*/ 160486 w 163815"/>
                <a:gd name="connsiteY12" fmla="*/ 66599 h 109689"/>
                <a:gd name="connsiteX13" fmla="*/ 112480 w 163815"/>
                <a:gd name="connsiteY13" fmla="*/ -1714 h 109689"/>
                <a:gd name="connsiteX14" fmla="*/ -3191 w 163815"/>
                <a:gd name="connsiteY14" fmla="*/ 44974 h 109689"/>
                <a:gd name="connsiteX15" fmla="*/ -2863 w 163815"/>
                <a:gd name="connsiteY15" fmla="*/ 85101 h 109689"/>
                <a:gd name="connsiteX16" fmla="*/ 19981 w 163815"/>
                <a:gd name="connsiteY16" fmla="*/ 107778 h 109689"/>
                <a:gd name="connsiteX17" fmla="*/ 20172 w 163815"/>
                <a:gd name="connsiteY17" fmla="*/ 107770 h 109689"/>
                <a:gd name="connsiteX18" fmla="*/ 38056 w 163815"/>
                <a:gd name="connsiteY18" fmla="*/ 107633 h 109689"/>
                <a:gd name="connsiteX19" fmla="*/ -3191 w 163815"/>
                <a:gd name="connsiteY19" fmla="*/ 44974 h 109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3815" h="109689">
                  <a:moveTo>
                    <a:pt x="137253" y="-1912"/>
                  </a:moveTo>
                  <a:cubicBezTo>
                    <a:pt x="137192" y="-1912"/>
                    <a:pt x="137131" y="-1912"/>
                    <a:pt x="137070" y="-1912"/>
                  </a:cubicBezTo>
                  <a:lnTo>
                    <a:pt x="133344" y="-1881"/>
                  </a:lnTo>
                  <a:cubicBezTo>
                    <a:pt x="141932" y="11842"/>
                    <a:pt x="150870" y="25398"/>
                    <a:pt x="160265" y="38794"/>
                  </a:cubicBezTo>
                  <a:lnTo>
                    <a:pt x="160121" y="20765"/>
                  </a:lnTo>
                  <a:cubicBezTo>
                    <a:pt x="160014" y="8253"/>
                    <a:pt x="149750" y="-1912"/>
                    <a:pt x="137253" y="-1912"/>
                  </a:cubicBezTo>
                  <a:moveTo>
                    <a:pt x="112480" y="-1714"/>
                  </a:moveTo>
                  <a:lnTo>
                    <a:pt x="19303" y="-967"/>
                  </a:lnTo>
                  <a:cubicBezTo>
                    <a:pt x="9984" y="-891"/>
                    <a:pt x="1975" y="4824"/>
                    <a:pt x="-1515" y="12894"/>
                  </a:cubicBezTo>
                  <a:cubicBezTo>
                    <a:pt x="17756" y="46429"/>
                    <a:pt x="38125" y="77931"/>
                    <a:pt x="59636" y="107458"/>
                  </a:cubicBezTo>
                  <a:lnTo>
                    <a:pt x="137947" y="106825"/>
                  </a:lnTo>
                  <a:cubicBezTo>
                    <a:pt x="150527" y="106727"/>
                    <a:pt x="160730" y="96356"/>
                    <a:pt x="160624" y="83783"/>
                  </a:cubicBezTo>
                  <a:lnTo>
                    <a:pt x="160486" y="66599"/>
                  </a:lnTo>
                  <a:cubicBezTo>
                    <a:pt x="143791" y="45149"/>
                    <a:pt x="127797" y="22373"/>
                    <a:pt x="112480" y="-1714"/>
                  </a:cubicBezTo>
                  <a:moveTo>
                    <a:pt x="-3191" y="44974"/>
                  </a:moveTo>
                  <a:lnTo>
                    <a:pt x="-2863" y="85101"/>
                  </a:lnTo>
                  <a:cubicBezTo>
                    <a:pt x="-2764" y="97605"/>
                    <a:pt x="7500" y="107778"/>
                    <a:pt x="19981" y="107778"/>
                  </a:cubicBezTo>
                  <a:cubicBezTo>
                    <a:pt x="20050" y="107778"/>
                    <a:pt x="20111" y="107778"/>
                    <a:pt x="20172" y="107770"/>
                  </a:cubicBezTo>
                  <a:lnTo>
                    <a:pt x="38056" y="107633"/>
                  </a:lnTo>
                  <a:cubicBezTo>
                    <a:pt x="23045" y="87326"/>
                    <a:pt x="9237" y="66112"/>
                    <a:pt x="-3191" y="44974"/>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4" name="Freeform: Shape 413">
              <a:extLst>
                <a:ext uri="{FF2B5EF4-FFF2-40B4-BE49-F238E27FC236}">
                  <a16:creationId xmlns:a16="http://schemas.microsoft.com/office/drawing/2014/main" id="{C3853195-32D5-DF6F-C37B-2234D97FF550}"/>
                </a:ext>
              </a:extLst>
            </p:cNvPr>
            <p:cNvSpPr/>
            <p:nvPr/>
          </p:nvSpPr>
          <p:spPr>
            <a:xfrm flipV="1">
              <a:off x="4464764" y="5426615"/>
              <a:ext cx="109968" cy="73071"/>
            </a:xfrm>
            <a:custGeom>
              <a:avLst/>
              <a:gdLst>
                <a:gd name="connsiteX0" fmla="*/ 138786 w 165088"/>
                <a:gd name="connsiteY0" fmla="*/ -1914 h 109697"/>
                <a:gd name="connsiteX1" fmla="*/ 138596 w 165088"/>
                <a:gd name="connsiteY1" fmla="*/ -1914 h 109697"/>
                <a:gd name="connsiteX2" fmla="*/ 19731 w 165088"/>
                <a:gd name="connsiteY2" fmla="*/ -954 h 109697"/>
                <a:gd name="connsiteX3" fmla="*/ -2946 w 165088"/>
                <a:gd name="connsiteY3" fmla="*/ 22081 h 109697"/>
                <a:gd name="connsiteX4" fmla="*/ -2435 w 165088"/>
                <a:gd name="connsiteY4" fmla="*/ 85106 h 109697"/>
                <a:gd name="connsiteX5" fmla="*/ 20425 w 165088"/>
                <a:gd name="connsiteY5" fmla="*/ 107783 h 109697"/>
                <a:gd name="connsiteX6" fmla="*/ 20608 w 165088"/>
                <a:gd name="connsiteY6" fmla="*/ 107783 h 109697"/>
                <a:gd name="connsiteX7" fmla="*/ 101128 w 165088"/>
                <a:gd name="connsiteY7" fmla="*/ 107135 h 109697"/>
                <a:gd name="connsiteX8" fmla="*/ 68248 w 165088"/>
                <a:gd name="connsiteY8" fmla="*/ 21182 h 109697"/>
                <a:gd name="connsiteX9" fmla="*/ 74481 w 165088"/>
                <a:gd name="connsiteY9" fmla="*/ 14369 h 109697"/>
                <a:gd name="connsiteX10" fmla="*/ 81354 w 165088"/>
                <a:gd name="connsiteY10" fmla="*/ 18210 h 109697"/>
                <a:gd name="connsiteX11" fmla="*/ 128941 w 165088"/>
                <a:gd name="connsiteY11" fmla="*/ 106907 h 109697"/>
                <a:gd name="connsiteX12" fmla="*/ 139465 w 165088"/>
                <a:gd name="connsiteY12" fmla="*/ 106823 h 109697"/>
                <a:gd name="connsiteX13" fmla="*/ 162141 w 165088"/>
                <a:gd name="connsiteY13" fmla="*/ 83780 h 109697"/>
                <a:gd name="connsiteX14" fmla="*/ 161631 w 165088"/>
                <a:gd name="connsiteY14" fmla="*/ 20763 h 109697"/>
                <a:gd name="connsiteX15" fmla="*/ 138786 w 165088"/>
                <a:gd name="connsiteY15" fmla="*/ -1914 h 109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088" h="109697">
                  <a:moveTo>
                    <a:pt x="138786" y="-1914"/>
                  </a:moveTo>
                  <a:cubicBezTo>
                    <a:pt x="138725" y="-1914"/>
                    <a:pt x="138657" y="-1914"/>
                    <a:pt x="138596" y="-1914"/>
                  </a:cubicBezTo>
                  <a:lnTo>
                    <a:pt x="19731" y="-954"/>
                  </a:lnTo>
                  <a:cubicBezTo>
                    <a:pt x="7166" y="-855"/>
                    <a:pt x="-3045" y="9508"/>
                    <a:pt x="-2946" y="22081"/>
                  </a:cubicBezTo>
                  <a:lnTo>
                    <a:pt x="-2435" y="85106"/>
                  </a:lnTo>
                  <a:cubicBezTo>
                    <a:pt x="-2336" y="97618"/>
                    <a:pt x="7936" y="107783"/>
                    <a:pt x="20425" y="107783"/>
                  </a:cubicBezTo>
                  <a:cubicBezTo>
                    <a:pt x="20486" y="107783"/>
                    <a:pt x="20547" y="107783"/>
                    <a:pt x="20608" y="107783"/>
                  </a:cubicBezTo>
                  <a:lnTo>
                    <a:pt x="101128" y="107135"/>
                  </a:lnTo>
                  <a:cubicBezTo>
                    <a:pt x="86528" y="80907"/>
                    <a:pt x="76600" y="52279"/>
                    <a:pt x="68248" y="21182"/>
                  </a:cubicBezTo>
                  <a:cubicBezTo>
                    <a:pt x="69284" y="17875"/>
                    <a:pt x="71174" y="14369"/>
                    <a:pt x="74481" y="14369"/>
                  </a:cubicBezTo>
                  <a:cubicBezTo>
                    <a:pt x="76310" y="14369"/>
                    <a:pt x="78565" y="15436"/>
                    <a:pt x="81354" y="18210"/>
                  </a:cubicBezTo>
                  <a:cubicBezTo>
                    <a:pt x="94666" y="46930"/>
                    <a:pt x="110638" y="77044"/>
                    <a:pt x="128941" y="106907"/>
                  </a:cubicBezTo>
                  <a:lnTo>
                    <a:pt x="139465" y="106823"/>
                  </a:lnTo>
                  <a:cubicBezTo>
                    <a:pt x="152038" y="106716"/>
                    <a:pt x="162241" y="96345"/>
                    <a:pt x="162141" y="83780"/>
                  </a:cubicBezTo>
                  <a:lnTo>
                    <a:pt x="161631" y="20763"/>
                  </a:lnTo>
                  <a:cubicBezTo>
                    <a:pt x="161532" y="8251"/>
                    <a:pt x="151268" y="-1914"/>
                    <a:pt x="138786" y="-1914"/>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5" name="Freeform: Shape 414">
              <a:extLst>
                <a:ext uri="{FF2B5EF4-FFF2-40B4-BE49-F238E27FC236}">
                  <a16:creationId xmlns:a16="http://schemas.microsoft.com/office/drawing/2014/main" id="{3C47D407-ECED-FFCB-754B-CDB0D8641173}"/>
                </a:ext>
              </a:extLst>
            </p:cNvPr>
            <p:cNvSpPr/>
            <p:nvPr/>
          </p:nvSpPr>
          <p:spPr>
            <a:xfrm flipV="1">
              <a:off x="4047808" y="5403256"/>
              <a:ext cx="677833" cy="762052"/>
            </a:xfrm>
            <a:custGeom>
              <a:avLst/>
              <a:gdLst>
                <a:gd name="connsiteX0" fmla="*/ 935135 w 1017589"/>
                <a:gd name="connsiteY0" fmla="*/ 764018 h 1144022"/>
                <a:gd name="connsiteX1" fmla="*/ 986326 w 1017589"/>
                <a:gd name="connsiteY1" fmla="*/ 876284 h 1144022"/>
                <a:gd name="connsiteX2" fmla="*/ 969882 w 1017589"/>
                <a:gd name="connsiteY2" fmla="*/ 942555 h 1144022"/>
                <a:gd name="connsiteX3" fmla="*/ 1014871 w 1017589"/>
                <a:gd name="connsiteY3" fmla="*/ 1005504 h 1144022"/>
                <a:gd name="connsiteX4" fmla="*/ 929458 w 1017589"/>
                <a:gd name="connsiteY4" fmla="*/ 1008948 h 1144022"/>
                <a:gd name="connsiteX5" fmla="*/ 891343 w 1017589"/>
                <a:gd name="connsiteY5" fmla="*/ 1025811 h 1144022"/>
                <a:gd name="connsiteX6" fmla="*/ 868064 w 1017589"/>
                <a:gd name="connsiteY6" fmla="*/ 1073375 h 1144022"/>
                <a:gd name="connsiteX7" fmla="*/ 792618 w 1017589"/>
                <a:gd name="connsiteY7" fmla="*/ 1061404 h 1144022"/>
                <a:gd name="connsiteX8" fmla="*/ 765247 w 1017589"/>
                <a:gd name="connsiteY8" fmla="*/ 1061404 h 1144022"/>
                <a:gd name="connsiteX9" fmla="*/ 752606 w 1017589"/>
                <a:gd name="connsiteY9" fmla="*/ 1066494 h 1144022"/>
                <a:gd name="connsiteX10" fmla="*/ 725402 w 1017589"/>
                <a:gd name="connsiteY10" fmla="*/ 1111284 h 1144022"/>
                <a:gd name="connsiteX11" fmla="*/ 655778 w 1017589"/>
                <a:gd name="connsiteY11" fmla="*/ 1106362 h 1144022"/>
                <a:gd name="connsiteX12" fmla="*/ 637536 w 1017589"/>
                <a:gd name="connsiteY12" fmla="*/ 1113860 h 1144022"/>
                <a:gd name="connsiteX13" fmla="*/ 611994 w 1017589"/>
                <a:gd name="connsiteY13" fmla="*/ 1102659 h 1144022"/>
                <a:gd name="connsiteX14" fmla="*/ 603452 w 1017589"/>
                <a:gd name="connsiteY14" fmla="*/ 1133703 h 1144022"/>
                <a:gd name="connsiteX15" fmla="*/ 579906 w 1017589"/>
                <a:gd name="connsiteY15" fmla="*/ 1142389 h 1144022"/>
                <a:gd name="connsiteX16" fmla="*/ 551361 w 1017589"/>
                <a:gd name="connsiteY16" fmla="*/ 1138366 h 1144022"/>
                <a:gd name="connsiteX17" fmla="*/ 540419 w 1017589"/>
                <a:gd name="connsiteY17" fmla="*/ 1132278 h 1144022"/>
                <a:gd name="connsiteX18" fmla="*/ 536540 w 1017589"/>
                <a:gd name="connsiteY18" fmla="*/ 1129916 h 1144022"/>
                <a:gd name="connsiteX19" fmla="*/ 361776 w 1017589"/>
                <a:gd name="connsiteY19" fmla="*/ 784531 h 1144022"/>
                <a:gd name="connsiteX20" fmla="*/ 361989 w 1017589"/>
                <a:gd name="connsiteY20" fmla="*/ 639264 h 1144022"/>
                <a:gd name="connsiteX21" fmla="*/ 251583 w 1017589"/>
                <a:gd name="connsiteY21" fmla="*/ 460133 h 1144022"/>
                <a:gd name="connsiteX22" fmla="*/ 190166 w 1017589"/>
                <a:gd name="connsiteY22" fmla="*/ 410618 h 1144022"/>
                <a:gd name="connsiteX23" fmla="*/ -2719 w 1017589"/>
                <a:gd name="connsiteY23" fmla="*/ 53903 h 1144022"/>
                <a:gd name="connsiteX24" fmla="*/ 232579 w 1017589"/>
                <a:gd name="connsiteY24" fmla="*/ -1197 h 1144022"/>
                <a:gd name="connsiteX25" fmla="*/ 543993 w 1017589"/>
                <a:gd name="connsiteY25" fmla="*/ 235823 h 1144022"/>
                <a:gd name="connsiteX26" fmla="*/ 596502 w 1017589"/>
                <a:gd name="connsiteY26" fmla="*/ 348728 h 1144022"/>
                <a:gd name="connsiteX27" fmla="*/ 689984 w 1017589"/>
                <a:gd name="connsiteY27" fmla="*/ 493485 h 1144022"/>
                <a:gd name="connsiteX28" fmla="*/ 799461 w 1017589"/>
                <a:gd name="connsiteY28" fmla="*/ 516315 h 1144022"/>
                <a:gd name="connsiteX29" fmla="*/ 1006755 w 1017589"/>
                <a:gd name="connsiteY29" fmla="*/ 644628 h 1144022"/>
                <a:gd name="connsiteX30" fmla="*/ 935135 w 1017589"/>
                <a:gd name="connsiteY30" fmla="*/ 764018 h 1144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17589" h="1144022">
                  <a:moveTo>
                    <a:pt x="935135" y="764018"/>
                  </a:moveTo>
                  <a:lnTo>
                    <a:pt x="986326" y="876284"/>
                  </a:lnTo>
                  <a:lnTo>
                    <a:pt x="969882" y="942555"/>
                  </a:lnTo>
                  <a:lnTo>
                    <a:pt x="1014871" y="1005504"/>
                  </a:lnTo>
                  <a:lnTo>
                    <a:pt x="929458" y="1008948"/>
                  </a:lnTo>
                  <a:cubicBezTo>
                    <a:pt x="912923" y="998646"/>
                    <a:pt x="899451" y="1008491"/>
                    <a:pt x="891343" y="1025811"/>
                  </a:cubicBezTo>
                  <a:cubicBezTo>
                    <a:pt x="885506" y="1040449"/>
                    <a:pt x="885780" y="1063202"/>
                    <a:pt x="868064" y="1073375"/>
                  </a:cubicBezTo>
                  <a:cubicBezTo>
                    <a:pt x="833012" y="1092585"/>
                    <a:pt x="822550" y="1084089"/>
                    <a:pt x="792618" y="1061404"/>
                  </a:cubicBezTo>
                  <a:cubicBezTo>
                    <a:pt x="775519" y="1040563"/>
                    <a:pt x="759974" y="1056535"/>
                    <a:pt x="765247" y="1061404"/>
                  </a:cubicBezTo>
                  <a:cubicBezTo>
                    <a:pt x="765125" y="1063972"/>
                    <a:pt x="753528" y="1063545"/>
                    <a:pt x="752606" y="1066494"/>
                  </a:cubicBezTo>
                  <a:cubicBezTo>
                    <a:pt x="748110" y="1082992"/>
                    <a:pt x="743888" y="1100746"/>
                    <a:pt x="725402" y="1111284"/>
                  </a:cubicBezTo>
                  <a:cubicBezTo>
                    <a:pt x="694785" y="1128910"/>
                    <a:pt x="681915" y="1126166"/>
                    <a:pt x="655778" y="1106362"/>
                  </a:cubicBezTo>
                  <a:cubicBezTo>
                    <a:pt x="640096" y="1092318"/>
                    <a:pt x="637536" y="1113860"/>
                    <a:pt x="637536" y="1113860"/>
                  </a:cubicBezTo>
                  <a:cubicBezTo>
                    <a:pt x="637536" y="1113860"/>
                    <a:pt x="615423" y="1098140"/>
                    <a:pt x="611994" y="1102659"/>
                  </a:cubicBezTo>
                  <a:cubicBezTo>
                    <a:pt x="607696" y="1110210"/>
                    <a:pt x="612413" y="1128140"/>
                    <a:pt x="603452" y="1133703"/>
                  </a:cubicBezTo>
                  <a:cubicBezTo>
                    <a:pt x="594010" y="1138107"/>
                    <a:pt x="586207" y="1141033"/>
                    <a:pt x="579906" y="1142389"/>
                  </a:cubicBezTo>
                  <a:cubicBezTo>
                    <a:pt x="570205" y="1143609"/>
                    <a:pt x="560711" y="1142268"/>
                    <a:pt x="551361" y="1138366"/>
                  </a:cubicBezTo>
                  <a:cubicBezTo>
                    <a:pt x="547803" y="1137132"/>
                    <a:pt x="544160" y="1135082"/>
                    <a:pt x="540419" y="1132278"/>
                  </a:cubicBezTo>
                  <a:cubicBezTo>
                    <a:pt x="536540" y="1129916"/>
                    <a:pt x="541455" y="1133550"/>
                    <a:pt x="536540" y="1129916"/>
                  </a:cubicBezTo>
                  <a:lnTo>
                    <a:pt x="361776" y="784531"/>
                  </a:lnTo>
                  <a:cubicBezTo>
                    <a:pt x="338260" y="720005"/>
                    <a:pt x="343320" y="683201"/>
                    <a:pt x="361989" y="639264"/>
                  </a:cubicBezTo>
                  <a:cubicBezTo>
                    <a:pt x="323340" y="579226"/>
                    <a:pt x="292540" y="519492"/>
                    <a:pt x="251583" y="460133"/>
                  </a:cubicBezTo>
                  <a:cubicBezTo>
                    <a:pt x="238995" y="441868"/>
                    <a:pt x="203188" y="428837"/>
                    <a:pt x="190166" y="410618"/>
                  </a:cubicBezTo>
                  <a:cubicBezTo>
                    <a:pt x="112030" y="299427"/>
                    <a:pt x="83318" y="162648"/>
                    <a:pt x="-2719" y="53903"/>
                  </a:cubicBezTo>
                  <a:lnTo>
                    <a:pt x="232579" y="-1197"/>
                  </a:lnTo>
                  <a:lnTo>
                    <a:pt x="543993" y="235823"/>
                  </a:lnTo>
                  <a:lnTo>
                    <a:pt x="596502" y="348728"/>
                  </a:lnTo>
                  <a:lnTo>
                    <a:pt x="689984" y="493485"/>
                  </a:lnTo>
                  <a:cubicBezTo>
                    <a:pt x="710665" y="485896"/>
                    <a:pt x="763068" y="496800"/>
                    <a:pt x="799461" y="516315"/>
                  </a:cubicBezTo>
                  <a:lnTo>
                    <a:pt x="1006755" y="644628"/>
                  </a:lnTo>
                  <a:lnTo>
                    <a:pt x="935135" y="764018"/>
                  </a:lnTo>
                </a:path>
              </a:pathLst>
            </a:custGeom>
            <a:solidFill>
              <a:srgbClr val="FFFFFF">
                <a:lumMod val="75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6" name="Freeform: Shape 415">
              <a:extLst>
                <a:ext uri="{FF2B5EF4-FFF2-40B4-BE49-F238E27FC236}">
                  <a16:creationId xmlns:a16="http://schemas.microsoft.com/office/drawing/2014/main" id="{4EE362CF-CCD5-947B-E720-9BF95DB0E2B8}"/>
                </a:ext>
              </a:extLst>
            </p:cNvPr>
            <p:cNvSpPr/>
            <p:nvPr/>
          </p:nvSpPr>
          <p:spPr>
            <a:xfrm flipV="1">
              <a:off x="4654824" y="5328738"/>
              <a:ext cx="220345" cy="259231"/>
            </a:xfrm>
            <a:custGeom>
              <a:avLst/>
              <a:gdLst>
                <a:gd name="connsiteX0" fmla="*/ 327426 w 330791"/>
                <a:gd name="connsiteY0" fmla="*/ 387244 h 389168"/>
                <a:gd name="connsiteX1" fmla="*/ -3365 w 330791"/>
                <a:gd name="connsiteY1" fmla="*/ -1925 h 389168"/>
              </a:gdLst>
              <a:ahLst/>
              <a:cxnLst>
                <a:cxn ang="0">
                  <a:pos x="connsiteX0" y="connsiteY0"/>
                </a:cxn>
                <a:cxn ang="0">
                  <a:pos x="connsiteX1" y="connsiteY1"/>
                </a:cxn>
              </a:cxnLst>
              <a:rect l="l" t="t" r="r" b="b"/>
              <a:pathLst>
                <a:path w="330791" h="389168">
                  <a:moveTo>
                    <a:pt x="327426" y="387244"/>
                  </a:moveTo>
                  <a:cubicBezTo>
                    <a:pt x="157882" y="269423"/>
                    <a:pt x="86612" y="159131"/>
                    <a:pt x="-3365" y="-1925"/>
                  </a:cubicBezTo>
                </a:path>
              </a:pathLst>
            </a:custGeom>
            <a:noFill/>
            <a:ln w="114027" cap="rnd">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7" name="Freeform: Shape 416">
              <a:extLst>
                <a:ext uri="{FF2B5EF4-FFF2-40B4-BE49-F238E27FC236}">
                  <a16:creationId xmlns:a16="http://schemas.microsoft.com/office/drawing/2014/main" id="{E11015AF-BBB9-4396-359B-70FBFB7D1B1E}"/>
                </a:ext>
              </a:extLst>
            </p:cNvPr>
            <p:cNvSpPr/>
            <p:nvPr/>
          </p:nvSpPr>
          <p:spPr>
            <a:xfrm flipV="1">
              <a:off x="4490532" y="5260641"/>
              <a:ext cx="206979" cy="284316"/>
            </a:xfrm>
            <a:custGeom>
              <a:avLst/>
              <a:gdLst>
                <a:gd name="connsiteX0" fmla="*/ 307652 w 310725"/>
                <a:gd name="connsiteY0" fmla="*/ 424777 h 426826"/>
                <a:gd name="connsiteX1" fmla="*/ 3622 w 310725"/>
                <a:gd name="connsiteY1" fmla="*/ -2049 h 426826"/>
              </a:gdLst>
              <a:ahLst/>
              <a:cxnLst>
                <a:cxn ang="0">
                  <a:pos x="connsiteX0" y="connsiteY0"/>
                </a:cxn>
                <a:cxn ang="0">
                  <a:pos x="connsiteX1" y="connsiteY1"/>
                </a:cxn>
              </a:cxnLst>
              <a:rect l="l" t="t" r="r" b="b"/>
              <a:pathLst>
                <a:path w="310725" h="426826">
                  <a:moveTo>
                    <a:pt x="307652" y="424777"/>
                  </a:moveTo>
                  <a:cubicBezTo>
                    <a:pt x="107627" y="329527"/>
                    <a:pt x="-36375" y="34313"/>
                    <a:pt x="3622" y="-2049"/>
                  </a:cubicBezTo>
                </a:path>
              </a:pathLst>
            </a:custGeom>
            <a:noFill/>
            <a:ln w="114027" cap="rnd">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8" name="Freeform: Shape 417">
              <a:extLst>
                <a:ext uri="{FF2B5EF4-FFF2-40B4-BE49-F238E27FC236}">
                  <a16:creationId xmlns:a16="http://schemas.microsoft.com/office/drawing/2014/main" id="{EB10F2E4-3671-BBEC-11F2-13090BD195D0}"/>
                </a:ext>
              </a:extLst>
            </p:cNvPr>
            <p:cNvSpPr/>
            <p:nvPr/>
          </p:nvSpPr>
          <p:spPr>
            <a:xfrm flipV="1">
              <a:off x="4406546" y="5275498"/>
              <a:ext cx="153918" cy="254897"/>
            </a:xfrm>
            <a:custGeom>
              <a:avLst/>
              <a:gdLst>
                <a:gd name="connsiteX0" fmla="*/ 228184 w 231068"/>
                <a:gd name="connsiteY0" fmla="*/ 380612 h 382661"/>
                <a:gd name="connsiteX1" fmla="*/ 98370 w 231068"/>
                <a:gd name="connsiteY1" fmla="*/ 271997 h 382661"/>
                <a:gd name="connsiteX2" fmla="*/ -2885 w 231068"/>
                <a:gd name="connsiteY2" fmla="*/ -2049 h 382661"/>
              </a:gdLst>
              <a:ahLst/>
              <a:cxnLst>
                <a:cxn ang="0">
                  <a:pos x="connsiteX0" y="connsiteY0"/>
                </a:cxn>
                <a:cxn ang="0">
                  <a:pos x="connsiteX1" y="connsiteY1"/>
                </a:cxn>
                <a:cxn ang="0">
                  <a:pos x="connsiteX2" y="connsiteY2"/>
                </a:cxn>
              </a:cxnLst>
              <a:rect l="l" t="t" r="r" b="b"/>
              <a:pathLst>
                <a:path w="231068" h="382661">
                  <a:moveTo>
                    <a:pt x="228184" y="380612"/>
                  </a:moveTo>
                  <a:cubicBezTo>
                    <a:pt x="181725" y="353630"/>
                    <a:pt x="131608" y="316505"/>
                    <a:pt x="98370" y="271997"/>
                  </a:cubicBezTo>
                  <a:cubicBezTo>
                    <a:pt x="40176" y="194067"/>
                    <a:pt x="33577" y="102825"/>
                    <a:pt x="-2885" y="-2049"/>
                  </a:cubicBezTo>
                </a:path>
              </a:pathLst>
            </a:custGeom>
            <a:noFill/>
            <a:ln w="101401" cap="rnd">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9" name="Freeform: Shape 418">
              <a:extLst>
                <a:ext uri="{FF2B5EF4-FFF2-40B4-BE49-F238E27FC236}">
                  <a16:creationId xmlns:a16="http://schemas.microsoft.com/office/drawing/2014/main" id="{F69F049B-18CC-EE69-C97E-C449047AAFC2}"/>
                </a:ext>
              </a:extLst>
            </p:cNvPr>
            <p:cNvSpPr/>
            <p:nvPr/>
          </p:nvSpPr>
          <p:spPr>
            <a:xfrm flipV="1">
              <a:off x="4567901" y="5270793"/>
              <a:ext cx="246354" cy="281555"/>
            </a:xfrm>
            <a:custGeom>
              <a:avLst/>
              <a:gdLst>
                <a:gd name="connsiteX0" fmla="*/ 366598 w 369836"/>
                <a:gd name="connsiteY0" fmla="*/ 420652 h 422681"/>
                <a:gd name="connsiteX1" fmla="*/ -3239 w 369836"/>
                <a:gd name="connsiteY1" fmla="*/ -2030 h 422681"/>
              </a:gdLst>
              <a:ahLst/>
              <a:cxnLst>
                <a:cxn ang="0">
                  <a:pos x="connsiteX0" y="connsiteY0"/>
                </a:cxn>
                <a:cxn ang="0">
                  <a:pos x="connsiteX1" y="connsiteY1"/>
                </a:cxn>
              </a:cxnLst>
              <a:rect l="l" t="t" r="r" b="b"/>
              <a:pathLst>
                <a:path w="369836" h="422681">
                  <a:moveTo>
                    <a:pt x="366598" y="420652"/>
                  </a:moveTo>
                  <a:cubicBezTo>
                    <a:pt x="197159" y="323657"/>
                    <a:pt x="85374" y="177376"/>
                    <a:pt x="-3239" y="-2030"/>
                  </a:cubicBezTo>
                </a:path>
              </a:pathLst>
            </a:custGeom>
            <a:solidFill>
              <a:srgbClr val="E8E4E2">
                <a:lumMod val="75000"/>
              </a:srgbClr>
            </a:solidFill>
            <a:ln w="114027" cap="rnd">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0" name="Freeform: Shape 419">
              <a:extLst>
                <a:ext uri="{FF2B5EF4-FFF2-40B4-BE49-F238E27FC236}">
                  <a16:creationId xmlns:a16="http://schemas.microsoft.com/office/drawing/2014/main" id="{DB6D7BCF-4598-C9B8-3682-A5B0B93A5969}"/>
                </a:ext>
              </a:extLst>
            </p:cNvPr>
            <p:cNvSpPr/>
            <p:nvPr/>
          </p:nvSpPr>
          <p:spPr>
            <a:xfrm flipV="1">
              <a:off x="4646865" y="5550825"/>
              <a:ext cx="210047" cy="174080"/>
            </a:xfrm>
            <a:custGeom>
              <a:avLst/>
              <a:gdLst>
                <a:gd name="connsiteX0" fmla="*/ -3343 w 315330"/>
                <a:gd name="connsiteY0" fmla="*/ -1524 h 261335"/>
                <a:gd name="connsiteX1" fmla="*/ 220068 w 315330"/>
                <a:gd name="connsiteY1" fmla="*/ 114315 h 261335"/>
                <a:gd name="connsiteX2" fmla="*/ 311988 w 315330"/>
                <a:gd name="connsiteY2" fmla="*/ 259811 h 261335"/>
              </a:gdLst>
              <a:ahLst/>
              <a:cxnLst>
                <a:cxn ang="0">
                  <a:pos x="connsiteX0" y="connsiteY0"/>
                </a:cxn>
                <a:cxn ang="0">
                  <a:pos x="connsiteX1" y="connsiteY1"/>
                </a:cxn>
                <a:cxn ang="0">
                  <a:pos x="connsiteX2" y="connsiteY2"/>
                </a:cxn>
              </a:cxnLst>
              <a:rect l="l" t="t" r="r" b="b"/>
              <a:pathLst>
                <a:path w="315330" h="261335">
                  <a:moveTo>
                    <a:pt x="-3343" y="-1524"/>
                  </a:moveTo>
                  <a:lnTo>
                    <a:pt x="220068" y="114315"/>
                  </a:lnTo>
                  <a:lnTo>
                    <a:pt x="311988" y="259811"/>
                  </a:lnTo>
                </a:path>
              </a:pathLst>
            </a:custGeom>
            <a:noFill/>
            <a:ln w="140559" cap="rnd">
              <a:solidFill>
                <a:srgbClr val="BFBFB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1" name="Freeform: Shape 420">
              <a:extLst>
                <a:ext uri="{FF2B5EF4-FFF2-40B4-BE49-F238E27FC236}">
                  <a16:creationId xmlns:a16="http://schemas.microsoft.com/office/drawing/2014/main" id="{5476F202-A984-45CF-4618-2730EF989429}"/>
                </a:ext>
              </a:extLst>
            </p:cNvPr>
            <p:cNvSpPr/>
            <p:nvPr/>
          </p:nvSpPr>
          <p:spPr>
            <a:xfrm flipV="1">
              <a:off x="4210235" y="5798677"/>
              <a:ext cx="253789" cy="182728"/>
            </a:xfrm>
            <a:custGeom>
              <a:avLst/>
              <a:gdLst>
                <a:gd name="connsiteX0" fmla="*/ 309785 w 380999"/>
                <a:gd name="connsiteY0" fmla="*/ -961 h 274319"/>
                <a:gd name="connsiteX1" fmla="*/ -2635 w 380999"/>
                <a:gd name="connsiteY1" fmla="*/ 159059 h 274319"/>
                <a:gd name="connsiteX2" fmla="*/ 64536 w 380999"/>
                <a:gd name="connsiteY2" fmla="*/ 273359 h 274319"/>
                <a:gd name="connsiteX3" fmla="*/ 378365 w 380999"/>
                <a:gd name="connsiteY3" fmla="*/ 113339 h 274319"/>
                <a:gd name="connsiteX4" fmla="*/ 309785 w 380999"/>
                <a:gd name="connsiteY4" fmla="*/ -961 h 27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999" h="274319">
                  <a:moveTo>
                    <a:pt x="309785" y="-961"/>
                  </a:moveTo>
                  <a:lnTo>
                    <a:pt x="-2635" y="159059"/>
                  </a:lnTo>
                  <a:lnTo>
                    <a:pt x="64536" y="273359"/>
                  </a:lnTo>
                  <a:lnTo>
                    <a:pt x="378365" y="113339"/>
                  </a:lnTo>
                  <a:lnTo>
                    <a:pt x="309785" y="-961"/>
                  </a:lnTo>
                </a:path>
              </a:pathLst>
            </a:custGeom>
            <a:solidFill>
              <a:srgbClr val="145275"/>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2" name="Freeform: Shape 421">
              <a:extLst>
                <a:ext uri="{FF2B5EF4-FFF2-40B4-BE49-F238E27FC236}">
                  <a16:creationId xmlns:a16="http://schemas.microsoft.com/office/drawing/2014/main" id="{BD149CB8-A704-5BFB-6C72-229E2B7C56AA}"/>
                </a:ext>
              </a:extLst>
            </p:cNvPr>
            <p:cNvSpPr/>
            <p:nvPr/>
          </p:nvSpPr>
          <p:spPr>
            <a:xfrm flipV="1">
              <a:off x="3861714" y="5807219"/>
              <a:ext cx="666631" cy="832123"/>
            </a:xfrm>
            <a:custGeom>
              <a:avLst/>
              <a:gdLst>
                <a:gd name="connsiteX0" fmla="*/ -2392 w 1000772"/>
                <a:gd name="connsiteY0" fmla="*/ 250559 h 1249215"/>
                <a:gd name="connsiteX1" fmla="*/ 410703 w 1000772"/>
                <a:gd name="connsiteY1" fmla="*/ 41771 h 1249215"/>
                <a:gd name="connsiteX2" fmla="*/ 493708 w 1000772"/>
                <a:gd name="connsiteY2" fmla="*/ -217 h 1249215"/>
                <a:gd name="connsiteX3" fmla="*/ 998381 w 1000772"/>
                <a:gd name="connsiteY3" fmla="*/ 998232 h 1249215"/>
                <a:gd name="connsiteX4" fmla="*/ 915460 w 1000772"/>
                <a:gd name="connsiteY4" fmla="*/ 1040203 h 1249215"/>
                <a:gd name="connsiteX5" fmla="*/ 502364 w 1000772"/>
                <a:gd name="connsiteY5" fmla="*/ 1248999 h 1249215"/>
                <a:gd name="connsiteX6" fmla="*/ -2392 w 1000772"/>
                <a:gd name="connsiteY6" fmla="*/ 250559 h 1249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772" h="1249215">
                  <a:moveTo>
                    <a:pt x="-2392" y="250559"/>
                  </a:moveTo>
                  <a:lnTo>
                    <a:pt x="410703" y="41771"/>
                  </a:lnTo>
                  <a:lnTo>
                    <a:pt x="493708" y="-217"/>
                  </a:lnTo>
                  <a:lnTo>
                    <a:pt x="998381" y="998232"/>
                  </a:lnTo>
                  <a:lnTo>
                    <a:pt x="915460" y="1040203"/>
                  </a:lnTo>
                  <a:lnTo>
                    <a:pt x="502364" y="1248999"/>
                  </a:lnTo>
                  <a:lnTo>
                    <a:pt x="-2392" y="250559"/>
                  </a:lnTo>
                </a:path>
              </a:pathLst>
            </a:custGeom>
            <a:solidFill>
              <a:srgbClr val="4DA5C3">
                <a:lumMod val="20000"/>
                <a:lumOff val="80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3" name="Freeform: Shape 422">
              <a:extLst>
                <a:ext uri="{FF2B5EF4-FFF2-40B4-BE49-F238E27FC236}">
                  <a16:creationId xmlns:a16="http://schemas.microsoft.com/office/drawing/2014/main" id="{81984319-8FF6-6DDC-0357-8FB5F9CAD0D0}"/>
                </a:ext>
              </a:extLst>
            </p:cNvPr>
            <p:cNvSpPr/>
            <p:nvPr/>
          </p:nvSpPr>
          <p:spPr>
            <a:xfrm flipV="1">
              <a:off x="3861714" y="5800626"/>
              <a:ext cx="611396" cy="810748"/>
            </a:xfrm>
            <a:custGeom>
              <a:avLst/>
              <a:gdLst>
                <a:gd name="connsiteX0" fmla="*/ -2345 w 917851"/>
                <a:gd name="connsiteY0" fmla="*/ 208532 h 1217126"/>
                <a:gd name="connsiteX1" fmla="*/ 410751 w 917851"/>
                <a:gd name="connsiteY1" fmla="*/ -256 h 1217126"/>
                <a:gd name="connsiteX2" fmla="*/ 915507 w 917851"/>
                <a:gd name="connsiteY2" fmla="*/ 998177 h 1217126"/>
                <a:gd name="connsiteX3" fmla="*/ 482821 w 917851"/>
                <a:gd name="connsiteY3" fmla="*/ 1216871 h 1217126"/>
                <a:gd name="connsiteX4" fmla="*/ -2345 w 917851"/>
                <a:gd name="connsiteY4" fmla="*/ 208532 h 121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7851" h="1217126">
                  <a:moveTo>
                    <a:pt x="-2345" y="208532"/>
                  </a:moveTo>
                  <a:lnTo>
                    <a:pt x="410751" y="-256"/>
                  </a:lnTo>
                  <a:lnTo>
                    <a:pt x="915507" y="998177"/>
                  </a:lnTo>
                  <a:lnTo>
                    <a:pt x="482821" y="1216871"/>
                  </a:lnTo>
                  <a:lnTo>
                    <a:pt x="-2345" y="208532"/>
                  </a:lnTo>
                </a:path>
              </a:pathLst>
            </a:custGeom>
            <a:solidFill>
              <a:srgbClr val="FFFFFF"/>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4" name="Freeform: Shape 423">
              <a:extLst>
                <a:ext uri="{FF2B5EF4-FFF2-40B4-BE49-F238E27FC236}">
                  <a16:creationId xmlns:a16="http://schemas.microsoft.com/office/drawing/2014/main" id="{85CB249F-DD25-1525-0E29-BF3A8835B363}"/>
                </a:ext>
              </a:extLst>
            </p:cNvPr>
            <p:cNvSpPr/>
            <p:nvPr/>
          </p:nvSpPr>
          <p:spPr>
            <a:xfrm flipV="1">
              <a:off x="3641145" y="5920359"/>
              <a:ext cx="839483" cy="937654"/>
            </a:xfrm>
            <a:custGeom>
              <a:avLst/>
              <a:gdLst>
                <a:gd name="connsiteX0" fmla="*/ 1258101 w 1260264"/>
                <a:gd name="connsiteY0" fmla="*/ 1139564 h 1407642"/>
                <a:gd name="connsiteX1" fmla="*/ 673960 w 1260264"/>
                <a:gd name="connsiteY1" fmla="*/ 153 h 1407642"/>
                <a:gd name="connsiteX2" fmla="*/ -2163 w 1260264"/>
                <a:gd name="connsiteY2" fmla="*/ 153 h 1407642"/>
                <a:gd name="connsiteX3" fmla="*/ 727528 w 1260264"/>
                <a:gd name="connsiteY3" fmla="*/ 1407796 h 1407642"/>
                <a:gd name="connsiteX4" fmla="*/ 848610 w 1260264"/>
                <a:gd name="connsiteY4" fmla="*/ 1346523 h 1407642"/>
                <a:gd name="connsiteX5" fmla="*/ 1119036 w 1260264"/>
                <a:gd name="connsiteY5" fmla="*/ 1209828 h 1407642"/>
                <a:gd name="connsiteX6" fmla="*/ 1258101 w 1260264"/>
                <a:gd name="connsiteY6" fmla="*/ 1139564 h 140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0264" h="1407642">
                  <a:moveTo>
                    <a:pt x="1258101" y="1139564"/>
                  </a:moveTo>
                  <a:lnTo>
                    <a:pt x="673960" y="153"/>
                  </a:lnTo>
                  <a:lnTo>
                    <a:pt x="-2163" y="153"/>
                  </a:lnTo>
                  <a:lnTo>
                    <a:pt x="727528" y="1407796"/>
                  </a:lnTo>
                  <a:lnTo>
                    <a:pt x="848610" y="1346523"/>
                  </a:lnTo>
                  <a:lnTo>
                    <a:pt x="1119036" y="1209828"/>
                  </a:lnTo>
                  <a:lnTo>
                    <a:pt x="1258101" y="1139564"/>
                  </a:lnTo>
                </a:path>
              </a:pathLst>
            </a:custGeom>
            <a:solidFill>
              <a:srgbClr val="0E5578"/>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5" name="Freeform: Shape 424">
              <a:extLst>
                <a:ext uri="{FF2B5EF4-FFF2-40B4-BE49-F238E27FC236}">
                  <a16:creationId xmlns:a16="http://schemas.microsoft.com/office/drawing/2014/main" id="{7C03B4BC-5D9E-DB53-F45E-0A538CC5622F}"/>
                </a:ext>
              </a:extLst>
            </p:cNvPr>
            <p:cNvSpPr/>
            <p:nvPr/>
          </p:nvSpPr>
          <p:spPr>
            <a:xfrm flipV="1">
              <a:off x="3642210" y="5920359"/>
              <a:ext cx="745783" cy="937654"/>
            </a:xfrm>
            <a:custGeom>
              <a:avLst/>
              <a:gdLst>
                <a:gd name="connsiteX0" fmla="*/ 1117514 w 1119598"/>
                <a:gd name="connsiteY0" fmla="*/ 1209828 h 1407642"/>
                <a:gd name="connsiteX1" fmla="*/ 488712 w 1119598"/>
                <a:gd name="connsiteY1" fmla="*/ 153 h 1407642"/>
                <a:gd name="connsiteX2" fmla="*/ -2085 w 1119598"/>
                <a:gd name="connsiteY2" fmla="*/ 153 h 1407642"/>
                <a:gd name="connsiteX3" fmla="*/ 726006 w 1119598"/>
                <a:gd name="connsiteY3" fmla="*/ 1407796 h 1407642"/>
                <a:gd name="connsiteX4" fmla="*/ 847088 w 1119598"/>
                <a:gd name="connsiteY4" fmla="*/ 1346523 h 1407642"/>
                <a:gd name="connsiteX5" fmla="*/ 1117514 w 1119598"/>
                <a:gd name="connsiteY5" fmla="*/ 1209828 h 140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9598" h="1407642">
                  <a:moveTo>
                    <a:pt x="1117514" y="1209828"/>
                  </a:moveTo>
                  <a:lnTo>
                    <a:pt x="488712" y="153"/>
                  </a:lnTo>
                  <a:lnTo>
                    <a:pt x="-2085" y="153"/>
                  </a:lnTo>
                  <a:lnTo>
                    <a:pt x="726006" y="1407796"/>
                  </a:lnTo>
                  <a:lnTo>
                    <a:pt x="847088" y="1346523"/>
                  </a:lnTo>
                  <a:lnTo>
                    <a:pt x="1117514" y="1209828"/>
                  </a:lnTo>
                </a:path>
              </a:pathLst>
            </a:custGeom>
            <a:solidFill>
              <a:srgbClr val="74B6D6"/>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6" name="Freeform: Shape 425">
              <a:extLst>
                <a:ext uri="{FF2B5EF4-FFF2-40B4-BE49-F238E27FC236}">
                  <a16:creationId xmlns:a16="http://schemas.microsoft.com/office/drawing/2014/main" id="{0BE1FF91-3B48-C6BB-D701-D55AED8BEAED}"/>
                </a:ext>
              </a:extLst>
            </p:cNvPr>
            <p:cNvSpPr/>
            <p:nvPr/>
          </p:nvSpPr>
          <p:spPr>
            <a:xfrm flipV="1">
              <a:off x="6332253" y="5086175"/>
              <a:ext cx="374350" cy="212849"/>
            </a:xfrm>
            <a:custGeom>
              <a:avLst/>
              <a:gdLst>
                <a:gd name="connsiteX0" fmla="*/ 17876 w 561988"/>
                <a:gd name="connsiteY0" fmla="*/ 317019 h 319537"/>
                <a:gd name="connsiteX1" fmla="*/ 31844 w 561988"/>
                <a:gd name="connsiteY1" fmla="*/ 262048 h 319537"/>
                <a:gd name="connsiteX2" fmla="*/ 506478 w 561988"/>
                <a:gd name="connsiteY2" fmla="*/ 39803 h 319537"/>
                <a:gd name="connsiteX3" fmla="*/ 555627 w 561988"/>
                <a:gd name="connsiteY3" fmla="*/ 65223 h 319537"/>
                <a:gd name="connsiteX4" fmla="*/ 536135 w 561988"/>
                <a:gd name="connsiteY4" fmla="*/ 25919 h 319537"/>
                <a:gd name="connsiteX5" fmla="*/ 531411 w 561988"/>
                <a:gd name="connsiteY5" fmla="*/ 18269 h 319537"/>
                <a:gd name="connsiteX6" fmla="*/ 535373 w 561988"/>
                <a:gd name="connsiteY6" fmla="*/ 26270 h 319537"/>
                <a:gd name="connsiteX7" fmla="*/ 485859 w 561988"/>
                <a:gd name="connsiteY7" fmla="*/ 126 h 319537"/>
                <a:gd name="connsiteX8" fmla="*/ 11239 w 561988"/>
                <a:gd name="connsiteY8" fmla="*/ 222371 h 319537"/>
                <a:gd name="connsiteX9" fmla="*/ -3452 w 561988"/>
                <a:gd name="connsiteY9" fmla="*/ 240003 h 319537"/>
                <a:gd name="connsiteX10" fmla="*/ -5189 w 561988"/>
                <a:gd name="connsiteY10" fmla="*/ 268624 h 319537"/>
                <a:gd name="connsiteX11" fmla="*/ -3056 w 561988"/>
                <a:gd name="connsiteY11" fmla="*/ 274804 h 319537"/>
                <a:gd name="connsiteX12" fmla="*/ 17876 w 561988"/>
                <a:gd name="connsiteY12" fmla="*/ 317019 h 31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1988" h="319537">
                  <a:moveTo>
                    <a:pt x="17876" y="317019"/>
                  </a:moveTo>
                  <a:cubicBezTo>
                    <a:pt x="10180" y="288931"/>
                    <a:pt x="14851" y="270605"/>
                    <a:pt x="31844" y="262048"/>
                  </a:cubicBezTo>
                  <a:lnTo>
                    <a:pt x="506478" y="39803"/>
                  </a:lnTo>
                  <a:cubicBezTo>
                    <a:pt x="524462" y="31977"/>
                    <a:pt x="540845" y="40451"/>
                    <a:pt x="555627" y="65223"/>
                  </a:cubicBezTo>
                  <a:lnTo>
                    <a:pt x="536135" y="25919"/>
                  </a:lnTo>
                  <a:cubicBezTo>
                    <a:pt x="534939" y="23489"/>
                    <a:pt x="533347" y="20928"/>
                    <a:pt x="531411" y="18269"/>
                  </a:cubicBezTo>
                  <a:lnTo>
                    <a:pt x="535373" y="26270"/>
                  </a:lnTo>
                  <a:cubicBezTo>
                    <a:pt x="521101" y="1269"/>
                    <a:pt x="504596" y="-7456"/>
                    <a:pt x="485859" y="126"/>
                  </a:cubicBezTo>
                  <a:lnTo>
                    <a:pt x="11239" y="222371"/>
                  </a:lnTo>
                  <a:cubicBezTo>
                    <a:pt x="3871" y="226417"/>
                    <a:pt x="-1029" y="232300"/>
                    <a:pt x="-3452" y="240003"/>
                  </a:cubicBezTo>
                  <a:cubicBezTo>
                    <a:pt x="-6622" y="247479"/>
                    <a:pt x="-7201" y="257011"/>
                    <a:pt x="-5189" y="268624"/>
                  </a:cubicBezTo>
                  <a:cubicBezTo>
                    <a:pt x="-4222" y="270567"/>
                    <a:pt x="-3521" y="272625"/>
                    <a:pt x="-3056" y="274804"/>
                  </a:cubicBezTo>
                  <a:lnTo>
                    <a:pt x="17876" y="317019"/>
                  </a:lnTo>
                </a:path>
              </a:pathLst>
            </a:custGeom>
            <a:solidFill>
              <a:srgbClr val="145275"/>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7" name="Freeform: Shape 426">
              <a:extLst>
                <a:ext uri="{FF2B5EF4-FFF2-40B4-BE49-F238E27FC236}">
                  <a16:creationId xmlns:a16="http://schemas.microsoft.com/office/drawing/2014/main" id="{EA6222B7-6D56-A63D-7BF5-641CB1E18378}"/>
                </a:ext>
              </a:extLst>
            </p:cNvPr>
            <p:cNvSpPr/>
            <p:nvPr/>
          </p:nvSpPr>
          <p:spPr>
            <a:xfrm flipV="1">
              <a:off x="6511810" y="5126456"/>
              <a:ext cx="56866" cy="50444"/>
            </a:xfrm>
            <a:custGeom>
              <a:avLst/>
              <a:gdLst>
                <a:gd name="connsiteX0" fmla="*/ 47825 w 85369"/>
                <a:gd name="connsiteY0" fmla="*/ 70466 h 75728"/>
                <a:gd name="connsiteX1" fmla="*/ 49349 w 85369"/>
                <a:gd name="connsiteY1" fmla="*/ 69749 h 75728"/>
                <a:gd name="connsiteX2" fmla="*/ 53143 w 85369"/>
                <a:gd name="connsiteY2" fmla="*/ 67966 h 75728"/>
                <a:gd name="connsiteX3" fmla="*/ 75074 w 85369"/>
                <a:gd name="connsiteY3" fmla="*/ 46036 h 75728"/>
                <a:gd name="connsiteX4" fmla="*/ 75699 w 85369"/>
                <a:gd name="connsiteY4" fmla="*/ 17049 h 75728"/>
                <a:gd name="connsiteX5" fmla="*/ 51612 w 85369"/>
                <a:gd name="connsiteY5" fmla="*/ -1277 h 75728"/>
                <a:gd name="connsiteX6" fmla="*/ 20301 w 85369"/>
                <a:gd name="connsiteY6" fmla="*/ 1741 h 75728"/>
                <a:gd name="connsiteX7" fmla="*/ 16499 w 85369"/>
                <a:gd name="connsiteY7" fmla="*/ 3516 h 75728"/>
                <a:gd name="connsiteX8" fmla="*/ 14975 w 85369"/>
                <a:gd name="connsiteY8" fmla="*/ 4233 h 75728"/>
                <a:gd name="connsiteX9" fmla="*/ -3161 w 85369"/>
                <a:gd name="connsiteY9" fmla="*/ 24365 h 75728"/>
                <a:gd name="connsiteX10" fmla="*/ -2650 w 85369"/>
                <a:gd name="connsiteY10" fmla="*/ 53732 h 75728"/>
                <a:gd name="connsiteX11" fmla="*/ 13573 w 85369"/>
                <a:gd name="connsiteY11" fmla="*/ 69460 h 75728"/>
                <a:gd name="connsiteX12" fmla="*/ 20301 w 85369"/>
                <a:gd name="connsiteY12" fmla="*/ 71685 h 75728"/>
                <a:gd name="connsiteX13" fmla="*/ 47825 w 85369"/>
                <a:gd name="connsiteY13" fmla="*/ 70466 h 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369" h="75728">
                  <a:moveTo>
                    <a:pt x="47825" y="70466"/>
                  </a:moveTo>
                  <a:lnTo>
                    <a:pt x="49349" y="69749"/>
                  </a:lnTo>
                  <a:lnTo>
                    <a:pt x="53143" y="67966"/>
                  </a:lnTo>
                  <a:cubicBezTo>
                    <a:pt x="63553" y="62503"/>
                    <a:pt x="70860" y="55180"/>
                    <a:pt x="75074" y="46036"/>
                  </a:cubicBezTo>
                  <a:cubicBezTo>
                    <a:pt x="80057" y="35924"/>
                    <a:pt x="80263" y="26262"/>
                    <a:pt x="75699" y="17049"/>
                  </a:cubicBezTo>
                  <a:cubicBezTo>
                    <a:pt x="70883" y="7342"/>
                    <a:pt x="62851" y="1230"/>
                    <a:pt x="51612" y="-1277"/>
                  </a:cubicBezTo>
                  <a:cubicBezTo>
                    <a:pt x="41630" y="-3768"/>
                    <a:pt x="31190" y="-2770"/>
                    <a:pt x="20301" y="1741"/>
                  </a:cubicBezTo>
                  <a:lnTo>
                    <a:pt x="16499" y="3516"/>
                  </a:lnTo>
                  <a:lnTo>
                    <a:pt x="14975" y="4233"/>
                  </a:lnTo>
                  <a:cubicBezTo>
                    <a:pt x="6829" y="9239"/>
                    <a:pt x="786" y="15952"/>
                    <a:pt x="-3161" y="24365"/>
                  </a:cubicBezTo>
                  <a:cubicBezTo>
                    <a:pt x="-7641" y="34240"/>
                    <a:pt x="-7466" y="44024"/>
                    <a:pt x="-2650" y="53732"/>
                  </a:cubicBezTo>
                  <a:cubicBezTo>
                    <a:pt x="954" y="61009"/>
                    <a:pt x="6364" y="66252"/>
                    <a:pt x="13573" y="69460"/>
                  </a:cubicBezTo>
                  <a:cubicBezTo>
                    <a:pt x="15310" y="70428"/>
                    <a:pt x="17558" y="71174"/>
                    <a:pt x="20301" y="71685"/>
                  </a:cubicBezTo>
                  <a:cubicBezTo>
                    <a:pt x="29544" y="73940"/>
                    <a:pt x="38711" y="73536"/>
                    <a:pt x="47825" y="70466"/>
                  </a:cubicBezTo>
                </a:path>
              </a:pathLst>
            </a:custGeom>
            <a:solidFill>
              <a:srgbClr val="918C8C"/>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8" name="Freeform: Shape 427">
              <a:extLst>
                <a:ext uri="{FF2B5EF4-FFF2-40B4-BE49-F238E27FC236}">
                  <a16:creationId xmlns:a16="http://schemas.microsoft.com/office/drawing/2014/main" id="{66AE8F1C-E062-D577-C237-C5596F09BD3C}"/>
                </a:ext>
              </a:extLst>
            </p:cNvPr>
            <p:cNvSpPr/>
            <p:nvPr/>
          </p:nvSpPr>
          <p:spPr>
            <a:xfrm flipV="1">
              <a:off x="6420053" y="4588777"/>
              <a:ext cx="510804" cy="579931"/>
            </a:xfrm>
            <a:custGeom>
              <a:avLst/>
              <a:gdLst>
                <a:gd name="connsiteX0" fmla="*/ 335031 w 766838"/>
                <a:gd name="connsiteY0" fmla="*/ 867396 h 870615"/>
                <a:gd name="connsiteX1" fmla="*/ 760212 w 766838"/>
                <a:gd name="connsiteY1" fmla="*/ 668308 h 870615"/>
                <a:gd name="connsiteX2" fmla="*/ 418561 w 766838"/>
                <a:gd name="connsiteY2" fmla="*/ -3219 h 870615"/>
                <a:gd name="connsiteX3" fmla="*/ -6627 w 766838"/>
                <a:gd name="connsiteY3" fmla="*/ 195868 h 870615"/>
                <a:gd name="connsiteX4" fmla="*/ 335031 w 766838"/>
                <a:gd name="connsiteY4" fmla="*/ 867396 h 870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838" h="870615">
                  <a:moveTo>
                    <a:pt x="335031" y="867396"/>
                  </a:moveTo>
                  <a:lnTo>
                    <a:pt x="760212" y="668308"/>
                  </a:lnTo>
                  <a:lnTo>
                    <a:pt x="418561" y="-3219"/>
                  </a:lnTo>
                  <a:lnTo>
                    <a:pt x="-6627" y="195868"/>
                  </a:lnTo>
                  <a:lnTo>
                    <a:pt x="335031" y="867396"/>
                  </a:lnTo>
                </a:path>
              </a:pathLst>
            </a:custGeom>
            <a:solidFill>
              <a:srgbClr val="4DA5C3">
                <a:lumMod val="40000"/>
                <a:lumOff val="60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9" name="Freeform: Shape 428">
              <a:extLst>
                <a:ext uri="{FF2B5EF4-FFF2-40B4-BE49-F238E27FC236}">
                  <a16:creationId xmlns:a16="http://schemas.microsoft.com/office/drawing/2014/main" id="{470EE2FB-1450-4AA2-7DF0-4CDB160E4A54}"/>
                </a:ext>
              </a:extLst>
            </p:cNvPr>
            <p:cNvSpPr/>
            <p:nvPr/>
          </p:nvSpPr>
          <p:spPr>
            <a:xfrm flipV="1">
              <a:off x="6793998" y="4618094"/>
              <a:ext cx="97423" cy="54188"/>
            </a:xfrm>
            <a:custGeom>
              <a:avLst/>
              <a:gdLst>
                <a:gd name="connsiteX0" fmla="*/ 91567 w 146255"/>
                <a:gd name="connsiteY0" fmla="*/ 8296 h 81349"/>
                <a:gd name="connsiteX1" fmla="*/ 113635 w 146255"/>
                <a:gd name="connsiteY1" fmla="*/ -2037 h 81349"/>
                <a:gd name="connsiteX2" fmla="*/ 137638 w 146255"/>
                <a:gd name="connsiteY2" fmla="*/ 6665 h 81349"/>
                <a:gd name="connsiteX3" fmla="*/ 128936 w 146255"/>
                <a:gd name="connsiteY3" fmla="*/ 30675 h 81349"/>
                <a:gd name="connsiteX4" fmla="*/ 106876 w 146255"/>
                <a:gd name="connsiteY4" fmla="*/ 41001 h 81349"/>
                <a:gd name="connsiteX5" fmla="*/ 82865 w 146255"/>
                <a:gd name="connsiteY5" fmla="*/ 32306 h 81349"/>
                <a:gd name="connsiteX6" fmla="*/ 91567 w 146255"/>
                <a:gd name="connsiteY6" fmla="*/ 8296 h 81349"/>
                <a:gd name="connsiteX7" fmla="*/ 14156 w 146255"/>
                <a:gd name="connsiteY7" fmla="*/ 59098 h 81349"/>
                <a:gd name="connsiteX8" fmla="*/ 1065 w 146255"/>
                <a:gd name="connsiteY8" fmla="*/ 46655 h 81349"/>
                <a:gd name="connsiteX9" fmla="*/ 4303 w 146255"/>
                <a:gd name="connsiteY9" fmla="*/ 43416 h 81349"/>
                <a:gd name="connsiteX10" fmla="*/ 6124 w 146255"/>
                <a:gd name="connsiteY10" fmla="*/ 41816 h 81349"/>
                <a:gd name="connsiteX11" fmla="*/ 9912 w 146255"/>
                <a:gd name="connsiteY11" fmla="*/ 39362 h 81349"/>
                <a:gd name="connsiteX12" fmla="*/ 17996 w 146255"/>
                <a:gd name="connsiteY12" fmla="*/ 55509 h 81349"/>
                <a:gd name="connsiteX13" fmla="*/ 25677 w 146255"/>
                <a:gd name="connsiteY13" fmla="*/ 71846 h 81349"/>
                <a:gd name="connsiteX14" fmla="*/ 18812 w 146255"/>
                <a:gd name="connsiteY14" fmla="*/ 75070 h 81349"/>
                <a:gd name="connsiteX15" fmla="*/ 11146 w 146255"/>
                <a:gd name="connsiteY15" fmla="*/ 58724 h 81349"/>
                <a:gd name="connsiteX16" fmla="*/ 27399 w 146255"/>
                <a:gd name="connsiteY16" fmla="*/ 50868 h 81349"/>
                <a:gd name="connsiteX17" fmla="*/ 12464 w 146255"/>
                <a:gd name="connsiteY17" fmla="*/ 58085 h 81349"/>
                <a:gd name="connsiteX18" fmla="*/ 21220 w 146255"/>
                <a:gd name="connsiteY18" fmla="*/ 44018 h 81349"/>
                <a:gd name="connsiteX19" fmla="*/ 27399 w 146255"/>
                <a:gd name="connsiteY19" fmla="*/ 50868 h 81349"/>
                <a:gd name="connsiteX20" fmla="*/ 12464 w 146255"/>
                <a:gd name="connsiteY20" fmla="*/ 58085 h 81349"/>
                <a:gd name="connsiteX21" fmla="*/ 21220 w 146255"/>
                <a:gd name="connsiteY21" fmla="*/ 44018 h 81349"/>
                <a:gd name="connsiteX22" fmla="*/ 12487 w 146255"/>
                <a:gd name="connsiteY22" fmla="*/ 58054 h 81349"/>
                <a:gd name="connsiteX23" fmla="*/ 12487 w 146255"/>
                <a:gd name="connsiteY23" fmla="*/ 41503 h 81349"/>
                <a:gd name="connsiteX24" fmla="*/ 21220 w 146255"/>
                <a:gd name="connsiteY24" fmla="*/ 44018 h 81349"/>
                <a:gd name="connsiteX25" fmla="*/ 12487 w 146255"/>
                <a:gd name="connsiteY25" fmla="*/ 58054 h 81349"/>
                <a:gd name="connsiteX26" fmla="*/ 12487 w 146255"/>
                <a:gd name="connsiteY26" fmla="*/ 41503 h 81349"/>
                <a:gd name="connsiteX27" fmla="*/ 12487 w 146255"/>
                <a:gd name="connsiteY27" fmla="*/ 55562 h 81349"/>
                <a:gd name="connsiteX28" fmla="*/ 6444 w 146255"/>
                <a:gd name="connsiteY28" fmla="*/ 42768 h 81349"/>
                <a:gd name="connsiteX29" fmla="*/ 12487 w 146255"/>
                <a:gd name="connsiteY29" fmla="*/ 41503 h 81349"/>
                <a:gd name="connsiteX30" fmla="*/ 12487 w 146255"/>
                <a:gd name="connsiteY30" fmla="*/ 55562 h 81349"/>
                <a:gd name="connsiteX31" fmla="*/ 6444 w 146255"/>
                <a:gd name="connsiteY31" fmla="*/ 42768 h 81349"/>
                <a:gd name="connsiteX32" fmla="*/ 14156 w 146255"/>
                <a:gd name="connsiteY32" fmla="*/ 59098 h 81349"/>
                <a:gd name="connsiteX33" fmla="*/ 1065 w 146255"/>
                <a:gd name="connsiteY33" fmla="*/ 46655 h 81349"/>
                <a:gd name="connsiteX34" fmla="*/ 14156 w 146255"/>
                <a:gd name="connsiteY34" fmla="*/ 59098 h 81349"/>
                <a:gd name="connsiteX35" fmla="*/ 21860 w 146255"/>
                <a:gd name="connsiteY35" fmla="*/ 75427 h 81349"/>
                <a:gd name="connsiteX36" fmla="*/ 12487 w 146255"/>
                <a:gd name="connsiteY36" fmla="*/ 77607 h 81349"/>
                <a:gd name="connsiteX37" fmla="*/ 2139 w 146255"/>
                <a:gd name="connsiteY37" fmla="*/ 74673 h 81349"/>
                <a:gd name="connsiteX38" fmla="*/ -5115 w 146255"/>
                <a:gd name="connsiteY38" fmla="*/ 66581 h 81349"/>
                <a:gd name="connsiteX39" fmla="*/ -5869 w 146255"/>
                <a:gd name="connsiteY39" fmla="*/ 52682 h 81349"/>
                <a:gd name="connsiteX40" fmla="*/ 3473 w 146255"/>
                <a:gd name="connsiteY40" fmla="*/ 42372 h 81349"/>
                <a:gd name="connsiteX41" fmla="*/ 10300 w 146255"/>
                <a:gd name="connsiteY41" fmla="*/ 39172 h 81349"/>
                <a:gd name="connsiteX42" fmla="*/ 34235 w 146255"/>
                <a:gd name="connsiteY42" fmla="*/ 47622 h 81349"/>
                <a:gd name="connsiteX43" fmla="*/ 26066 w 146255"/>
                <a:gd name="connsiteY43" fmla="*/ 71663 h 81349"/>
                <a:gd name="connsiteX44" fmla="*/ 19391 w 146255"/>
                <a:gd name="connsiteY44" fmla="*/ 58321 h 81349"/>
                <a:gd name="connsiteX45" fmla="*/ 28763 w 146255"/>
                <a:gd name="connsiteY45" fmla="*/ 69957 h 81349"/>
                <a:gd name="connsiteX46" fmla="*/ 26066 w 146255"/>
                <a:gd name="connsiteY46" fmla="*/ 71663 h 81349"/>
                <a:gd name="connsiteX47" fmla="*/ 19391 w 146255"/>
                <a:gd name="connsiteY47" fmla="*/ 58321 h 81349"/>
                <a:gd name="connsiteX48" fmla="*/ 28763 w 146255"/>
                <a:gd name="connsiteY48" fmla="*/ 69957 h 81349"/>
                <a:gd name="connsiteX49" fmla="*/ 25533 w 146255"/>
                <a:gd name="connsiteY49" fmla="*/ 65948 h 81349"/>
                <a:gd name="connsiteX50" fmla="*/ 29000 w 146255"/>
                <a:gd name="connsiteY50" fmla="*/ 69758 h 81349"/>
                <a:gd name="connsiteX51" fmla="*/ 28763 w 146255"/>
                <a:gd name="connsiteY51" fmla="*/ 69957 h 81349"/>
                <a:gd name="connsiteX52" fmla="*/ 25533 w 146255"/>
                <a:gd name="connsiteY52" fmla="*/ 65948 h 81349"/>
                <a:gd name="connsiteX53" fmla="*/ 29000 w 146255"/>
                <a:gd name="connsiteY53" fmla="*/ 69758 h 81349"/>
                <a:gd name="connsiteX54" fmla="*/ 27232 w 146255"/>
                <a:gd name="connsiteY54" fmla="*/ 71542 h 81349"/>
                <a:gd name="connsiteX55" fmla="*/ 21860 w 146255"/>
                <a:gd name="connsiteY55" fmla="*/ 75427 h 81349"/>
                <a:gd name="connsiteX56" fmla="*/ 14156 w 146255"/>
                <a:gd name="connsiteY56" fmla="*/ 59098 h 8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46255" h="81349">
                  <a:moveTo>
                    <a:pt x="91567" y="8296"/>
                  </a:moveTo>
                  <a:lnTo>
                    <a:pt x="113635" y="-2037"/>
                  </a:lnTo>
                  <a:cubicBezTo>
                    <a:pt x="122657" y="-6259"/>
                    <a:pt x="133409" y="-2365"/>
                    <a:pt x="137638" y="6665"/>
                  </a:cubicBezTo>
                  <a:cubicBezTo>
                    <a:pt x="141859" y="15695"/>
                    <a:pt x="137973" y="26446"/>
                    <a:pt x="128936" y="30675"/>
                  </a:cubicBezTo>
                  <a:lnTo>
                    <a:pt x="106876" y="41001"/>
                  </a:lnTo>
                  <a:cubicBezTo>
                    <a:pt x="97846" y="45229"/>
                    <a:pt x="87095" y="41336"/>
                    <a:pt x="82865" y="32306"/>
                  </a:cubicBezTo>
                  <a:cubicBezTo>
                    <a:pt x="78644" y="23276"/>
                    <a:pt x="82530" y="12525"/>
                    <a:pt x="91567" y="8296"/>
                  </a:cubicBezTo>
                  <a:moveTo>
                    <a:pt x="14156" y="59098"/>
                  </a:moveTo>
                  <a:lnTo>
                    <a:pt x="1065" y="46655"/>
                  </a:lnTo>
                  <a:cubicBezTo>
                    <a:pt x="2223" y="45435"/>
                    <a:pt x="3236" y="44414"/>
                    <a:pt x="4303" y="43416"/>
                  </a:cubicBezTo>
                  <a:cubicBezTo>
                    <a:pt x="4837" y="42913"/>
                    <a:pt x="5385" y="42418"/>
                    <a:pt x="6124" y="41816"/>
                  </a:cubicBezTo>
                  <a:cubicBezTo>
                    <a:pt x="6932" y="41214"/>
                    <a:pt x="7671" y="40528"/>
                    <a:pt x="9912" y="39362"/>
                  </a:cubicBezTo>
                  <a:lnTo>
                    <a:pt x="17996" y="55509"/>
                  </a:lnTo>
                  <a:lnTo>
                    <a:pt x="25677" y="71846"/>
                  </a:lnTo>
                  <a:cubicBezTo>
                    <a:pt x="23109" y="73058"/>
                    <a:pt x="20831" y="74124"/>
                    <a:pt x="18812" y="75070"/>
                  </a:cubicBezTo>
                  <a:lnTo>
                    <a:pt x="11146" y="58724"/>
                  </a:lnTo>
                  <a:lnTo>
                    <a:pt x="27399" y="50868"/>
                  </a:lnTo>
                  <a:lnTo>
                    <a:pt x="12464" y="58085"/>
                  </a:lnTo>
                  <a:lnTo>
                    <a:pt x="21220" y="44018"/>
                  </a:lnTo>
                  <a:cubicBezTo>
                    <a:pt x="24268" y="45885"/>
                    <a:pt x="26394" y="48697"/>
                    <a:pt x="27399" y="50868"/>
                  </a:cubicBezTo>
                  <a:lnTo>
                    <a:pt x="12464" y="58085"/>
                  </a:lnTo>
                  <a:lnTo>
                    <a:pt x="21220" y="44018"/>
                  </a:lnTo>
                  <a:lnTo>
                    <a:pt x="12487" y="58054"/>
                  </a:lnTo>
                  <a:lnTo>
                    <a:pt x="12487" y="41503"/>
                  </a:lnTo>
                  <a:cubicBezTo>
                    <a:pt x="14811" y="41465"/>
                    <a:pt x="18210" y="42113"/>
                    <a:pt x="21220" y="44018"/>
                  </a:cubicBezTo>
                  <a:lnTo>
                    <a:pt x="12487" y="58054"/>
                  </a:lnTo>
                  <a:lnTo>
                    <a:pt x="12487" y="41503"/>
                  </a:lnTo>
                  <a:lnTo>
                    <a:pt x="12487" y="55562"/>
                  </a:lnTo>
                  <a:lnTo>
                    <a:pt x="6444" y="42768"/>
                  </a:lnTo>
                  <a:cubicBezTo>
                    <a:pt x="7313" y="42395"/>
                    <a:pt x="9058" y="41549"/>
                    <a:pt x="12487" y="41503"/>
                  </a:cubicBezTo>
                  <a:lnTo>
                    <a:pt x="12487" y="55562"/>
                  </a:lnTo>
                  <a:lnTo>
                    <a:pt x="6444" y="42768"/>
                  </a:lnTo>
                  <a:lnTo>
                    <a:pt x="14156" y="59098"/>
                  </a:lnTo>
                  <a:lnTo>
                    <a:pt x="1065" y="46655"/>
                  </a:lnTo>
                  <a:lnTo>
                    <a:pt x="14156" y="59098"/>
                  </a:lnTo>
                  <a:lnTo>
                    <a:pt x="21860" y="75427"/>
                  </a:lnTo>
                  <a:cubicBezTo>
                    <a:pt x="19658" y="76426"/>
                    <a:pt x="16815" y="77561"/>
                    <a:pt x="12487" y="77607"/>
                  </a:cubicBezTo>
                  <a:cubicBezTo>
                    <a:pt x="9531" y="77645"/>
                    <a:pt x="5599" y="76860"/>
                    <a:pt x="2139" y="74673"/>
                  </a:cubicBezTo>
                  <a:cubicBezTo>
                    <a:pt x="-1351" y="72532"/>
                    <a:pt x="-3843" y="69301"/>
                    <a:pt x="-5115" y="66581"/>
                  </a:cubicBezTo>
                  <a:cubicBezTo>
                    <a:pt x="-7218" y="62238"/>
                    <a:pt x="-7485" y="57231"/>
                    <a:pt x="-5869" y="52682"/>
                  </a:cubicBezTo>
                  <a:cubicBezTo>
                    <a:pt x="-4262" y="48141"/>
                    <a:pt x="-894" y="44422"/>
                    <a:pt x="3473" y="42372"/>
                  </a:cubicBezTo>
                  <a:cubicBezTo>
                    <a:pt x="5522" y="41419"/>
                    <a:pt x="7793" y="40353"/>
                    <a:pt x="10300" y="39172"/>
                  </a:cubicBezTo>
                  <a:cubicBezTo>
                    <a:pt x="19269" y="34950"/>
                    <a:pt x="29899" y="38707"/>
                    <a:pt x="34235" y="47622"/>
                  </a:cubicBezTo>
                  <a:cubicBezTo>
                    <a:pt x="38563" y="56545"/>
                    <a:pt x="34936" y="67229"/>
                    <a:pt x="26066" y="71663"/>
                  </a:cubicBezTo>
                  <a:lnTo>
                    <a:pt x="19391" y="58321"/>
                  </a:lnTo>
                  <a:lnTo>
                    <a:pt x="28763" y="69957"/>
                  </a:lnTo>
                  <a:cubicBezTo>
                    <a:pt x="28413" y="70200"/>
                    <a:pt x="28032" y="70634"/>
                    <a:pt x="26066" y="71663"/>
                  </a:cubicBezTo>
                  <a:lnTo>
                    <a:pt x="19391" y="58321"/>
                  </a:lnTo>
                  <a:lnTo>
                    <a:pt x="28763" y="69957"/>
                  </a:lnTo>
                  <a:lnTo>
                    <a:pt x="25533" y="65948"/>
                  </a:lnTo>
                  <a:lnTo>
                    <a:pt x="29000" y="69758"/>
                  </a:lnTo>
                  <a:lnTo>
                    <a:pt x="28763" y="69957"/>
                  </a:lnTo>
                  <a:lnTo>
                    <a:pt x="25533" y="65948"/>
                  </a:lnTo>
                  <a:lnTo>
                    <a:pt x="29000" y="69758"/>
                  </a:lnTo>
                  <a:cubicBezTo>
                    <a:pt x="28893" y="69850"/>
                    <a:pt x="28185" y="70528"/>
                    <a:pt x="27232" y="71542"/>
                  </a:cubicBezTo>
                  <a:cubicBezTo>
                    <a:pt x="25670" y="73195"/>
                    <a:pt x="23909" y="74460"/>
                    <a:pt x="21860" y="75427"/>
                  </a:cubicBezTo>
                  <a:lnTo>
                    <a:pt x="14156" y="59098"/>
                  </a:lnTo>
                </a:path>
              </a:pathLst>
            </a:custGeom>
            <a:solidFill>
              <a:srgbClr val="FFFFFF"/>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0" name="Freeform: Shape 429">
              <a:extLst>
                <a:ext uri="{FF2B5EF4-FFF2-40B4-BE49-F238E27FC236}">
                  <a16:creationId xmlns:a16="http://schemas.microsoft.com/office/drawing/2014/main" id="{27DD8856-0CE6-6199-5A27-63CC4D629CFF}"/>
                </a:ext>
              </a:extLst>
            </p:cNvPr>
            <p:cNvSpPr/>
            <p:nvPr/>
          </p:nvSpPr>
          <p:spPr>
            <a:xfrm flipV="1">
              <a:off x="6736646" y="4587015"/>
              <a:ext cx="125897" cy="71745"/>
            </a:xfrm>
            <a:custGeom>
              <a:avLst/>
              <a:gdLst>
                <a:gd name="connsiteX0" fmla="*/ 171759 w 189001"/>
                <a:gd name="connsiteY0" fmla="*/ 30626 h 107706"/>
                <a:gd name="connsiteX1" fmla="*/ 18872 w 189001"/>
                <a:gd name="connsiteY1" fmla="*/ 102208 h 107706"/>
                <a:gd name="connsiteX2" fmla="*/ -5131 w 189001"/>
                <a:gd name="connsiteY2" fmla="*/ 93514 h 107706"/>
                <a:gd name="connsiteX3" fmla="*/ 3571 w 189001"/>
                <a:gd name="connsiteY3" fmla="*/ 69503 h 107706"/>
                <a:gd name="connsiteX4" fmla="*/ 156451 w 189001"/>
                <a:gd name="connsiteY4" fmla="*/ -2087 h 107706"/>
                <a:gd name="connsiteX5" fmla="*/ 180454 w 189001"/>
                <a:gd name="connsiteY5" fmla="*/ 6615 h 107706"/>
                <a:gd name="connsiteX6" fmla="*/ 171759 w 189001"/>
                <a:gd name="connsiteY6" fmla="*/ 30626 h 107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001" h="107706">
                  <a:moveTo>
                    <a:pt x="171759" y="30626"/>
                  </a:moveTo>
                  <a:lnTo>
                    <a:pt x="18872" y="102208"/>
                  </a:lnTo>
                  <a:cubicBezTo>
                    <a:pt x="9850" y="106437"/>
                    <a:pt x="-902" y="102543"/>
                    <a:pt x="-5131" y="93514"/>
                  </a:cubicBezTo>
                  <a:cubicBezTo>
                    <a:pt x="-9360" y="84484"/>
                    <a:pt x="-5466" y="73732"/>
                    <a:pt x="3571" y="69503"/>
                  </a:cubicBezTo>
                  <a:lnTo>
                    <a:pt x="156451" y="-2087"/>
                  </a:lnTo>
                  <a:cubicBezTo>
                    <a:pt x="165481" y="-6308"/>
                    <a:pt x="176232" y="-2415"/>
                    <a:pt x="180454" y="6615"/>
                  </a:cubicBezTo>
                  <a:cubicBezTo>
                    <a:pt x="184683" y="15645"/>
                    <a:pt x="180789" y="26397"/>
                    <a:pt x="171759" y="30626"/>
                  </a:cubicBezTo>
                </a:path>
              </a:pathLst>
            </a:custGeom>
            <a:solidFill>
              <a:srgbClr val="2C2A2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1" name="Freeform: Shape 430">
              <a:extLst>
                <a:ext uri="{FF2B5EF4-FFF2-40B4-BE49-F238E27FC236}">
                  <a16:creationId xmlns:a16="http://schemas.microsoft.com/office/drawing/2014/main" id="{B570A66C-EA65-345A-37EB-F5CD6668CAD8}"/>
                </a:ext>
              </a:extLst>
            </p:cNvPr>
            <p:cNvSpPr/>
            <p:nvPr/>
          </p:nvSpPr>
          <p:spPr>
            <a:xfrm flipV="1">
              <a:off x="6346004" y="4524781"/>
              <a:ext cx="640620" cy="747929"/>
            </a:xfrm>
            <a:custGeom>
              <a:avLst/>
              <a:gdLst>
                <a:gd name="connsiteX0" fmla="*/ 296516 w 961724"/>
                <a:gd name="connsiteY0" fmla="*/ 213735 h 1122820"/>
                <a:gd name="connsiteX1" fmla="*/ 269001 w 961724"/>
                <a:gd name="connsiteY1" fmla="*/ 214954 h 1122820"/>
                <a:gd name="connsiteX2" fmla="*/ 262265 w 961724"/>
                <a:gd name="connsiteY2" fmla="*/ 212729 h 1122820"/>
                <a:gd name="connsiteX3" fmla="*/ 246049 w 961724"/>
                <a:gd name="connsiteY3" fmla="*/ 197001 h 1122820"/>
                <a:gd name="connsiteX4" fmla="*/ 245539 w 961724"/>
                <a:gd name="connsiteY4" fmla="*/ 167634 h 1122820"/>
                <a:gd name="connsiteX5" fmla="*/ 263674 w 961724"/>
                <a:gd name="connsiteY5" fmla="*/ 147502 h 1122820"/>
                <a:gd name="connsiteX6" fmla="*/ 265198 w 961724"/>
                <a:gd name="connsiteY6" fmla="*/ 146786 h 1122820"/>
                <a:gd name="connsiteX7" fmla="*/ 269001 w 961724"/>
                <a:gd name="connsiteY7" fmla="*/ 145010 h 1122820"/>
                <a:gd name="connsiteX8" fmla="*/ 300311 w 961724"/>
                <a:gd name="connsiteY8" fmla="*/ 141993 h 1122820"/>
                <a:gd name="connsiteX9" fmla="*/ 324398 w 961724"/>
                <a:gd name="connsiteY9" fmla="*/ 160319 h 1122820"/>
                <a:gd name="connsiteX10" fmla="*/ 323773 w 961724"/>
                <a:gd name="connsiteY10" fmla="*/ 189305 h 1122820"/>
                <a:gd name="connsiteX11" fmla="*/ 301843 w 961724"/>
                <a:gd name="connsiteY11" fmla="*/ 211236 h 1122820"/>
                <a:gd name="connsiteX12" fmla="*/ 298048 w 961724"/>
                <a:gd name="connsiteY12" fmla="*/ 213019 h 1122820"/>
                <a:gd name="connsiteX13" fmla="*/ 296516 w 961724"/>
                <a:gd name="connsiteY13" fmla="*/ 213735 h 1122820"/>
                <a:gd name="connsiteX14" fmla="*/ 750783 w 961724"/>
                <a:gd name="connsiteY14" fmla="*/ 936576 h 1122820"/>
                <a:gd name="connsiteX15" fmla="*/ 597895 w 961724"/>
                <a:gd name="connsiteY15" fmla="*/ 1008158 h 1122820"/>
                <a:gd name="connsiteX16" fmla="*/ 750783 w 961724"/>
                <a:gd name="connsiteY16" fmla="*/ 936576 h 1122820"/>
                <a:gd name="connsiteX17" fmla="*/ 446211 w 961724"/>
                <a:gd name="connsiteY17" fmla="*/ 1023573 h 1122820"/>
                <a:gd name="connsiteX18" fmla="*/ 104553 w 961724"/>
                <a:gd name="connsiteY18" fmla="*/ 352045 h 1122820"/>
                <a:gd name="connsiteX19" fmla="*/ 529742 w 961724"/>
                <a:gd name="connsiteY19" fmla="*/ 152958 h 1122820"/>
                <a:gd name="connsiteX20" fmla="*/ 871392 w 961724"/>
                <a:gd name="connsiteY20" fmla="*/ 824486 h 1122820"/>
                <a:gd name="connsiteX21" fmla="*/ 446211 w 961724"/>
                <a:gd name="connsiteY21" fmla="*/ 1023573 h 1122820"/>
                <a:gd name="connsiteX22" fmla="*/ 772073 w 961724"/>
                <a:gd name="connsiteY22" fmla="*/ 926601 h 1122820"/>
                <a:gd name="connsiteX23" fmla="*/ 794133 w 961724"/>
                <a:gd name="connsiteY23" fmla="*/ 916269 h 1122820"/>
                <a:gd name="connsiteX24" fmla="*/ 772073 w 961724"/>
                <a:gd name="connsiteY24" fmla="*/ 926601 h 1122820"/>
                <a:gd name="connsiteX25" fmla="*/ 687003 w 961724"/>
                <a:gd name="connsiteY25" fmla="*/ 961051 h 1122820"/>
                <a:gd name="connsiteX26" fmla="*/ 690844 w 961724"/>
                <a:gd name="connsiteY26" fmla="*/ 957462 h 1122820"/>
                <a:gd name="connsiteX27" fmla="*/ 683993 w 961724"/>
                <a:gd name="connsiteY27" fmla="*/ 960678 h 1122820"/>
                <a:gd name="connsiteX28" fmla="*/ 687003 w 961724"/>
                <a:gd name="connsiteY28" fmla="*/ 961051 h 1122820"/>
                <a:gd name="connsiteX29" fmla="*/ 683993 w 961724"/>
                <a:gd name="connsiteY29" fmla="*/ 960678 h 1122820"/>
                <a:gd name="connsiteX30" fmla="*/ 690844 w 961724"/>
                <a:gd name="connsiteY30" fmla="*/ 957462 h 1122820"/>
                <a:gd name="connsiteX31" fmla="*/ 687003 w 961724"/>
                <a:gd name="connsiteY31" fmla="*/ 961051 h 1122820"/>
                <a:gd name="connsiteX32" fmla="*/ 534733 w 961724"/>
                <a:gd name="connsiteY32" fmla="*/ 25064 h 1122820"/>
                <a:gd name="connsiteX33" fmla="*/ 485584 w 961724"/>
                <a:gd name="connsiteY33" fmla="*/ -357 h 1122820"/>
                <a:gd name="connsiteX34" fmla="*/ 10949 w 961724"/>
                <a:gd name="connsiteY34" fmla="*/ 221888 h 1122820"/>
                <a:gd name="connsiteX35" fmla="*/ -3018 w 961724"/>
                <a:gd name="connsiteY35" fmla="*/ 276859 h 1122820"/>
                <a:gd name="connsiteX36" fmla="*/ 400712 w 961724"/>
                <a:gd name="connsiteY36" fmla="*/ 1073576 h 1122820"/>
                <a:gd name="connsiteX37" fmla="*/ 402160 w 961724"/>
                <a:gd name="connsiteY37" fmla="*/ 1076487 h 1122820"/>
                <a:gd name="connsiteX38" fmla="*/ 408294 w 961724"/>
                <a:gd name="connsiteY38" fmla="*/ 1088862 h 1122820"/>
                <a:gd name="connsiteX39" fmla="*/ 481865 w 961724"/>
                <a:gd name="connsiteY39" fmla="*/ 1112712 h 1122820"/>
                <a:gd name="connsiteX40" fmla="*/ 928931 w 961724"/>
                <a:gd name="connsiteY40" fmla="*/ 903376 h 1122820"/>
                <a:gd name="connsiteX41" fmla="*/ 945321 w 961724"/>
                <a:gd name="connsiteY41" fmla="*/ 835603 h 1122820"/>
                <a:gd name="connsiteX42" fmla="*/ 937747 w 961724"/>
                <a:gd name="connsiteY42" fmla="*/ 820325 h 1122820"/>
                <a:gd name="connsiteX43" fmla="*/ 935941 w 961724"/>
                <a:gd name="connsiteY43" fmla="*/ 816690 h 1122820"/>
                <a:gd name="connsiteX44" fmla="*/ 534733 w 961724"/>
                <a:gd name="connsiteY44" fmla="*/ 25064 h 1122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61724" h="1122820">
                  <a:moveTo>
                    <a:pt x="296516" y="213735"/>
                  </a:moveTo>
                  <a:cubicBezTo>
                    <a:pt x="287411" y="216806"/>
                    <a:pt x="278244" y="217210"/>
                    <a:pt x="269001" y="214954"/>
                  </a:cubicBezTo>
                  <a:cubicBezTo>
                    <a:pt x="266257" y="214444"/>
                    <a:pt x="264010" y="213697"/>
                    <a:pt x="262265" y="212729"/>
                  </a:cubicBezTo>
                  <a:cubicBezTo>
                    <a:pt x="255064" y="209521"/>
                    <a:pt x="249653" y="204279"/>
                    <a:pt x="246049" y="197001"/>
                  </a:cubicBezTo>
                  <a:cubicBezTo>
                    <a:pt x="241233" y="187294"/>
                    <a:pt x="241058" y="177510"/>
                    <a:pt x="245539" y="167634"/>
                  </a:cubicBezTo>
                  <a:cubicBezTo>
                    <a:pt x="249486" y="159222"/>
                    <a:pt x="255528" y="152508"/>
                    <a:pt x="263674" y="147502"/>
                  </a:cubicBezTo>
                  <a:lnTo>
                    <a:pt x="265198" y="146786"/>
                  </a:lnTo>
                  <a:lnTo>
                    <a:pt x="269001" y="145010"/>
                  </a:lnTo>
                  <a:cubicBezTo>
                    <a:pt x="279890" y="140499"/>
                    <a:pt x="290329" y="139501"/>
                    <a:pt x="300311" y="141993"/>
                  </a:cubicBezTo>
                  <a:cubicBezTo>
                    <a:pt x="311551" y="144500"/>
                    <a:pt x="319582" y="150611"/>
                    <a:pt x="324398" y="160319"/>
                  </a:cubicBezTo>
                  <a:cubicBezTo>
                    <a:pt x="328962" y="169531"/>
                    <a:pt x="328757" y="179194"/>
                    <a:pt x="323773" y="189305"/>
                  </a:cubicBezTo>
                  <a:cubicBezTo>
                    <a:pt x="319559" y="198449"/>
                    <a:pt x="312252" y="205772"/>
                    <a:pt x="301843" y="211236"/>
                  </a:cubicBezTo>
                  <a:lnTo>
                    <a:pt x="298048" y="213019"/>
                  </a:lnTo>
                  <a:lnTo>
                    <a:pt x="296516" y="213735"/>
                  </a:lnTo>
                  <a:moveTo>
                    <a:pt x="750783" y="936576"/>
                  </a:moveTo>
                  <a:lnTo>
                    <a:pt x="597895" y="1008158"/>
                  </a:lnTo>
                  <a:lnTo>
                    <a:pt x="750783" y="936576"/>
                  </a:lnTo>
                  <a:moveTo>
                    <a:pt x="446211" y="1023573"/>
                  </a:moveTo>
                  <a:lnTo>
                    <a:pt x="104553" y="352045"/>
                  </a:lnTo>
                  <a:lnTo>
                    <a:pt x="529742" y="152958"/>
                  </a:lnTo>
                  <a:lnTo>
                    <a:pt x="871392" y="824486"/>
                  </a:lnTo>
                  <a:lnTo>
                    <a:pt x="446211" y="1023573"/>
                  </a:lnTo>
                  <a:moveTo>
                    <a:pt x="772073" y="926601"/>
                  </a:moveTo>
                  <a:lnTo>
                    <a:pt x="794133" y="916269"/>
                  </a:lnTo>
                  <a:lnTo>
                    <a:pt x="772073" y="926601"/>
                  </a:lnTo>
                  <a:moveTo>
                    <a:pt x="687003" y="961051"/>
                  </a:moveTo>
                  <a:cubicBezTo>
                    <a:pt x="689015" y="958925"/>
                    <a:pt x="690295" y="957737"/>
                    <a:pt x="690844" y="957462"/>
                  </a:cubicBezTo>
                  <a:cubicBezTo>
                    <a:pt x="688306" y="958659"/>
                    <a:pt x="686028" y="959725"/>
                    <a:pt x="683993" y="960678"/>
                  </a:cubicBezTo>
                  <a:cubicBezTo>
                    <a:pt x="684474" y="961638"/>
                    <a:pt x="685479" y="961760"/>
                    <a:pt x="687003" y="961051"/>
                  </a:cubicBezTo>
                  <a:cubicBezTo>
                    <a:pt x="685479" y="961760"/>
                    <a:pt x="684474" y="961638"/>
                    <a:pt x="683993" y="960678"/>
                  </a:cubicBezTo>
                  <a:cubicBezTo>
                    <a:pt x="686028" y="959725"/>
                    <a:pt x="688306" y="958659"/>
                    <a:pt x="690844" y="957462"/>
                  </a:cubicBezTo>
                  <a:cubicBezTo>
                    <a:pt x="690295" y="957737"/>
                    <a:pt x="689015" y="958925"/>
                    <a:pt x="687003" y="961051"/>
                  </a:cubicBezTo>
                  <a:moveTo>
                    <a:pt x="534733" y="25064"/>
                  </a:moveTo>
                  <a:cubicBezTo>
                    <a:pt x="519950" y="291"/>
                    <a:pt x="503567" y="-8182"/>
                    <a:pt x="485584" y="-357"/>
                  </a:cubicBezTo>
                  <a:lnTo>
                    <a:pt x="10949" y="221888"/>
                  </a:lnTo>
                  <a:cubicBezTo>
                    <a:pt x="-6043" y="230446"/>
                    <a:pt x="-10714" y="248772"/>
                    <a:pt x="-3018" y="276859"/>
                  </a:cubicBezTo>
                  <a:lnTo>
                    <a:pt x="400712" y="1073576"/>
                  </a:lnTo>
                  <a:cubicBezTo>
                    <a:pt x="401200" y="1074544"/>
                    <a:pt x="401672" y="1075519"/>
                    <a:pt x="402160" y="1076487"/>
                  </a:cubicBezTo>
                  <a:lnTo>
                    <a:pt x="408294" y="1088862"/>
                  </a:lnTo>
                  <a:cubicBezTo>
                    <a:pt x="420113" y="1111440"/>
                    <a:pt x="444245" y="1130330"/>
                    <a:pt x="481865" y="1112712"/>
                  </a:cubicBezTo>
                  <a:lnTo>
                    <a:pt x="928931" y="903376"/>
                  </a:lnTo>
                  <a:cubicBezTo>
                    <a:pt x="965309" y="886345"/>
                    <a:pt x="956591" y="860833"/>
                    <a:pt x="945321" y="835603"/>
                  </a:cubicBezTo>
                  <a:lnTo>
                    <a:pt x="937747" y="820325"/>
                  </a:lnTo>
                  <a:cubicBezTo>
                    <a:pt x="937503" y="819845"/>
                    <a:pt x="936901" y="818626"/>
                    <a:pt x="935941" y="816690"/>
                  </a:cubicBezTo>
                  <a:lnTo>
                    <a:pt x="534733" y="25064"/>
                  </a:lnTo>
                </a:path>
              </a:pathLst>
            </a:custGeom>
            <a:solidFill>
              <a:srgbClr val="145275"/>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2" name="Freeform: Shape 431">
              <a:extLst>
                <a:ext uri="{FF2B5EF4-FFF2-40B4-BE49-F238E27FC236}">
                  <a16:creationId xmlns:a16="http://schemas.microsoft.com/office/drawing/2014/main" id="{538E9C50-6E0D-7832-93FB-DFE699FDA701}"/>
                </a:ext>
              </a:extLst>
            </p:cNvPr>
            <p:cNvSpPr/>
            <p:nvPr/>
          </p:nvSpPr>
          <p:spPr>
            <a:xfrm flipV="1">
              <a:off x="6342799" y="5099744"/>
              <a:ext cx="3349" cy="6557"/>
            </a:xfrm>
            <a:custGeom>
              <a:avLst/>
              <a:gdLst>
                <a:gd name="connsiteX0" fmla="*/ -6062 w 5028"/>
                <a:gd name="connsiteY0" fmla="*/ -2719 h 9844"/>
                <a:gd name="connsiteX1" fmla="*/ -1178 w 5028"/>
                <a:gd name="connsiteY1" fmla="*/ 7126 h 9844"/>
                <a:gd name="connsiteX2" fmla="*/ -1246 w 5028"/>
                <a:gd name="connsiteY2" fmla="*/ 4025 h 9844"/>
                <a:gd name="connsiteX3" fmla="*/ -1033 w 5028"/>
                <a:gd name="connsiteY3" fmla="*/ -776 h 9844"/>
                <a:gd name="connsiteX4" fmla="*/ -6062 w 5028"/>
                <a:gd name="connsiteY4" fmla="*/ -2719 h 9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8" h="9844">
                  <a:moveTo>
                    <a:pt x="-6062" y="-2719"/>
                  </a:moveTo>
                  <a:lnTo>
                    <a:pt x="-1178" y="7126"/>
                  </a:lnTo>
                  <a:cubicBezTo>
                    <a:pt x="-1224" y="6075"/>
                    <a:pt x="-1254" y="5039"/>
                    <a:pt x="-1246" y="4025"/>
                  </a:cubicBezTo>
                  <a:cubicBezTo>
                    <a:pt x="-1246" y="2372"/>
                    <a:pt x="-1178" y="771"/>
                    <a:pt x="-1033" y="-776"/>
                  </a:cubicBezTo>
                  <a:lnTo>
                    <a:pt x="-6062" y="-2719"/>
                  </a:lnTo>
                </a:path>
              </a:pathLst>
            </a:custGeom>
            <a:solidFill>
              <a:srgbClr val="506B83"/>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3" name="Freeform: Shape 432">
              <a:extLst>
                <a:ext uri="{FF2B5EF4-FFF2-40B4-BE49-F238E27FC236}">
                  <a16:creationId xmlns:a16="http://schemas.microsoft.com/office/drawing/2014/main" id="{81CE171E-EB39-836B-494D-E18A1A994D09}"/>
                </a:ext>
              </a:extLst>
            </p:cNvPr>
            <p:cNvSpPr/>
            <p:nvPr/>
          </p:nvSpPr>
          <p:spPr>
            <a:xfrm flipV="1">
              <a:off x="6420053" y="4834669"/>
              <a:ext cx="453173" cy="223493"/>
            </a:xfrm>
            <a:custGeom>
              <a:avLst/>
              <a:gdLst>
                <a:gd name="connsiteX0" fmla="*/ 64181 w 680321"/>
                <a:gd name="connsiteY0" fmla="*/ -3068 h 335516"/>
                <a:gd name="connsiteX1" fmla="*/ -6578 w 680321"/>
                <a:gd name="connsiteY1" fmla="*/ 30064 h 335516"/>
                <a:gd name="connsiteX2" fmla="*/ 13409 w 680321"/>
                <a:gd name="connsiteY2" fmla="*/ 69360 h 335516"/>
                <a:gd name="connsiteX3" fmla="*/ 673743 w 680321"/>
                <a:gd name="connsiteY3" fmla="*/ 332448 h 335516"/>
                <a:gd name="connsiteX4" fmla="*/ 610650 w 680321"/>
                <a:gd name="connsiteY4" fmla="*/ 208433 h 335516"/>
                <a:gd name="connsiteX5" fmla="*/ 64181 w 680321"/>
                <a:gd name="connsiteY5" fmla="*/ -3068 h 33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321" h="335516">
                  <a:moveTo>
                    <a:pt x="64181" y="-3068"/>
                  </a:moveTo>
                  <a:lnTo>
                    <a:pt x="-6578" y="30064"/>
                  </a:lnTo>
                  <a:lnTo>
                    <a:pt x="13409" y="69360"/>
                  </a:lnTo>
                  <a:lnTo>
                    <a:pt x="673743" y="332448"/>
                  </a:lnTo>
                  <a:lnTo>
                    <a:pt x="610650" y="208433"/>
                  </a:lnTo>
                  <a:lnTo>
                    <a:pt x="64181" y="-3068"/>
                  </a:lnTo>
                </a:path>
              </a:pathLst>
            </a:custGeom>
            <a:solidFill>
              <a:srgbClr val="4DA5C3">
                <a:lumMod val="20000"/>
                <a:lumOff val="80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4" name="Freeform: Shape 433">
              <a:extLst>
                <a:ext uri="{FF2B5EF4-FFF2-40B4-BE49-F238E27FC236}">
                  <a16:creationId xmlns:a16="http://schemas.microsoft.com/office/drawing/2014/main" id="{5747E811-4520-2E3D-7462-DD9590882AA8}"/>
                </a:ext>
              </a:extLst>
            </p:cNvPr>
            <p:cNvSpPr/>
            <p:nvPr/>
          </p:nvSpPr>
          <p:spPr>
            <a:xfrm flipV="1">
              <a:off x="6888433" y="4851810"/>
              <a:ext cx="21958" cy="43316"/>
            </a:xfrm>
            <a:custGeom>
              <a:avLst/>
              <a:gdLst>
                <a:gd name="connsiteX0" fmla="*/ -7010 w 32964"/>
                <a:gd name="connsiteY0" fmla="*/ -3231 h 65028"/>
                <a:gd name="connsiteX1" fmla="*/ 25955 w 32964"/>
                <a:gd name="connsiteY1" fmla="*/ 61798 h 65028"/>
                <a:gd name="connsiteX2" fmla="*/ -6126 w 32964"/>
                <a:gd name="connsiteY2" fmla="*/ -2888 h 65028"/>
                <a:gd name="connsiteX3" fmla="*/ -7010 w 32964"/>
                <a:gd name="connsiteY3" fmla="*/ -3231 h 65028"/>
              </a:gdLst>
              <a:ahLst/>
              <a:cxnLst>
                <a:cxn ang="0">
                  <a:pos x="connsiteX0" y="connsiteY0"/>
                </a:cxn>
                <a:cxn ang="0">
                  <a:pos x="connsiteX1" y="connsiteY1"/>
                </a:cxn>
                <a:cxn ang="0">
                  <a:pos x="connsiteX2" y="connsiteY2"/>
                </a:cxn>
                <a:cxn ang="0">
                  <a:pos x="connsiteX3" y="connsiteY3"/>
                </a:cxn>
              </a:cxnLst>
              <a:rect l="l" t="t" r="r" b="b"/>
              <a:pathLst>
                <a:path w="32964" h="65028">
                  <a:moveTo>
                    <a:pt x="-7010" y="-3231"/>
                  </a:moveTo>
                  <a:lnTo>
                    <a:pt x="25955" y="61798"/>
                  </a:lnTo>
                  <a:lnTo>
                    <a:pt x="-6126" y="-2888"/>
                  </a:lnTo>
                  <a:lnTo>
                    <a:pt x="-7010" y="-3231"/>
                  </a:lnTo>
                </a:path>
              </a:pathLst>
            </a:custGeom>
            <a:solidFill>
              <a:srgbClr val="8090AD"/>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5" name="Freeform: Shape 434">
              <a:extLst>
                <a:ext uri="{FF2B5EF4-FFF2-40B4-BE49-F238E27FC236}">
                  <a16:creationId xmlns:a16="http://schemas.microsoft.com/office/drawing/2014/main" id="{E340DAD2-0252-953D-4536-1D4589FE40D5}"/>
                </a:ext>
              </a:extLst>
            </p:cNvPr>
            <p:cNvSpPr/>
            <p:nvPr/>
          </p:nvSpPr>
          <p:spPr>
            <a:xfrm flipV="1">
              <a:off x="6346006" y="4811996"/>
              <a:ext cx="584124" cy="293011"/>
            </a:xfrm>
            <a:custGeom>
              <a:avLst/>
              <a:gdLst>
                <a:gd name="connsiteX0" fmla="*/ -6349 w 876910"/>
                <a:gd name="connsiteY0" fmla="*/ -3041 h 439879"/>
                <a:gd name="connsiteX1" fmla="*/ -6562 w 876910"/>
                <a:gd name="connsiteY1" fmla="*/ 1759 h 439879"/>
                <a:gd name="connsiteX2" fmla="*/ -6494 w 876910"/>
                <a:gd name="connsiteY2" fmla="*/ 4861 h 439879"/>
                <a:gd name="connsiteX3" fmla="*/ 44568 w 876910"/>
                <a:gd name="connsiteY3" fmla="*/ 107830 h 439879"/>
                <a:gd name="connsiteX4" fmla="*/ 124586 w 876910"/>
                <a:gd name="connsiteY4" fmla="*/ 139712 h 439879"/>
                <a:gd name="connsiteX5" fmla="*/ 104598 w 876910"/>
                <a:gd name="connsiteY5" fmla="*/ 100416 h 439879"/>
                <a:gd name="connsiteX6" fmla="*/ 175357 w 876910"/>
                <a:gd name="connsiteY6" fmla="*/ 67284 h 439879"/>
                <a:gd name="connsiteX7" fmla="*/ -6349 w 876910"/>
                <a:gd name="connsiteY7" fmla="*/ -3041 h 439879"/>
                <a:gd name="connsiteX8" fmla="*/ 721826 w 876910"/>
                <a:gd name="connsiteY8" fmla="*/ 278785 h 439879"/>
                <a:gd name="connsiteX9" fmla="*/ 784920 w 876910"/>
                <a:gd name="connsiteY9" fmla="*/ 402800 h 439879"/>
                <a:gd name="connsiteX10" fmla="*/ 870347 w 876910"/>
                <a:gd name="connsiteY10" fmla="*/ 436839 h 439879"/>
                <a:gd name="connsiteX11" fmla="*/ 840713 w 876910"/>
                <a:gd name="connsiteY11" fmla="*/ 377067 h 439879"/>
                <a:gd name="connsiteX12" fmla="*/ 807749 w 876910"/>
                <a:gd name="connsiteY12" fmla="*/ 312038 h 439879"/>
                <a:gd name="connsiteX13" fmla="*/ 721826 w 876910"/>
                <a:gd name="connsiteY13" fmla="*/ 278785 h 43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6910" h="439879">
                  <a:moveTo>
                    <a:pt x="-6349" y="-3041"/>
                  </a:moveTo>
                  <a:cubicBezTo>
                    <a:pt x="-6494" y="-1494"/>
                    <a:pt x="-6562" y="106"/>
                    <a:pt x="-6562" y="1759"/>
                  </a:cubicBezTo>
                  <a:cubicBezTo>
                    <a:pt x="-6570" y="2773"/>
                    <a:pt x="-6539" y="3809"/>
                    <a:pt x="-6494" y="4861"/>
                  </a:cubicBezTo>
                  <a:lnTo>
                    <a:pt x="44568" y="107830"/>
                  </a:lnTo>
                  <a:lnTo>
                    <a:pt x="124586" y="139712"/>
                  </a:lnTo>
                  <a:lnTo>
                    <a:pt x="104598" y="100416"/>
                  </a:lnTo>
                  <a:lnTo>
                    <a:pt x="175357" y="67284"/>
                  </a:lnTo>
                  <a:lnTo>
                    <a:pt x="-6349" y="-3041"/>
                  </a:lnTo>
                  <a:moveTo>
                    <a:pt x="721826" y="278785"/>
                  </a:moveTo>
                  <a:lnTo>
                    <a:pt x="784920" y="402800"/>
                  </a:lnTo>
                  <a:lnTo>
                    <a:pt x="870347" y="436839"/>
                  </a:lnTo>
                  <a:lnTo>
                    <a:pt x="840713" y="377067"/>
                  </a:lnTo>
                  <a:lnTo>
                    <a:pt x="807749" y="312038"/>
                  </a:lnTo>
                  <a:lnTo>
                    <a:pt x="721826" y="278785"/>
                  </a:lnTo>
                </a:path>
              </a:pathLst>
            </a:custGeom>
            <a:solidFill>
              <a:srgbClr val="667F99"/>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6" name="Freeform: Shape 435">
              <a:extLst>
                <a:ext uri="{FF2B5EF4-FFF2-40B4-BE49-F238E27FC236}">
                  <a16:creationId xmlns:a16="http://schemas.microsoft.com/office/drawing/2014/main" id="{363D5C5D-4EF9-64F4-E659-BEF320AA906C}"/>
                </a:ext>
              </a:extLst>
            </p:cNvPr>
            <p:cNvSpPr/>
            <p:nvPr/>
          </p:nvSpPr>
          <p:spPr>
            <a:xfrm flipV="1">
              <a:off x="6453330" y="4638662"/>
              <a:ext cx="477526" cy="332024"/>
            </a:xfrm>
            <a:custGeom>
              <a:avLst/>
              <a:gdLst>
                <a:gd name="connsiteX0" fmla="*/ -6656 w 716881"/>
                <a:gd name="connsiteY0" fmla="*/ -3385 h 498447"/>
                <a:gd name="connsiteX1" fmla="*/ 187273 w 716881"/>
                <a:gd name="connsiteY1" fmla="*/ 377783 h 498447"/>
                <a:gd name="connsiteX2" fmla="*/ 444989 w 716881"/>
                <a:gd name="connsiteY2" fmla="*/ 495062 h 498447"/>
                <a:gd name="connsiteX3" fmla="*/ 710226 w 716881"/>
                <a:gd name="connsiteY3" fmla="*/ 370864 h 498447"/>
                <a:gd name="connsiteX4" fmla="*/ 651888 w 716881"/>
                <a:gd name="connsiteY4" fmla="*/ 256198 h 498447"/>
                <a:gd name="connsiteX5" fmla="*/ -6656 w 716881"/>
                <a:gd name="connsiteY5" fmla="*/ -3385 h 498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6881" h="498447">
                  <a:moveTo>
                    <a:pt x="-6656" y="-3385"/>
                  </a:moveTo>
                  <a:lnTo>
                    <a:pt x="187273" y="377783"/>
                  </a:lnTo>
                  <a:lnTo>
                    <a:pt x="444989" y="495062"/>
                  </a:lnTo>
                  <a:lnTo>
                    <a:pt x="710226" y="370864"/>
                  </a:lnTo>
                  <a:lnTo>
                    <a:pt x="651888" y="256198"/>
                  </a:lnTo>
                  <a:lnTo>
                    <a:pt x="-6656" y="-3385"/>
                  </a:lnTo>
                </a:path>
              </a:pathLst>
            </a:custGeom>
            <a:solidFill>
              <a:srgbClr val="4DA5C3">
                <a:lumMod val="20000"/>
                <a:lumOff val="80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7" name="Freeform: Shape 436">
              <a:extLst>
                <a:ext uri="{FF2B5EF4-FFF2-40B4-BE49-F238E27FC236}">
                  <a16:creationId xmlns:a16="http://schemas.microsoft.com/office/drawing/2014/main" id="{33D28B53-E048-FACA-0AFE-864D97AAAE2E}"/>
                </a:ext>
              </a:extLst>
            </p:cNvPr>
            <p:cNvSpPr/>
            <p:nvPr/>
          </p:nvSpPr>
          <p:spPr>
            <a:xfrm flipV="1">
              <a:off x="6949206" y="4755933"/>
              <a:ext cx="9776" cy="19287"/>
            </a:xfrm>
            <a:custGeom>
              <a:avLst/>
              <a:gdLst>
                <a:gd name="connsiteX0" fmla="*/ -7103 w 14676"/>
                <a:gd name="connsiteY0" fmla="*/ -3472 h 28955"/>
                <a:gd name="connsiteX1" fmla="*/ 7573 w 14676"/>
                <a:gd name="connsiteY1" fmla="*/ 25484 h 28955"/>
                <a:gd name="connsiteX2" fmla="*/ -6120 w 14676"/>
                <a:gd name="connsiteY2" fmla="*/ -3084 h 28955"/>
                <a:gd name="connsiteX3" fmla="*/ -7103 w 14676"/>
                <a:gd name="connsiteY3" fmla="*/ -3472 h 28955"/>
              </a:gdLst>
              <a:ahLst/>
              <a:cxnLst>
                <a:cxn ang="0">
                  <a:pos x="connsiteX0" y="connsiteY0"/>
                </a:cxn>
                <a:cxn ang="0">
                  <a:pos x="connsiteX1" y="connsiteY1"/>
                </a:cxn>
                <a:cxn ang="0">
                  <a:pos x="connsiteX2" y="connsiteY2"/>
                </a:cxn>
                <a:cxn ang="0">
                  <a:pos x="connsiteX3" y="connsiteY3"/>
                </a:cxn>
              </a:cxnLst>
              <a:rect l="l" t="t" r="r" b="b"/>
              <a:pathLst>
                <a:path w="14676" h="28955">
                  <a:moveTo>
                    <a:pt x="-7103" y="-3472"/>
                  </a:moveTo>
                  <a:lnTo>
                    <a:pt x="7573" y="25484"/>
                  </a:lnTo>
                  <a:lnTo>
                    <a:pt x="-6120" y="-3084"/>
                  </a:lnTo>
                  <a:lnTo>
                    <a:pt x="-7103" y="-3472"/>
                  </a:lnTo>
                </a:path>
              </a:pathLst>
            </a:custGeom>
            <a:solidFill>
              <a:srgbClr val="8090AD"/>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8" name="Freeform: Shape 437">
              <a:extLst>
                <a:ext uri="{FF2B5EF4-FFF2-40B4-BE49-F238E27FC236}">
                  <a16:creationId xmlns:a16="http://schemas.microsoft.com/office/drawing/2014/main" id="{B946371E-9221-1AE9-875B-C2DE90BEBC5D}"/>
                </a:ext>
              </a:extLst>
            </p:cNvPr>
            <p:cNvSpPr/>
            <p:nvPr/>
          </p:nvSpPr>
          <p:spPr>
            <a:xfrm flipV="1">
              <a:off x="6965779" y="4667249"/>
              <a:ext cx="20892" cy="34875"/>
            </a:xfrm>
            <a:custGeom>
              <a:avLst/>
              <a:gdLst>
                <a:gd name="connsiteX0" fmla="*/ 21358 w 31364"/>
                <a:gd name="connsiteY0" fmla="*/ -3653 h 52356"/>
                <a:gd name="connsiteX1" fmla="*/ 24063 w 31364"/>
                <a:gd name="connsiteY1" fmla="*/ 15077 h 52356"/>
                <a:gd name="connsiteX2" fmla="*/ 22532 w 31364"/>
                <a:gd name="connsiteY2" fmla="*/ -1199 h 52356"/>
                <a:gd name="connsiteX3" fmla="*/ 21358 w 31364"/>
                <a:gd name="connsiteY3" fmla="*/ -3653 h 52356"/>
                <a:gd name="connsiteX4" fmla="*/ 20025 w 31364"/>
                <a:gd name="connsiteY4" fmla="*/ 28359 h 52356"/>
                <a:gd name="connsiteX5" fmla="*/ -2028 w 31364"/>
                <a:gd name="connsiteY5" fmla="*/ 46312 h 52356"/>
                <a:gd name="connsiteX6" fmla="*/ -7141 w 31364"/>
                <a:gd name="connsiteY6" fmla="*/ 48704 h 52356"/>
                <a:gd name="connsiteX7" fmla="*/ 20025 w 31364"/>
                <a:gd name="connsiteY7" fmla="*/ 28359 h 52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64" h="52356">
                  <a:moveTo>
                    <a:pt x="21358" y="-3653"/>
                  </a:moveTo>
                  <a:cubicBezTo>
                    <a:pt x="23339" y="2756"/>
                    <a:pt x="24490" y="9050"/>
                    <a:pt x="24063" y="15077"/>
                  </a:cubicBezTo>
                  <a:cubicBezTo>
                    <a:pt x="24513" y="10163"/>
                    <a:pt x="24025" y="4752"/>
                    <a:pt x="22532" y="-1199"/>
                  </a:cubicBezTo>
                  <a:lnTo>
                    <a:pt x="21358" y="-3653"/>
                  </a:lnTo>
                  <a:moveTo>
                    <a:pt x="20025" y="28359"/>
                  </a:moveTo>
                  <a:cubicBezTo>
                    <a:pt x="16138" y="34981"/>
                    <a:pt x="9204" y="41054"/>
                    <a:pt x="-2028" y="46312"/>
                  </a:cubicBezTo>
                  <a:lnTo>
                    <a:pt x="-7141" y="48704"/>
                  </a:lnTo>
                  <a:cubicBezTo>
                    <a:pt x="5638" y="43927"/>
                    <a:pt x="15003" y="37313"/>
                    <a:pt x="20025" y="28359"/>
                  </a:cubicBezTo>
                </a:path>
              </a:pathLst>
            </a:custGeom>
            <a:solidFill>
              <a:srgbClr val="608092"/>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9" name="Freeform: Shape 438">
              <a:extLst>
                <a:ext uri="{FF2B5EF4-FFF2-40B4-BE49-F238E27FC236}">
                  <a16:creationId xmlns:a16="http://schemas.microsoft.com/office/drawing/2014/main" id="{00F10E94-FA06-7C98-1FA9-B570C2E97D87}"/>
                </a:ext>
              </a:extLst>
            </p:cNvPr>
            <p:cNvSpPr/>
            <p:nvPr/>
          </p:nvSpPr>
          <p:spPr>
            <a:xfrm flipV="1">
              <a:off x="6806028" y="4630125"/>
              <a:ext cx="2005" cy="548"/>
            </a:xfrm>
            <a:custGeom>
              <a:avLst/>
              <a:gdLst>
                <a:gd name="connsiteX0" fmla="*/ -6852 w 3010"/>
                <a:gd name="connsiteY0" fmla="*/ -3774 h 823"/>
                <a:gd name="connsiteX1" fmla="*/ -6852 w 3010"/>
                <a:gd name="connsiteY1" fmla="*/ -3774 h 823"/>
                <a:gd name="connsiteX2" fmla="*/ -6722 w 3010"/>
                <a:gd name="connsiteY2" fmla="*/ -3560 h 823"/>
                <a:gd name="connsiteX3" fmla="*/ -6852 w 3010"/>
                <a:gd name="connsiteY3" fmla="*/ -3774 h 823"/>
                <a:gd name="connsiteX4" fmla="*/ -6722 w 3010"/>
                <a:gd name="connsiteY4" fmla="*/ -3560 h 823"/>
                <a:gd name="connsiteX5" fmla="*/ -5534 w 3010"/>
                <a:gd name="connsiteY5" fmla="*/ -2951 h 823"/>
                <a:gd name="connsiteX6" fmla="*/ -6722 w 3010"/>
                <a:gd name="connsiteY6" fmla="*/ -3560 h 823"/>
                <a:gd name="connsiteX7" fmla="*/ -3842 w 3010"/>
                <a:gd name="connsiteY7" fmla="*/ -3400 h 823"/>
                <a:gd name="connsiteX8" fmla="*/ -4040 w 3010"/>
                <a:gd name="connsiteY8" fmla="*/ -3309 h 823"/>
                <a:gd name="connsiteX9" fmla="*/ -3842 w 3010"/>
                <a:gd name="connsiteY9" fmla="*/ -3400 h 823"/>
                <a:gd name="connsiteX10" fmla="*/ -4040 w 3010"/>
                <a:gd name="connsiteY10" fmla="*/ -3309 h 823"/>
                <a:gd name="connsiteX11" fmla="*/ -4147 w 3010"/>
                <a:gd name="connsiteY11" fmla="*/ -3271 h 823"/>
                <a:gd name="connsiteX12" fmla="*/ -4040 w 3010"/>
                <a:gd name="connsiteY12" fmla="*/ -3309 h 823"/>
                <a:gd name="connsiteX13" fmla="*/ -4147 w 3010"/>
                <a:gd name="connsiteY13" fmla="*/ -3271 h 823"/>
                <a:gd name="connsiteX14" fmla="*/ -5457 w 3010"/>
                <a:gd name="connsiteY14" fmla="*/ -2951 h 823"/>
                <a:gd name="connsiteX15" fmla="*/ -4147 w 3010"/>
                <a:gd name="connsiteY15" fmla="*/ -3271 h 823"/>
                <a:gd name="connsiteX16" fmla="*/ -5457 w 3010"/>
                <a:gd name="connsiteY16" fmla="*/ -2951 h 823"/>
                <a:gd name="connsiteX17" fmla="*/ -5503 w 3010"/>
                <a:gd name="connsiteY17" fmla="*/ -2951 h 823"/>
                <a:gd name="connsiteX18" fmla="*/ -5503 w 3010"/>
                <a:gd name="connsiteY18" fmla="*/ -2951 h 823"/>
                <a:gd name="connsiteX19" fmla="*/ -5457 w 3010"/>
                <a:gd name="connsiteY19" fmla="*/ -2951 h 823"/>
                <a:gd name="connsiteX20" fmla="*/ -5534 w 3010"/>
                <a:gd name="connsiteY20" fmla="*/ -2951 h 823"/>
                <a:gd name="connsiteX21" fmla="*/ -5503 w 3010"/>
                <a:gd name="connsiteY21" fmla="*/ -2951 h 823"/>
                <a:gd name="connsiteX22" fmla="*/ -5503 w 3010"/>
                <a:gd name="connsiteY22" fmla="*/ -2951 h 823"/>
                <a:gd name="connsiteX23" fmla="*/ -5534 w 3010"/>
                <a:gd name="connsiteY23" fmla="*/ -2951 h 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10" h="823">
                  <a:moveTo>
                    <a:pt x="-6852" y="-3774"/>
                  </a:moveTo>
                  <a:lnTo>
                    <a:pt x="-6852" y="-3774"/>
                  </a:lnTo>
                  <a:cubicBezTo>
                    <a:pt x="-6814" y="-3698"/>
                    <a:pt x="-6768" y="-3629"/>
                    <a:pt x="-6722" y="-3560"/>
                  </a:cubicBezTo>
                  <a:cubicBezTo>
                    <a:pt x="-6768" y="-3629"/>
                    <a:pt x="-6814" y="-3698"/>
                    <a:pt x="-6852" y="-3774"/>
                  </a:cubicBezTo>
                  <a:moveTo>
                    <a:pt x="-6722" y="-3560"/>
                  </a:moveTo>
                  <a:cubicBezTo>
                    <a:pt x="-6456" y="-3164"/>
                    <a:pt x="-6052" y="-2958"/>
                    <a:pt x="-5534" y="-2951"/>
                  </a:cubicBezTo>
                  <a:cubicBezTo>
                    <a:pt x="-6052" y="-2958"/>
                    <a:pt x="-6456" y="-3164"/>
                    <a:pt x="-6722" y="-3560"/>
                  </a:cubicBezTo>
                  <a:moveTo>
                    <a:pt x="-3842" y="-3400"/>
                  </a:moveTo>
                  <a:cubicBezTo>
                    <a:pt x="-3910" y="-3370"/>
                    <a:pt x="-3979" y="-3339"/>
                    <a:pt x="-4040" y="-3309"/>
                  </a:cubicBezTo>
                  <a:cubicBezTo>
                    <a:pt x="-3979" y="-3339"/>
                    <a:pt x="-3910" y="-3370"/>
                    <a:pt x="-3842" y="-3400"/>
                  </a:cubicBezTo>
                  <a:moveTo>
                    <a:pt x="-4040" y="-3309"/>
                  </a:moveTo>
                  <a:cubicBezTo>
                    <a:pt x="-4078" y="-3294"/>
                    <a:pt x="-4109" y="-3279"/>
                    <a:pt x="-4147" y="-3271"/>
                  </a:cubicBezTo>
                  <a:cubicBezTo>
                    <a:pt x="-4109" y="-3279"/>
                    <a:pt x="-4078" y="-3294"/>
                    <a:pt x="-4040" y="-3309"/>
                  </a:cubicBezTo>
                  <a:moveTo>
                    <a:pt x="-4147" y="-3271"/>
                  </a:moveTo>
                  <a:cubicBezTo>
                    <a:pt x="-4642" y="-3065"/>
                    <a:pt x="-5084" y="-2958"/>
                    <a:pt x="-5457" y="-2951"/>
                  </a:cubicBezTo>
                  <a:cubicBezTo>
                    <a:pt x="-5084" y="-2958"/>
                    <a:pt x="-4642" y="-3065"/>
                    <a:pt x="-4147" y="-3271"/>
                  </a:cubicBezTo>
                  <a:moveTo>
                    <a:pt x="-5457" y="-2951"/>
                  </a:moveTo>
                  <a:cubicBezTo>
                    <a:pt x="-5473" y="-2951"/>
                    <a:pt x="-5488" y="-2951"/>
                    <a:pt x="-5503" y="-2951"/>
                  </a:cubicBezTo>
                  <a:lnTo>
                    <a:pt x="-5503" y="-2951"/>
                  </a:lnTo>
                  <a:cubicBezTo>
                    <a:pt x="-5488" y="-2951"/>
                    <a:pt x="-5473" y="-2951"/>
                    <a:pt x="-5457" y="-2951"/>
                  </a:cubicBezTo>
                  <a:moveTo>
                    <a:pt x="-5534" y="-2951"/>
                  </a:moveTo>
                  <a:cubicBezTo>
                    <a:pt x="-5526" y="-2951"/>
                    <a:pt x="-5511" y="-2951"/>
                    <a:pt x="-5503" y="-2951"/>
                  </a:cubicBezTo>
                  <a:lnTo>
                    <a:pt x="-5503" y="-2951"/>
                  </a:lnTo>
                  <a:cubicBezTo>
                    <a:pt x="-5511" y="-2951"/>
                    <a:pt x="-5526" y="-2951"/>
                    <a:pt x="-5534" y="-2951"/>
                  </a:cubicBezTo>
                </a:path>
              </a:pathLst>
            </a:custGeom>
            <a:solidFill>
              <a:srgbClr val="526C7C"/>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0" name="Freeform: Shape 439">
              <a:extLst>
                <a:ext uri="{FF2B5EF4-FFF2-40B4-BE49-F238E27FC236}">
                  <a16:creationId xmlns:a16="http://schemas.microsoft.com/office/drawing/2014/main" id="{C7A56959-61B2-654E-D954-A92B6BCBF891}"/>
                </a:ext>
              </a:extLst>
            </p:cNvPr>
            <p:cNvSpPr/>
            <p:nvPr/>
          </p:nvSpPr>
          <p:spPr>
            <a:xfrm flipV="1">
              <a:off x="6399541" y="4603984"/>
              <a:ext cx="587081" cy="387903"/>
            </a:xfrm>
            <a:custGeom>
              <a:avLst/>
              <a:gdLst>
                <a:gd name="connsiteX0" fmla="*/ -6657 w 881348"/>
                <a:gd name="connsiteY0" fmla="*/ -3400 h 582335"/>
                <a:gd name="connsiteX1" fmla="*/ 177777 w 881348"/>
                <a:gd name="connsiteY1" fmla="*/ 368532 h 582335"/>
                <a:gd name="connsiteX2" fmla="*/ 268021 w 881348"/>
                <a:gd name="connsiteY2" fmla="*/ 409597 h 582335"/>
                <a:gd name="connsiteX3" fmla="*/ 74092 w 881348"/>
                <a:gd name="connsiteY3" fmla="*/ 28429 h 582335"/>
                <a:gd name="connsiteX4" fmla="*/ -6657 w 881348"/>
                <a:gd name="connsiteY4" fmla="*/ -3400 h 582335"/>
                <a:gd name="connsiteX5" fmla="*/ 732635 w 881348"/>
                <a:gd name="connsiteY5" fmla="*/ 288012 h 582335"/>
                <a:gd name="connsiteX6" fmla="*/ 790974 w 881348"/>
                <a:gd name="connsiteY6" fmla="*/ 402678 h 582335"/>
                <a:gd name="connsiteX7" fmla="*/ 525737 w 881348"/>
                <a:gd name="connsiteY7" fmla="*/ 526876 h 582335"/>
                <a:gd name="connsiteX8" fmla="*/ 585965 w 881348"/>
                <a:gd name="connsiteY8" fmla="*/ 554285 h 582335"/>
                <a:gd name="connsiteX9" fmla="*/ 670364 w 881348"/>
                <a:gd name="connsiteY9" fmla="*/ 514768 h 582335"/>
                <a:gd name="connsiteX10" fmla="*/ 585965 w 881348"/>
                <a:gd name="connsiteY10" fmla="*/ 554285 h 582335"/>
                <a:gd name="connsiteX11" fmla="*/ 640136 w 881348"/>
                <a:gd name="connsiteY11" fmla="*/ 578936 h 582335"/>
                <a:gd name="connsiteX12" fmla="*/ 843384 w 881348"/>
                <a:gd name="connsiteY12" fmla="*/ 483968 h 582335"/>
                <a:gd name="connsiteX13" fmla="*/ 843399 w 881348"/>
                <a:gd name="connsiteY13" fmla="*/ 483960 h 582335"/>
                <a:gd name="connsiteX14" fmla="*/ 848512 w 881348"/>
                <a:gd name="connsiteY14" fmla="*/ 481568 h 582335"/>
                <a:gd name="connsiteX15" fmla="*/ 870565 w 881348"/>
                <a:gd name="connsiteY15" fmla="*/ 463615 h 582335"/>
                <a:gd name="connsiteX16" fmla="*/ 874603 w 881348"/>
                <a:gd name="connsiteY16" fmla="*/ 450333 h 582335"/>
                <a:gd name="connsiteX17" fmla="*/ 871898 w 881348"/>
                <a:gd name="connsiteY17" fmla="*/ 431603 h 582335"/>
                <a:gd name="connsiteX18" fmla="*/ 833196 w 881348"/>
                <a:gd name="connsiteY18" fmla="*/ 350824 h 582335"/>
                <a:gd name="connsiteX19" fmla="*/ 818520 w 881348"/>
                <a:gd name="connsiteY19" fmla="*/ 321868 h 582335"/>
                <a:gd name="connsiteX20" fmla="*/ 732635 w 881348"/>
                <a:gd name="connsiteY20" fmla="*/ 288012 h 582335"/>
                <a:gd name="connsiteX21" fmla="*/ 691655 w 881348"/>
                <a:gd name="connsiteY21" fmla="*/ 504793 h 582335"/>
                <a:gd name="connsiteX22" fmla="*/ 713714 w 881348"/>
                <a:gd name="connsiteY22" fmla="*/ 494461 h 582335"/>
                <a:gd name="connsiteX23" fmla="*/ 691655 w 881348"/>
                <a:gd name="connsiteY23" fmla="*/ 504793 h 582335"/>
                <a:gd name="connsiteX24" fmla="*/ 603575 w 881348"/>
                <a:gd name="connsiteY24" fmla="*/ 538870 h 582335"/>
                <a:gd name="connsiteX25" fmla="*/ 603575 w 881348"/>
                <a:gd name="connsiteY25" fmla="*/ 538870 h 582335"/>
                <a:gd name="connsiteX26" fmla="*/ 610425 w 881348"/>
                <a:gd name="connsiteY26" fmla="*/ 535654 h 582335"/>
                <a:gd name="connsiteX27" fmla="*/ 610425 w 881348"/>
                <a:gd name="connsiteY27" fmla="*/ 535654 h 582335"/>
                <a:gd name="connsiteX28" fmla="*/ 610425 w 881348"/>
                <a:gd name="connsiteY28" fmla="*/ 535654 h 582335"/>
                <a:gd name="connsiteX29" fmla="*/ 610425 w 881348"/>
                <a:gd name="connsiteY29" fmla="*/ 535654 h 582335"/>
                <a:gd name="connsiteX30" fmla="*/ 606585 w 881348"/>
                <a:gd name="connsiteY30" fmla="*/ 539243 h 582335"/>
                <a:gd name="connsiteX31" fmla="*/ 610425 w 881348"/>
                <a:gd name="connsiteY31" fmla="*/ 535654 h 582335"/>
                <a:gd name="connsiteX32" fmla="*/ 610425 w 881348"/>
                <a:gd name="connsiteY32" fmla="*/ 535654 h 582335"/>
                <a:gd name="connsiteX33" fmla="*/ 603575 w 881348"/>
                <a:gd name="connsiteY33" fmla="*/ 538870 h 582335"/>
                <a:gd name="connsiteX34" fmla="*/ 603705 w 881348"/>
                <a:gd name="connsiteY34" fmla="*/ 539083 h 582335"/>
                <a:gd name="connsiteX35" fmla="*/ 604893 w 881348"/>
                <a:gd name="connsiteY35" fmla="*/ 539693 h 582335"/>
                <a:gd name="connsiteX36" fmla="*/ 604924 w 881348"/>
                <a:gd name="connsiteY36" fmla="*/ 539693 h 582335"/>
                <a:gd name="connsiteX37" fmla="*/ 604969 w 881348"/>
                <a:gd name="connsiteY37" fmla="*/ 539693 h 582335"/>
                <a:gd name="connsiteX38" fmla="*/ 606280 w 881348"/>
                <a:gd name="connsiteY38" fmla="*/ 539373 h 582335"/>
                <a:gd name="connsiteX39" fmla="*/ 606387 w 881348"/>
                <a:gd name="connsiteY39" fmla="*/ 539335 h 582335"/>
                <a:gd name="connsiteX40" fmla="*/ 606585 w 881348"/>
                <a:gd name="connsiteY40" fmla="*/ 539243 h 582335"/>
                <a:gd name="connsiteX41" fmla="*/ 606387 w 881348"/>
                <a:gd name="connsiteY41" fmla="*/ 539335 h 582335"/>
                <a:gd name="connsiteX42" fmla="*/ 606280 w 881348"/>
                <a:gd name="connsiteY42" fmla="*/ 539373 h 582335"/>
                <a:gd name="connsiteX43" fmla="*/ 604969 w 881348"/>
                <a:gd name="connsiteY43" fmla="*/ 539693 h 582335"/>
                <a:gd name="connsiteX44" fmla="*/ 604924 w 881348"/>
                <a:gd name="connsiteY44" fmla="*/ 539693 h 582335"/>
                <a:gd name="connsiteX45" fmla="*/ 604924 w 881348"/>
                <a:gd name="connsiteY45" fmla="*/ 539693 h 582335"/>
                <a:gd name="connsiteX46" fmla="*/ 604924 w 881348"/>
                <a:gd name="connsiteY46" fmla="*/ 539693 h 582335"/>
                <a:gd name="connsiteX47" fmla="*/ 604893 w 881348"/>
                <a:gd name="connsiteY47" fmla="*/ 539693 h 582335"/>
                <a:gd name="connsiteX48" fmla="*/ 603705 w 881348"/>
                <a:gd name="connsiteY48" fmla="*/ 539083 h 582335"/>
                <a:gd name="connsiteX49" fmla="*/ 603575 w 881348"/>
                <a:gd name="connsiteY49" fmla="*/ 538870 h 582335"/>
                <a:gd name="connsiteX50" fmla="*/ 603575 w 881348"/>
                <a:gd name="connsiteY50" fmla="*/ 538870 h 582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881348" h="582335">
                  <a:moveTo>
                    <a:pt x="-6657" y="-3400"/>
                  </a:moveTo>
                  <a:lnTo>
                    <a:pt x="177777" y="368532"/>
                  </a:lnTo>
                  <a:lnTo>
                    <a:pt x="268021" y="409597"/>
                  </a:lnTo>
                  <a:lnTo>
                    <a:pt x="74092" y="28429"/>
                  </a:lnTo>
                  <a:lnTo>
                    <a:pt x="-6657" y="-3400"/>
                  </a:lnTo>
                  <a:moveTo>
                    <a:pt x="732635" y="288012"/>
                  </a:moveTo>
                  <a:lnTo>
                    <a:pt x="790974" y="402678"/>
                  </a:lnTo>
                  <a:lnTo>
                    <a:pt x="525737" y="526876"/>
                  </a:lnTo>
                  <a:lnTo>
                    <a:pt x="585965" y="554285"/>
                  </a:lnTo>
                  <a:lnTo>
                    <a:pt x="670364" y="514768"/>
                  </a:lnTo>
                  <a:lnTo>
                    <a:pt x="585965" y="554285"/>
                  </a:lnTo>
                  <a:lnTo>
                    <a:pt x="640136" y="578936"/>
                  </a:lnTo>
                  <a:lnTo>
                    <a:pt x="843384" y="483968"/>
                  </a:lnTo>
                  <a:cubicBezTo>
                    <a:pt x="843384" y="483968"/>
                    <a:pt x="843392" y="483968"/>
                    <a:pt x="843399" y="483960"/>
                  </a:cubicBezTo>
                  <a:lnTo>
                    <a:pt x="848512" y="481568"/>
                  </a:lnTo>
                  <a:cubicBezTo>
                    <a:pt x="859744" y="476310"/>
                    <a:pt x="866678" y="470237"/>
                    <a:pt x="870565" y="463615"/>
                  </a:cubicBezTo>
                  <a:cubicBezTo>
                    <a:pt x="872790" y="459660"/>
                    <a:pt x="874161" y="455248"/>
                    <a:pt x="874603" y="450333"/>
                  </a:cubicBezTo>
                  <a:cubicBezTo>
                    <a:pt x="875029" y="444306"/>
                    <a:pt x="873879" y="438012"/>
                    <a:pt x="871898" y="431603"/>
                  </a:cubicBezTo>
                  <a:lnTo>
                    <a:pt x="833196" y="350824"/>
                  </a:lnTo>
                  <a:lnTo>
                    <a:pt x="818520" y="321868"/>
                  </a:lnTo>
                  <a:lnTo>
                    <a:pt x="732635" y="288012"/>
                  </a:lnTo>
                  <a:moveTo>
                    <a:pt x="691655" y="504793"/>
                  </a:moveTo>
                  <a:lnTo>
                    <a:pt x="713714" y="494461"/>
                  </a:lnTo>
                  <a:lnTo>
                    <a:pt x="691655" y="504793"/>
                  </a:lnTo>
                  <a:moveTo>
                    <a:pt x="603575" y="538870"/>
                  </a:moveTo>
                  <a:lnTo>
                    <a:pt x="603575" y="538870"/>
                  </a:lnTo>
                  <a:cubicBezTo>
                    <a:pt x="605610" y="537917"/>
                    <a:pt x="607888" y="536851"/>
                    <a:pt x="610425" y="535654"/>
                  </a:cubicBezTo>
                  <a:lnTo>
                    <a:pt x="610425" y="535654"/>
                  </a:lnTo>
                  <a:lnTo>
                    <a:pt x="610425" y="535654"/>
                  </a:lnTo>
                  <a:lnTo>
                    <a:pt x="610425" y="535654"/>
                  </a:lnTo>
                  <a:cubicBezTo>
                    <a:pt x="609877" y="535929"/>
                    <a:pt x="608597" y="537117"/>
                    <a:pt x="606585" y="539243"/>
                  </a:cubicBezTo>
                  <a:cubicBezTo>
                    <a:pt x="608597" y="537117"/>
                    <a:pt x="609877" y="535929"/>
                    <a:pt x="610425" y="535654"/>
                  </a:cubicBezTo>
                  <a:lnTo>
                    <a:pt x="610425" y="535654"/>
                  </a:lnTo>
                  <a:cubicBezTo>
                    <a:pt x="607888" y="536851"/>
                    <a:pt x="605610" y="537917"/>
                    <a:pt x="603575" y="538870"/>
                  </a:cubicBezTo>
                  <a:cubicBezTo>
                    <a:pt x="603613" y="538946"/>
                    <a:pt x="603659" y="539015"/>
                    <a:pt x="603705" y="539083"/>
                  </a:cubicBezTo>
                  <a:cubicBezTo>
                    <a:pt x="603971" y="539480"/>
                    <a:pt x="604375" y="539685"/>
                    <a:pt x="604893" y="539693"/>
                  </a:cubicBezTo>
                  <a:cubicBezTo>
                    <a:pt x="604901" y="539693"/>
                    <a:pt x="604916" y="539693"/>
                    <a:pt x="604924" y="539693"/>
                  </a:cubicBezTo>
                  <a:cubicBezTo>
                    <a:pt x="604939" y="539693"/>
                    <a:pt x="604954" y="539693"/>
                    <a:pt x="604969" y="539693"/>
                  </a:cubicBezTo>
                  <a:cubicBezTo>
                    <a:pt x="605343" y="539685"/>
                    <a:pt x="605785" y="539579"/>
                    <a:pt x="606280" y="539373"/>
                  </a:cubicBezTo>
                  <a:cubicBezTo>
                    <a:pt x="606318" y="539365"/>
                    <a:pt x="606349" y="539350"/>
                    <a:pt x="606387" y="539335"/>
                  </a:cubicBezTo>
                  <a:cubicBezTo>
                    <a:pt x="606448" y="539304"/>
                    <a:pt x="606516" y="539274"/>
                    <a:pt x="606585" y="539243"/>
                  </a:cubicBezTo>
                  <a:cubicBezTo>
                    <a:pt x="606516" y="539274"/>
                    <a:pt x="606448" y="539304"/>
                    <a:pt x="606387" y="539335"/>
                  </a:cubicBezTo>
                  <a:cubicBezTo>
                    <a:pt x="606349" y="539350"/>
                    <a:pt x="606318" y="539365"/>
                    <a:pt x="606280" y="539373"/>
                  </a:cubicBezTo>
                  <a:cubicBezTo>
                    <a:pt x="605785" y="539579"/>
                    <a:pt x="605343" y="539685"/>
                    <a:pt x="604969" y="539693"/>
                  </a:cubicBezTo>
                  <a:cubicBezTo>
                    <a:pt x="604954" y="539693"/>
                    <a:pt x="604939" y="539693"/>
                    <a:pt x="604924" y="539693"/>
                  </a:cubicBezTo>
                  <a:lnTo>
                    <a:pt x="604924" y="539693"/>
                  </a:lnTo>
                  <a:lnTo>
                    <a:pt x="604924" y="539693"/>
                  </a:lnTo>
                  <a:cubicBezTo>
                    <a:pt x="604916" y="539693"/>
                    <a:pt x="604901" y="539693"/>
                    <a:pt x="604893" y="539693"/>
                  </a:cubicBezTo>
                  <a:cubicBezTo>
                    <a:pt x="604375" y="539685"/>
                    <a:pt x="603971" y="539480"/>
                    <a:pt x="603705" y="539083"/>
                  </a:cubicBezTo>
                  <a:cubicBezTo>
                    <a:pt x="603659" y="539015"/>
                    <a:pt x="603613" y="538946"/>
                    <a:pt x="603575" y="538870"/>
                  </a:cubicBezTo>
                  <a:lnTo>
                    <a:pt x="603575" y="538870"/>
                  </a:lnTo>
                </a:path>
              </a:pathLst>
            </a:custGeom>
            <a:solidFill>
              <a:srgbClr val="667F99"/>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1" name="Freeform: Shape 440">
              <a:extLst>
                <a:ext uri="{FF2B5EF4-FFF2-40B4-BE49-F238E27FC236}">
                  <a16:creationId xmlns:a16="http://schemas.microsoft.com/office/drawing/2014/main" id="{067C6051-BC4D-A351-5262-823FBA5629FD}"/>
                </a:ext>
              </a:extLst>
            </p:cNvPr>
            <p:cNvSpPr/>
            <p:nvPr/>
          </p:nvSpPr>
          <p:spPr>
            <a:xfrm flipV="1">
              <a:off x="3323556" y="4681050"/>
              <a:ext cx="495404" cy="459802"/>
            </a:xfrm>
            <a:custGeom>
              <a:avLst/>
              <a:gdLst>
                <a:gd name="connsiteX0" fmla="*/ 742393 w 743719"/>
                <a:gd name="connsiteY0" fmla="*/ 537072 h 690272"/>
                <a:gd name="connsiteX1" fmla="*/ 609736 w 743719"/>
                <a:gd name="connsiteY1" fmla="*/ -3147 h 690272"/>
                <a:gd name="connsiteX2" fmla="*/ -1327 w 743719"/>
                <a:gd name="connsiteY2" fmla="*/ 146906 h 690272"/>
                <a:gd name="connsiteX3" fmla="*/ 131330 w 743719"/>
                <a:gd name="connsiteY3" fmla="*/ 687125 h 690272"/>
                <a:gd name="connsiteX4" fmla="*/ 742393 w 743719"/>
                <a:gd name="connsiteY4" fmla="*/ 537072 h 690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719" h="690272">
                  <a:moveTo>
                    <a:pt x="742393" y="537072"/>
                  </a:moveTo>
                  <a:lnTo>
                    <a:pt x="609736" y="-3147"/>
                  </a:lnTo>
                  <a:lnTo>
                    <a:pt x="-1327" y="146906"/>
                  </a:lnTo>
                  <a:lnTo>
                    <a:pt x="131330" y="687125"/>
                  </a:lnTo>
                  <a:lnTo>
                    <a:pt x="742393" y="537072"/>
                  </a:lnTo>
                </a:path>
              </a:pathLst>
            </a:custGeom>
            <a:solidFill>
              <a:srgbClr val="E5E9E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2" name="Freeform: Shape 441">
              <a:extLst>
                <a:ext uri="{FF2B5EF4-FFF2-40B4-BE49-F238E27FC236}">
                  <a16:creationId xmlns:a16="http://schemas.microsoft.com/office/drawing/2014/main" id="{58D6DB6A-6F1A-7061-1303-C049D25622A0}"/>
                </a:ext>
              </a:extLst>
            </p:cNvPr>
            <p:cNvSpPr/>
            <p:nvPr/>
          </p:nvSpPr>
          <p:spPr>
            <a:xfrm flipV="1">
              <a:off x="3367437" y="4964107"/>
              <a:ext cx="353946" cy="86913"/>
            </a:xfrm>
            <a:custGeom>
              <a:avLst/>
              <a:gdLst>
                <a:gd name="connsiteX0" fmla="*/ -1281 w 531357"/>
                <a:gd name="connsiteY0" fmla="*/ 127546 h 130477"/>
                <a:gd name="connsiteX1" fmla="*/ 530077 w 531357"/>
                <a:gd name="connsiteY1" fmla="*/ -2932 h 130477"/>
                <a:gd name="connsiteX2" fmla="*/ -1281 w 531357"/>
                <a:gd name="connsiteY2" fmla="*/ 127546 h 130477"/>
              </a:gdLst>
              <a:ahLst/>
              <a:cxnLst>
                <a:cxn ang="0">
                  <a:pos x="connsiteX0" y="connsiteY0"/>
                </a:cxn>
                <a:cxn ang="0">
                  <a:pos x="connsiteX1" y="connsiteY1"/>
                </a:cxn>
                <a:cxn ang="0">
                  <a:pos x="connsiteX2" y="connsiteY2"/>
                </a:cxn>
              </a:cxnLst>
              <a:rect l="l" t="t" r="r" b="b"/>
              <a:pathLst>
                <a:path w="531357" h="130477">
                  <a:moveTo>
                    <a:pt x="-1281" y="127546"/>
                  </a:moveTo>
                  <a:lnTo>
                    <a:pt x="530077" y="-2932"/>
                  </a:lnTo>
                  <a:lnTo>
                    <a:pt x="-1281" y="127546"/>
                  </a:lnTo>
                </a:path>
              </a:pathLst>
            </a:custGeom>
            <a:solidFill>
              <a:srgbClr val="E5E9E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3" name="Freeform: Shape 442">
              <a:extLst>
                <a:ext uri="{FF2B5EF4-FFF2-40B4-BE49-F238E27FC236}">
                  <a16:creationId xmlns:a16="http://schemas.microsoft.com/office/drawing/2014/main" id="{0792D669-51FE-90B2-AF71-D302C17FF1D1}"/>
                </a:ext>
              </a:extLst>
            </p:cNvPr>
            <p:cNvSpPr/>
            <p:nvPr/>
          </p:nvSpPr>
          <p:spPr>
            <a:xfrm flipV="1">
              <a:off x="3366223" y="4959179"/>
              <a:ext cx="356367" cy="96770"/>
            </a:xfrm>
            <a:custGeom>
              <a:avLst/>
              <a:gdLst>
                <a:gd name="connsiteX0" fmla="*/ 540 w 534992"/>
                <a:gd name="connsiteY0" fmla="*/ 134945 h 145275"/>
                <a:gd name="connsiteX1" fmla="*/ -1281 w 534992"/>
                <a:gd name="connsiteY1" fmla="*/ 127546 h 145275"/>
                <a:gd name="connsiteX2" fmla="*/ 530077 w 534992"/>
                <a:gd name="connsiteY2" fmla="*/ -2932 h 145275"/>
                <a:gd name="connsiteX3" fmla="*/ 533712 w 534992"/>
                <a:gd name="connsiteY3" fmla="*/ 11866 h 145275"/>
                <a:gd name="connsiteX4" fmla="*/ 2354 w 534992"/>
                <a:gd name="connsiteY4" fmla="*/ 142344 h 145275"/>
                <a:gd name="connsiteX5" fmla="*/ -1281 w 534992"/>
                <a:gd name="connsiteY5" fmla="*/ 127546 h 145275"/>
                <a:gd name="connsiteX6" fmla="*/ 540 w 534992"/>
                <a:gd name="connsiteY6" fmla="*/ 134945 h 145275"/>
                <a:gd name="connsiteX7" fmla="*/ -1281 w 534992"/>
                <a:gd name="connsiteY7" fmla="*/ 127546 h 145275"/>
                <a:gd name="connsiteX8" fmla="*/ 530077 w 534992"/>
                <a:gd name="connsiteY8" fmla="*/ -2932 h 145275"/>
                <a:gd name="connsiteX9" fmla="*/ 533712 w 534992"/>
                <a:gd name="connsiteY9" fmla="*/ 11866 h 145275"/>
                <a:gd name="connsiteX10" fmla="*/ 2354 w 534992"/>
                <a:gd name="connsiteY10" fmla="*/ 142344 h 145275"/>
                <a:gd name="connsiteX11" fmla="*/ -1281 w 534992"/>
                <a:gd name="connsiteY11" fmla="*/ 127546 h 145275"/>
                <a:gd name="connsiteX12" fmla="*/ 540 w 534992"/>
                <a:gd name="connsiteY12" fmla="*/ 134945 h 14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992" h="145275">
                  <a:moveTo>
                    <a:pt x="540" y="134945"/>
                  </a:moveTo>
                  <a:lnTo>
                    <a:pt x="-1281" y="127546"/>
                  </a:lnTo>
                  <a:lnTo>
                    <a:pt x="530077" y="-2932"/>
                  </a:lnTo>
                  <a:lnTo>
                    <a:pt x="533712" y="11866"/>
                  </a:lnTo>
                  <a:lnTo>
                    <a:pt x="2354" y="142344"/>
                  </a:lnTo>
                  <a:lnTo>
                    <a:pt x="-1281" y="127546"/>
                  </a:lnTo>
                  <a:lnTo>
                    <a:pt x="540" y="134945"/>
                  </a:lnTo>
                  <a:lnTo>
                    <a:pt x="-1281" y="127546"/>
                  </a:lnTo>
                  <a:lnTo>
                    <a:pt x="530077" y="-2932"/>
                  </a:lnTo>
                  <a:lnTo>
                    <a:pt x="533712" y="11866"/>
                  </a:lnTo>
                  <a:lnTo>
                    <a:pt x="2354" y="142344"/>
                  </a:lnTo>
                  <a:lnTo>
                    <a:pt x="-1281" y="127546"/>
                  </a:lnTo>
                  <a:lnTo>
                    <a:pt x="540" y="134945"/>
                  </a:lnTo>
                </a:path>
              </a:pathLst>
            </a:custGeom>
            <a:solidFill>
              <a:srgbClr val="535456"/>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4" name="Freeform: Shape 443">
              <a:extLst>
                <a:ext uri="{FF2B5EF4-FFF2-40B4-BE49-F238E27FC236}">
                  <a16:creationId xmlns:a16="http://schemas.microsoft.com/office/drawing/2014/main" id="{9E825E96-BAF4-B3C7-FAC7-76CBF825B19E}"/>
                </a:ext>
              </a:extLst>
            </p:cNvPr>
            <p:cNvSpPr/>
            <p:nvPr/>
          </p:nvSpPr>
          <p:spPr>
            <a:xfrm flipV="1">
              <a:off x="3381918" y="4905116"/>
              <a:ext cx="353951" cy="86913"/>
            </a:xfrm>
            <a:custGeom>
              <a:avLst/>
              <a:gdLst>
                <a:gd name="connsiteX0" fmla="*/ -1306 w 531365"/>
                <a:gd name="connsiteY0" fmla="*/ 127414 h 130477"/>
                <a:gd name="connsiteX1" fmla="*/ 530060 w 531365"/>
                <a:gd name="connsiteY1" fmla="*/ -3063 h 130477"/>
                <a:gd name="connsiteX2" fmla="*/ -1306 w 531365"/>
                <a:gd name="connsiteY2" fmla="*/ 127414 h 130477"/>
              </a:gdLst>
              <a:ahLst/>
              <a:cxnLst>
                <a:cxn ang="0">
                  <a:pos x="connsiteX0" y="connsiteY0"/>
                </a:cxn>
                <a:cxn ang="0">
                  <a:pos x="connsiteX1" y="connsiteY1"/>
                </a:cxn>
                <a:cxn ang="0">
                  <a:pos x="connsiteX2" y="connsiteY2"/>
                </a:cxn>
              </a:cxnLst>
              <a:rect l="l" t="t" r="r" b="b"/>
              <a:pathLst>
                <a:path w="531365" h="130477">
                  <a:moveTo>
                    <a:pt x="-1306" y="127414"/>
                  </a:moveTo>
                  <a:lnTo>
                    <a:pt x="530060" y="-3063"/>
                  </a:lnTo>
                  <a:lnTo>
                    <a:pt x="-1306" y="127414"/>
                  </a:lnTo>
                </a:path>
              </a:pathLst>
            </a:custGeom>
            <a:solidFill>
              <a:srgbClr val="E5E9E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5" name="Freeform: Shape 444">
              <a:extLst>
                <a:ext uri="{FF2B5EF4-FFF2-40B4-BE49-F238E27FC236}">
                  <a16:creationId xmlns:a16="http://schemas.microsoft.com/office/drawing/2014/main" id="{BCD3B836-ABAC-46A6-C809-68E07BD5E65F}"/>
                </a:ext>
              </a:extLst>
            </p:cNvPr>
            <p:cNvSpPr/>
            <p:nvPr/>
          </p:nvSpPr>
          <p:spPr>
            <a:xfrm flipV="1">
              <a:off x="3380710" y="4900188"/>
              <a:ext cx="356367" cy="96770"/>
            </a:xfrm>
            <a:custGeom>
              <a:avLst/>
              <a:gdLst>
                <a:gd name="connsiteX0" fmla="*/ 508 w 534992"/>
                <a:gd name="connsiteY0" fmla="*/ 134813 h 145275"/>
                <a:gd name="connsiteX1" fmla="*/ -1306 w 534992"/>
                <a:gd name="connsiteY1" fmla="*/ 127414 h 145275"/>
                <a:gd name="connsiteX2" fmla="*/ 530052 w 534992"/>
                <a:gd name="connsiteY2" fmla="*/ -3063 h 145275"/>
                <a:gd name="connsiteX3" fmla="*/ 533687 w 534992"/>
                <a:gd name="connsiteY3" fmla="*/ 11735 h 145275"/>
                <a:gd name="connsiteX4" fmla="*/ 2329 w 534992"/>
                <a:gd name="connsiteY4" fmla="*/ 142212 h 145275"/>
                <a:gd name="connsiteX5" fmla="*/ -1306 w 534992"/>
                <a:gd name="connsiteY5" fmla="*/ 127414 h 145275"/>
                <a:gd name="connsiteX6" fmla="*/ 508 w 534992"/>
                <a:gd name="connsiteY6" fmla="*/ 134813 h 145275"/>
                <a:gd name="connsiteX7" fmla="*/ -1306 w 534992"/>
                <a:gd name="connsiteY7" fmla="*/ 127414 h 145275"/>
                <a:gd name="connsiteX8" fmla="*/ 530052 w 534992"/>
                <a:gd name="connsiteY8" fmla="*/ -3063 h 145275"/>
                <a:gd name="connsiteX9" fmla="*/ 533687 w 534992"/>
                <a:gd name="connsiteY9" fmla="*/ 11735 h 145275"/>
                <a:gd name="connsiteX10" fmla="*/ 2329 w 534992"/>
                <a:gd name="connsiteY10" fmla="*/ 142212 h 145275"/>
                <a:gd name="connsiteX11" fmla="*/ -1306 w 534992"/>
                <a:gd name="connsiteY11" fmla="*/ 127414 h 145275"/>
                <a:gd name="connsiteX12" fmla="*/ 508 w 534992"/>
                <a:gd name="connsiteY12" fmla="*/ 134813 h 14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992" h="145275">
                  <a:moveTo>
                    <a:pt x="508" y="134813"/>
                  </a:moveTo>
                  <a:lnTo>
                    <a:pt x="-1306" y="127414"/>
                  </a:lnTo>
                  <a:lnTo>
                    <a:pt x="530052" y="-3063"/>
                  </a:lnTo>
                  <a:lnTo>
                    <a:pt x="533687" y="11735"/>
                  </a:lnTo>
                  <a:lnTo>
                    <a:pt x="2329" y="142212"/>
                  </a:lnTo>
                  <a:lnTo>
                    <a:pt x="-1306" y="127414"/>
                  </a:lnTo>
                  <a:lnTo>
                    <a:pt x="508" y="134813"/>
                  </a:lnTo>
                  <a:lnTo>
                    <a:pt x="-1306" y="127414"/>
                  </a:lnTo>
                  <a:lnTo>
                    <a:pt x="530052" y="-3063"/>
                  </a:lnTo>
                  <a:lnTo>
                    <a:pt x="533687" y="11735"/>
                  </a:lnTo>
                  <a:lnTo>
                    <a:pt x="2329" y="142212"/>
                  </a:lnTo>
                  <a:lnTo>
                    <a:pt x="-1306" y="127414"/>
                  </a:lnTo>
                  <a:lnTo>
                    <a:pt x="508" y="134813"/>
                  </a:lnTo>
                </a:path>
              </a:pathLst>
            </a:custGeom>
            <a:solidFill>
              <a:srgbClr val="535456"/>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6" name="Freeform: Shape 445">
              <a:extLst>
                <a:ext uri="{FF2B5EF4-FFF2-40B4-BE49-F238E27FC236}">
                  <a16:creationId xmlns:a16="http://schemas.microsoft.com/office/drawing/2014/main" id="{EEF5E3F0-B972-59C6-BC94-02EF402B7B09}"/>
                </a:ext>
              </a:extLst>
            </p:cNvPr>
            <p:cNvSpPr/>
            <p:nvPr/>
          </p:nvSpPr>
          <p:spPr>
            <a:xfrm flipV="1">
              <a:off x="3396404" y="4846126"/>
              <a:ext cx="353946" cy="86913"/>
            </a:xfrm>
            <a:custGeom>
              <a:avLst/>
              <a:gdLst>
                <a:gd name="connsiteX0" fmla="*/ -1331 w 531357"/>
                <a:gd name="connsiteY0" fmla="*/ 127282 h 130477"/>
                <a:gd name="connsiteX1" fmla="*/ 530027 w 531357"/>
                <a:gd name="connsiteY1" fmla="*/ -3195 h 130477"/>
                <a:gd name="connsiteX2" fmla="*/ -1331 w 531357"/>
                <a:gd name="connsiteY2" fmla="*/ 127282 h 130477"/>
              </a:gdLst>
              <a:ahLst/>
              <a:cxnLst>
                <a:cxn ang="0">
                  <a:pos x="connsiteX0" y="connsiteY0"/>
                </a:cxn>
                <a:cxn ang="0">
                  <a:pos x="connsiteX1" y="connsiteY1"/>
                </a:cxn>
                <a:cxn ang="0">
                  <a:pos x="connsiteX2" y="connsiteY2"/>
                </a:cxn>
              </a:cxnLst>
              <a:rect l="l" t="t" r="r" b="b"/>
              <a:pathLst>
                <a:path w="531357" h="130477">
                  <a:moveTo>
                    <a:pt x="-1331" y="127282"/>
                  </a:moveTo>
                  <a:lnTo>
                    <a:pt x="530027" y="-3195"/>
                  </a:lnTo>
                  <a:lnTo>
                    <a:pt x="-1331" y="127282"/>
                  </a:lnTo>
                </a:path>
              </a:pathLst>
            </a:custGeom>
            <a:solidFill>
              <a:srgbClr val="E5E9E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7" name="Freeform: Shape 446">
              <a:extLst>
                <a:ext uri="{FF2B5EF4-FFF2-40B4-BE49-F238E27FC236}">
                  <a16:creationId xmlns:a16="http://schemas.microsoft.com/office/drawing/2014/main" id="{BCFC225B-8F27-083A-2F9A-BA82175354FD}"/>
                </a:ext>
              </a:extLst>
            </p:cNvPr>
            <p:cNvSpPr/>
            <p:nvPr/>
          </p:nvSpPr>
          <p:spPr>
            <a:xfrm flipV="1">
              <a:off x="3396404" y="4846126"/>
              <a:ext cx="353946" cy="86913"/>
            </a:xfrm>
            <a:custGeom>
              <a:avLst/>
              <a:gdLst>
                <a:gd name="connsiteX0" fmla="*/ -1331 w 531357"/>
                <a:gd name="connsiteY0" fmla="*/ 127282 h 130477"/>
                <a:gd name="connsiteX1" fmla="*/ 530027 w 531357"/>
                <a:gd name="connsiteY1" fmla="*/ -3195 h 130477"/>
              </a:gdLst>
              <a:ahLst/>
              <a:cxnLst>
                <a:cxn ang="0">
                  <a:pos x="connsiteX0" y="connsiteY0"/>
                </a:cxn>
                <a:cxn ang="0">
                  <a:pos x="connsiteX1" y="connsiteY1"/>
                </a:cxn>
              </a:cxnLst>
              <a:rect l="l" t="t" r="r" b="b"/>
              <a:pathLst>
                <a:path w="531357" h="130477">
                  <a:moveTo>
                    <a:pt x="-1331" y="127282"/>
                  </a:moveTo>
                  <a:lnTo>
                    <a:pt x="530027" y="-3195"/>
                  </a:lnTo>
                  <a:close/>
                </a:path>
              </a:pathLst>
            </a:custGeom>
            <a:noFill/>
            <a:ln w="15240" cap="flat">
              <a:solidFill>
                <a:srgbClr val="14527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8" name="Freeform: Shape 447">
              <a:extLst>
                <a:ext uri="{FF2B5EF4-FFF2-40B4-BE49-F238E27FC236}">
                  <a16:creationId xmlns:a16="http://schemas.microsoft.com/office/drawing/2014/main" id="{6CF54949-104C-0A7C-F32E-C4BD1B99A007}"/>
                </a:ext>
              </a:extLst>
            </p:cNvPr>
            <p:cNvSpPr/>
            <p:nvPr/>
          </p:nvSpPr>
          <p:spPr>
            <a:xfrm flipV="1">
              <a:off x="3409444" y="4793032"/>
              <a:ext cx="353946" cy="86913"/>
            </a:xfrm>
            <a:custGeom>
              <a:avLst/>
              <a:gdLst>
                <a:gd name="connsiteX0" fmla="*/ -1353 w 531357"/>
                <a:gd name="connsiteY0" fmla="*/ 127164 h 130477"/>
                <a:gd name="connsiteX1" fmla="*/ 530005 w 531357"/>
                <a:gd name="connsiteY1" fmla="*/ -3314 h 130477"/>
                <a:gd name="connsiteX2" fmla="*/ -1353 w 531357"/>
                <a:gd name="connsiteY2" fmla="*/ 127164 h 130477"/>
              </a:gdLst>
              <a:ahLst/>
              <a:cxnLst>
                <a:cxn ang="0">
                  <a:pos x="connsiteX0" y="connsiteY0"/>
                </a:cxn>
                <a:cxn ang="0">
                  <a:pos x="connsiteX1" y="connsiteY1"/>
                </a:cxn>
                <a:cxn ang="0">
                  <a:pos x="connsiteX2" y="connsiteY2"/>
                </a:cxn>
              </a:cxnLst>
              <a:rect l="l" t="t" r="r" b="b"/>
              <a:pathLst>
                <a:path w="531357" h="130477">
                  <a:moveTo>
                    <a:pt x="-1353" y="127164"/>
                  </a:moveTo>
                  <a:lnTo>
                    <a:pt x="530005" y="-3314"/>
                  </a:lnTo>
                  <a:lnTo>
                    <a:pt x="-1353" y="127164"/>
                  </a:lnTo>
                </a:path>
              </a:pathLst>
            </a:custGeom>
            <a:solidFill>
              <a:srgbClr val="E5E9E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9" name="Freeform: Shape 448">
              <a:extLst>
                <a:ext uri="{FF2B5EF4-FFF2-40B4-BE49-F238E27FC236}">
                  <a16:creationId xmlns:a16="http://schemas.microsoft.com/office/drawing/2014/main" id="{21E5694B-AAB9-0B7D-1B6C-46CA6D74F043}"/>
                </a:ext>
              </a:extLst>
            </p:cNvPr>
            <p:cNvSpPr/>
            <p:nvPr/>
          </p:nvSpPr>
          <p:spPr>
            <a:xfrm flipV="1">
              <a:off x="3409444" y="4793032"/>
              <a:ext cx="353946" cy="86913"/>
            </a:xfrm>
            <a:custGeom>
              <a:avLst/>
              <a:gdLst>
                <a:gd name="connsiteX0" fmla="*/ -1353 w 531357"/>
                <a:gd name="connsiteY0" fmla="*/ 127164 h 130477"/>
                <a:gd name="connsiteX1" fmla="*/ 530005 w 531357"/>
                <a:gd name="connsiteY1" fmla="*/ -3314 h 130477"/>
              </a:gdLst>
              <a:ahLst/>
              <a:cxnLst>
                <a:cxn ang="0">
                  <a:pos x="connsiteX0" y="connsiteY0"/>
                </a:cxn>
                <a:cxn ang="0">
                  <a:pos x="connsiteX1" y="connsiteY1"/>
                </a:cxn>
              </a:cxnLst>
              <a:rect l="l" t="t" r="r" b="b"/>
              <a:pathLst>
                <a:path w="531357" h="130477">
                  <a:moveTo>
                    <a:pt x="-1353" y="127164"/>
                  </a:moveTo>
                  <a:lnTo>
                    <a:pt x="530005" y="-3314"/>
                  </a:lnTo>
                  <a:close/>
                </a:path>
              </a:pathLst>
            </a:custGeom>
            <a:noFill/>
            <a:ln w="15240" cap="flat">
              <a:solidFill>
                <a:srgbClr val="14527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0" name="Freeform: Shape 449">
              <a:extLst>
                <a:ext uri="{FF2B5EF4-FFF2-40B4-BE49-F238E27FC236}">
                  <a16:creationId xmlns:a16="http://schemas.microsoft.com/office/drawing/2014/main" id="{B7D45A0C-9BCF-CE9F-BEBF-4EC3DCF955F7}"/>
                </a:ext>
              </a:extLst>
            </p:cNvPr>
            <p:cNvSpPr/>
            <p:nvPr/>
          </p:nvSpPr>
          <p:spPr>
            <a:xfrm flipV="1">
              <a:off x="3047592" y="4977670"/>
              <a:ext cx="707839" cy="1121738"/>
            </a:xfrm>
            <a:custGeom>
              <a:avLst/>
              <a:gdLst>
                <a:gd name="connsiteX0" fmla="*/ 1061599 w 1062635"/>
                <a:gd name="connsiteY0" fmla="*/ 1512630 h 1683997"/>
                <a:gd name="connsiteX1" fmla="*/ 689727 w 1062635"/>
                <a:gd name="connsiteY1" fmla="*/ -1746 h 1683997"/>
                <a:gd name="connsiteX2" fmla="*/ -1037 w 1062635"/>
                <a:gd name="connsiteY2" fmla="*/ 167875 h 1683997"/>
                <a:gd name="connsiteX3" fmla="*/ 370830 w 1062635"/>
                <a:gd name="connsiteY3" fmla="*/ 1682251 h 1683997"/>
                <a:gd name="connsiteX4" fmla="*/ 1061599 w 1062635"/>
                <a:gd name="connsiteY4" fmla="*/ 1512630 h 1683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2635" h="1683997">
                  <a:moveTo>
                    <a:pt x="1061599" y="1512630"/>
                  </a:moveTo>
                  <a:lnTo>
                    <a:pt x="689727" y="-1746"/>
                  </a:lnTo>
                  <a:lnTo>
                    <a:pt x="-1037" y="167875"/>
                  </a:lnTo>
                  <a:lnTo>
                    <a:pt x="370830" y="1682251"/>
                  </a:lnTo>
                  <a:lnTo>
                    <a:pt x="1061599" y="1512630"/>
                  </a:lnTo>
                </a:path>
              </a:pathLst>
            </a:custGeom>
            <a:solidFill>
              <a:srgbClr val="FFFFFF">
                <a:lumMod val="95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1" name="Freeform: Shape 450">
              <a:extLst>
                <a:ext uri="{FF2B5EF4-FFF2-40B4-BE49-F238E27FC236}">
                  <a16:creationId xmlns:a16="http://schemas.microsoft.com/office/drawing/2014/main" id="{F8BEDB0D-C4E9-D10B-445B-49F10AA7F527}"/>
                </a:ext>
              </a:extLst>
            </p:cNvPr>
            <p:cNvSpPr/>
            <p:nvPr/>
          </p:nvSpPr>
          <p:spPr>
            <a:xfrm flipV="1">
              <a:off x="3047592" y="4977670"/>
              <a:ext cx="353918" cy="1008750"/>
            </a:xfrm>
            <a:custGeom>
              <a:avLst/>
              <a:gdLst>
                <a:gd name="connsiteX0" fmla="*/ 530581 w 531315"/>
                <a:gd name="connsiteY0" fmla="*/ 670509 h 1514375"/>
                <a:gd name="connsiteX1" fmla="*/ 371132 w 531315"/>
                <a:gd name="connsiteY1" fmla="*/ 1512504 h 1514375"/>
                <a:gd name="connsiteX2" fmla="*/ -735 w 531315"/>
                <a:gd name="connsiteY2" fmla="*/ -1872 h 1514375"/>
              </a:gdLst>
              <a:ahLst/>
              <a:cxnLst>
                <a:cxn ang="0">
                  <a:pos x="connsiteX0" y="connsiteY0"/>
                </a:cxn>
                <a:cxn ang="0">
                  <a:pos x="connsiteX1" y="connsiteY1"/>
                </a:cxn>
                <a:cxn ang="0">
                  <a:pos x="connsiteX2" y="connsiteY2"/>
                </a:cxn>
              </a:cxnLst>
              <a:rect l="l" t="t" r="r" b="b"/>
              <a:pathLst>
                <a:path w="531315" h="1514375">
                  <a:moveTo>
                    <a:pt x="530581" y="670509"/>
                  </a:moveTo>
                  <a:lnTo>
                    <a:pt x="371132" y="1512504"/>
                  </a:lnTo>
                  <a:lnTo>
                    <a:pt x="-735" y="-1872"/>
                  </a:lnTo>
                  <a:close/>
                </a:path>
              </a:pathLst>
            </a:custGeom>
            <a:solidFill>
              <a:srgbClr val="FFFFFF">
                <a:lumMod val="85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2" name="Freeform: Shape 451">
              <a:extLst>
                <a:ext uri="{FF2B5EF4-FFF2-40B4-BE49-F238E27FC236}">
                  <a16:creationId xmlns:a16="http://schemas.microsoft.com/office/drawing/2014/main" id="{EFBCCEEB-3EF7-6DD5-3A64-8316AE1D3CE3}"/>
                </a:ext>
              </a:extLst>
            </p:cNvPr>
            <p:cNvSpPr/>
            <p:nvPr/>
          </p:nvSpPr>
          <p:spPr>
            <a:xfrm flipV="1">
              <a:off x="3401510" y="5090658"/>
              <a:ext cx="353920" cy="1008750"/>
            </a:xfrm>
            <a:custGeom>
              <a:avLst/>
              <a:gdLst>
                <a:gd name="connsiteX0" fmla="*/ -1339 w 531319"/>
                <a:gd name="connsiteY0" fmla="*/ 840382 h 1514375"/>
                <a:gd name="connsiteX1" fmla="*/ 529980 w 531319"/>
                <a:gd name="connsiteY1" fmla="*/ 1512756 h 1514375"/>
                <a:gd name="connsiteX2" fmla="*/ 158109 w 531319"/>
                <a:gd name="connsiteY2" fmla="*/ -1620 h 1514375"/>
                <a:gd name="connsiteX3" fmla="*/ -1339 w 531319"/>
                <a:gd name="connsiteY3" fmla="*/ 840382 h 1514375"/>
              </a:gdLst>
              <a:ahLst/>
              <a:cxnLst>
                <a:cxn ang="0">
                  <a:pos x="connsiteX0" y="connsiteY0"/>
                </a:cxn>
                <a:cxn ang="0">
                  <a:pos x="connsiteX1" y="connsiteY1"/>
                </a:cxn>
                <a:cxn ang="0">
                  <a:pos x="connsiteX2" y="connsiteY2"/>
                </a:cxn>
                <a:cxn ang="0">
                  <a:pos x="connsiteX3" y="connsiteY3"/>
                </a:cxn>
              </a:cxnLst>
              <a:rect l="l" t="t" r="r" b="b"/>
              <a:pathLst>
                <a:path w="531319" h="1514375">
                  <a:moveTo>
                    <a:pt x="-1339" y="840382"/>
                  </a:moveTo>
                  <a:lnTo>
                    <a:pt x="529980" y="1512756"/>
                  </a:lnTo>
                  <a:lnTo>
                    <a:pt x="158109" y="-1620"/>
                  </a:lnTo>
                  <a:lnTo>
                    <a:pt x="-1339" y="840382"/>
                  </a:lnTo>
                </a:path>
              </a:pathLst>
            </a:custGeom>
            <a:solidFill>
              <a:srgbClr val="FFFFFF">
                <a:lumMod val="85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3" name="Freeform: Shape 452">
              <a:extLst>
                <a:ext uri="{FF2B5EF4-FFF2-40B4-BE49-F238E27FC236}">
                  <a16:creationId xmlns:a16="http://schemas.microsoft.com/office/drawing/2014/main" id="{28C57D54-272E-4C9D-5195-26041C0364F1}"/>
                </a:ext>
              </a:extLst>
            </p:cNvPr>
            <p:cNvSpPr/>
            <p:nvPr/>
          </p:nvSpPr>
          <p:spPr>
            <a:xfrm flipV="1">
              <a:off x="3312998" y="4970214"/>
              <a:ext cx="427632" cy="116099"/>
            </a:xfrm>
            <a:custGeom>
              <a:avLst/>
              <a:gdLst>
                <a:gd name="connsiteX0" fmla="*/ 640726 w 641977"/>
                <a:gd name="connsiteY0" fmla="*/ 14831 h 174292"/>
                <a:gd name="connsiteX1" fmla="*/ 636383 w 641977"/>
                <a:gd name="connsiteY1" fmla="*/ -2885 h 174292"/>
                <a:gd name="connsiteX2" fmla="*/ -1251 w 641977"/>
                <a:gd name="connsiteY2" fmla="*/ 153690 h 174292"/>
                <a:gd name="connsiteX3" fmla="*/ 3100 w 641977"/>
                <a:gd name="connsiteY3" fmla="*/ 171407 h 174292"/>
                <a:gd name="connsiteX4" fmla="*/ 640726 w 641977"/>
                <a:gd name="connsiteY4" fmla="*/ 14831 h 174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977" h="174292">
                  <a:moveTo>
                    <a:pt x="640726" y="14831"/>
                  </a:moveTo>
                  <a:lnTo>
                    <a:pt x="636383" y="-2885"/>
                  </a:lnTo>
                  <a:lnTo>
                    <a:pt x="-1251" y="153690"/>
                  </a:lnTo>
                  <a:lnTo>
                    <a:pt x="3100" y="171407"/>
                  </a:lnTo>
                  <a:lnTo>
                    <a:pt x="640726" y="14831"/>
                  </a:lnTo>
                </a:path>
              </a:pathLst>
            </a:custGeom>
            <a:solidFill>
              <a:srgbClr val="CACED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4" name="Freeform: Shape 453">
              <a:extLst>
                <a:ext uri="{FF2B5EF4-FFF2-40B4-BE49-F238E27FC236}">
                  <a16:creationId xmlns:a16="http://schemas.microsoft.com/office/drawing/2014/main" id="{F7729A06-8813-BF61-C89B-A3C132D19A15}"/>
                </a:ext>
              </a:extLst>
            </p:cNvPr>
            <p:cNvSpPr/>
            <p:nvPr/>
          </p:nvSpPr>
          <p:spPr>
            <a:xfrm flipV="1">
              <a:off x="3515061" y="5031631"/>
              <a:ext cx="137377" cy="33739"/>
            </a:xfrm>
            <a:custGeom>
              <a:avLst/>
              <a:gdLst>
                <a:gd name="connsiteX0" fmla="*/ 204887 w 206235"/>
                <a:gd name="connsiteY0" fmla="*/ -2840 h 50650"/>
                <a:gd name="connsiteX1" fmla="*/ -1348 w 206235"/>
                <a:gd name="connsiteY1" fmla="*/ 47802 h 50650"/>
                <a:gd name="connsiteX2" fmla="*/ -1348 w 206235"/>
                <a:gd name="connsiteY2" fmla="*/ 47810 h 50650"/>
                <a:gd name="connsiteX3" fmla="*/ 204887 w 206235"/>
                <a:gd name="connsiteY3" fmla="*/ -2833 h 50650"/>
                <a:gd name="connsiteX4" fmla="*/ 204887 w 206235"/>
                <a:gd name="connsiteY4" fmla="*/ -2840 h 5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35" h="50650">
                  <a:moveTo>
                    <a:pt x="204887" y="-2840"/>
                  </a:moveTo>
                  <a:lnTo>
                    <a:pt x="-1348" y="47802"/>
                  </a:lnTo>
                  <a:lnTo>
                    <a:pt x="-1348" y="47810"/>
                  </a:lnTo>
                  <a:lnTo>
                    <a:pt x="204887" y="-2833"/>
                  </a:lnTo>
                  <a:lnTo>
                    <a:pt x="204887" y="-2840"/>
                  </a:lnTo>
                </a:path>
              </a:pathLst>
            </a:custGeom>
            <a:solidFill>
              <a:srgbClr val="9D94B1"/>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5" name="Freeform: Shape 454">
              <a:extLst>
                <a:ext uri="{FF2B5EF4-FFF2-40B4-BE49-F238E27FC236}">
                  <a16:creationId xmlns:a16="http://schemas.microsoft.com/office/drawing/2014/main" id="{83A9737D-180E-EAD0-E21B-1C857C944817}"/>
                </a:ext>
              </a:extLst>
            </p:cNvPr>
            <p:cNvSpPr/>
            <p:nvPr/>
          </p:nvSpPr>
          <p:spPr>
            <a:xfrm flipV="1">
              <a:off x="3485033" y="4956905"/>
              <a:ext cx="45667" cy="116093"/>
            </a:xfrm>
            <a:custGeom>
              <a:avLst/>
              <a:gdLst>
                <a:gd name="connsiteX0" fmla="*/ 67338 w 68557"/>
                <a:gd name="connsiteY0" fmla="*/ -2915 h 174284"/>
                <a:gd name="connsiteX1" fmla="*/ -1219 w 68557"/>
                <a:gd name="connsiteY1" fmla="*/ 171369 h 174284"/>
                <a:gd name="connsiteX2" fmla="*/ 67338 w 68557"/>
                <a:gd name="connsiteY2" fmla="*/ -2915 h 174284"/>
              </a:gdLst>
              <a:ahLst/>
              <a:cxnLst>
                <a:cxn ang="0">
                  <a:pos x="connsiteX0" y="connsiteY0"/>
                </a:cxn>
                <a:cxn ang="0">
                  <a:pos x="connsiteX1" y="connsiteY1"/>
                </a:cxn>
                <a:cxn ang="0">
                  <a:pos x="connsiteX2" y="connsiteY2"/>
                </a:cxn>
              </a:cxnLst>
              <a:rect l="l" t="t" r="r" b="b"/>
              <a:pathLst>
                <a:path w="68557" h="174284">
                  <a:moveTo>
                    <a:pt x="67338" y="-2915"/>
                  </a:moveTo>
                  <a:lnTo>
                    <a:pt x="-1219" y="171369"/>
                  </a:lnTo>
                  <a:lnTo>
                    <a:pt x="67338" y="-2915"/>
                  </a:lnTo>
                </a:path>
              </a:pathLst>
            </a:custGeom>
            <a:solidFill>
              <a:srgbClr val="FFFFFF"/>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6" name="Freeform: Shape 455">
              <a:extLst>
                <a:ext uri="{FF2B5EF4-FFF2-40B4-BE49-F238E27FC236}">
                  <a16:creationId xmlns:a16="http://schemas.microsoft.com/office/drawing/2014/main" id="{911BDD69-32AC-7A13-DA73-4646C2FA55CD}"/>
                </a:ext>
              </a:extLst>
            </p:cNvPr>
            <p:cNvSpPr/>
            <p:nvPr/>
          </p:nvSpPr>
          <p:spPr>
            <a:xfrm flipV="1">
              <a:off x="3485033" y="4956905"/>
              <a:ext cx="45667" cy="116093"/>
            </a:xfrm>
            <a:custGeom>
              <a:avLst/>
              <a:gdLst>
                <a:gd name="connsiteX0" fmla="*/ 67338 w 68557"/>
                <a:gd name="connsiteY0" fmla="*/ -2915 h 174284"/>
                <a:gd name="connsiteX1" fmla="*/ -1219 w 68557"/>
                <a:gd name="connsiteY1" fmla="*/ 171369 h 174284"/>
              </a:gdLst>
              <a:ahLst/>
              <a:cxnLst>
                <a:cxn ang="0">
                  <a:pos x="connsiteX0" y="connsiteY0"/>
                </a:cxn>
                <a:cxn ang="0">
                  <a:pos x="connsiteX1" y="connsiteY1"/>
                </a:cxn>
              </a:cxnLst>
              <a:rect l="l" t="t" r="r" b="b"/>
              <a:pathLst>
                <a:path w="68557" h="174284">
                  <a:moveTo>
                    <a:pt x="67338" y="-2915"/>
                  </a:moveTo>
                  <a:lnTo>
                    <a:pt x="-1219" y="171369"/>
                  </a:lnTo>
                  <a:close/>
                </a:path>
              </a:pathLst>
            </a:custGeom>
            <a:solidFill>
              <a:srgbClr val="145275"/>
            </a:solidFill>
            <a:ln w="57932" cap="rnd">
              <a:solidFill>
                <a:srgbClr val="14527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7" name="Freeform: Shape 456">
              <a:extLst>
                <a:ext uri="{FF2B5EF4-FFF2-40B4-BE49-F238E27FC236}">
                  <a16:creationId xmlns:a16="http://schemas.microsoft.com/office/drawing/2014/main" id="{5054B125-C51C-623F-A98C-12B0C3F83382}"/>
                </a:ext>
              </a:extLst>
            </p:cNvPr>
            <p:cNvSpPr/>
            <p:nvPr/>
          </p:nvSpPr>
          <p:spPr>
            <a:xfrm flipV="1">
              <a:off x="3530903" y="4997671"/>
              <a:ext cx="92466" cy="127045"/>
            </a:xfrm>
            <a:custGeom>
              <a:avLst/>
              <a:gdLst>
                <a:gd name="connsiteX0" fmla="*/ 8988 w 138813"/>
                <a:gd name="connsiteY0" fmla="*/ 166299 h 190725"/>
                <a:gd name="connsiteX1" fmla="*/ 61078 w 138813"/>
                <a:gd name="connsiteY1" fmla="*/ 186789 h 190725"/>
                <a:gd name="connsiteX2" fmla="*/ 82201 w 138813"/>
                <a:gd name="connsiteY2" fmla="*/ 177591 h 190725"/>
                <a:gd name="connsiteX3" fmla="*/ 136349 w 138813"/>
                <a:gd name="connsiteY3" fmla="*/ 39928 h 190725"/>
                <a:gd name="connsiteX4" fmla="*/ 127151 w 138813"/>
                <a:gd name="connsiteY4" fmla="*/ 18806 h 190725"/>
                <a:gd name="connsiteX5" fmla="*/ 75061 w 138813"/>
                <a:gd name="connsiteY5" fmla="*/ -1684 h 190725"/>
                <a:gd name="connsiteX6" fmla="*/ 53931 w 138813"/>
                <a:gd name="connsiteY6" fmla="*/ 7513 h 190725"/>
                <a:gd name="connsiteX7" fmla="*/ -209 w 138813"/>
                <a:gd name="connsiteY7" fmla="*/ 145168 h 190725"/>
                <a:gd name="connsiteX8" fmla="*/ 8988 w 138813"/>
                <a:gd name="connsiteY8" fmla="*/ 166299 h 190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813" h="190725">
                  <a:moveTo>
                    <a:pt x="8988" y="166299"/>
                  </a:moveTo>
                  <a:lnTo>
                    <a:pt x="61078" y="186789"/>
                  </a:lnTo>
                  <a:cubicBezTo>
                    <a:pt x="69414" y="190065"/>
                    <a:pt x="78924" y="185935"/>
                    <a:pt x="82201" y="177591"/>
                  </a:cubicBezTo>
                  <a:lnTo>
                    <a:pt x="136349" y="39928"/>
                  </a:lnTo>
                  <a:cubicBezTo>
                    <a:pt x="139633" y="31592"/>
                    <a:pt x="135495" y="22090"/>
                    <a:pt x="127151" y="18806"/>
                  </a:cubicBezTo>
                  <a:lnTo>
                    <a:pt x="75061" y="-1684"/>
                  </a:lnTo>
                  <a:cubicBezTo>
                    <a:pt x="66725" y="-4969"/>
                    <a:pt x="57215" y="-831"/>
                    <a:pt x="53931" y="7513"/>
                  </a:cubicBezTo>
                  <a:lnTo>
                    <a:pt x="-209" y="145168"/>
                  </a:lnTo>
                  <a:cubicBezTo>
                    <a:pt x="-3494" y="153512"/>
                    <a:pt x="644" y="163014"/>
                    <a:pt x="8988" y="166299"/>
                  </a:cubicBezTo>
                </a:path>
              </a:pathLst>
            </a:custGeom>
            <a:solidFill>
              <a:srgbClr val="145275"/>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8" name="Freeform: Shape 457">
              <a:extLst>
                <a:ext uri="{FF2B5EF4-FFF2-40B4-BE49-F238E27FC236}">
                  <a16:creationId xmlns:a16="http://schemas.microsoft.com/office/drawing/2014/main" id="{E0305BC3-77BB-507D-5E39-BD08A332B450}"/>
                </a:ext>
              </a:extLst>
            </p:cNvPr>
            <p:cNvSpPr/>
            <p:nvPr/>
          </p:nvSpPr>
          <p:spPr>
            <a:xfrm flipV="1">
              <a:off x="3592201" y="5064180"/>
              <a:ext cx="114900" cy="257163"/>
            </a:xfrm>
            <a:custGeom>
              <a:avLst/>
              <a:gdLst>
                <a:gd name="connsiteX0" fmla="*/ 2368 w 172493"/>
                <a:gd name="connsiteY0" fmla="*/ 376607 h 386063"/>
                <a:gd name="connsiteX1" fmla="*/ 18934 w 172493"/>
                <a:gd name="connsiteY1" fmla="*/ 383130 h 386063"/>
                <a:gd name="connsiteX2" fmla="*/ 26775 w 172493"/>
                <a:gd name="connsiteY2" fmla="*/ 379709 h 386063"/>
                <a:gd name="connsiteX3" fmla="*/ 170618 w 172493"/>
                <a:gd name="connsiteY3" fmla="*/ 14055 h 386063"/>
                <a:gd name="connsiteX4" fmla="*/ 167196 w 172493"/>
                <a:gd name="connsiteY4" fmla="*/ 6214 h 386063"/>
                <a:gd name="connsiteX5" fmla="*/ 145007 w 172493"/>
                <a:gd name="connsiteY5" fmla="*/ -2518 h 386063"/>
                <a:gd name="connsiteX6" fmla="*/ -1046 w 172493"/>
                <a:gd name="connsiteY6" fmla="*/ 368766 h 386063"/>
                <a:gd name="connsiteX7" fmla="*/ 2368 w 172493"/>
                <a:gd name="connsiteY7" fmla="*/ 376607 h 38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493" h="386063">
                  <a:moveTo>
                    <a:pt x="2368" y="376607"/>
                  </a:moveTo>
                  <a:lnTo>
                    <a:pt x="18934" y="383130"/>
                  </a:lnTo>
                  <a:cubicBezTo>
                    <a:pt x="22035" y="384342"/>
                    <a:pt x="25563" y="382810"/>
                    <a:pt x="26775" y="379709"/>
                  </a:cubicBezTo>
                  <a:lnTo>
                    <a:pt x="170618" y="14055"/>
                  </a:lnTo>
                  <a:cubicBezTo>
                    <a:pt x="171829" y="10962"/>
                    <a:pt x="170298" y="7426"/>
                    <a:pt x="167196" y="6214"/>
                  </a:cubicBezTo>
                  <a:lnTo>
                    <a:pt x="145007" y="-2518"/>
                  </a:lnTo>
                  <a:lnTo>
                    <a:pt x="-1046" y="368766"/>
                  </a:lnTo>
                  <a:cubicBezTo>
                    <a:pt x="-2257" y="371868"/>
                    <a:pt x="-726" y="375388"/>
                    <a:pt x="2368" y="376607"/>
                  </a:cubicBezTo>
                </a:path>
              </a:pathLst>
            </a:custGeom>
            <a:solidFill>
              <a:srgbClr val="145275"/>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9" name="Freeform: Shape 458">
              <a:extLst>
                <a:ext uri="{FF2B5EF4-FFF2-40B4-BE49-F238E27FC236}">
                  <a16:creationId xmlns:a16="http://schemas.microsoft.com/office/drawing/2014/main" id="{E0C4CBC8-B999-B525-69FB-AAE7B493F9DA}"/>
                </a:ext>
              </a:extLst>
            </p:cNvPr>
            <p:cNvSpPr/>
            <p:nvPr/>
          </p:nvSpPr>
          <p:spPr>
            <a:xfrm flipV="1">
              <a:off x="3674338" y="5292353"/>
              <a:ext cx="26717" cy="30534"/>
            </a:xfrm>
            <a:custGeom>
              <a:avLst/>
              <a:gdLst>
                <a:gd name="connsiteX0" fmla="*/ 1792 w 40109"/>
                <a:gd name="connsiteY0" fmla="*/ 35894 h 45839"/>
                <a:gd name="connsiteX1" fmla="*/ 20400 w 40109"/>
                <a:gd name="connsiteY1" fmla="*/ 43217 h 45839"/>
                <a:gd name="connsiteX2" fmla="*/ 27181 w 40109"/>
                <a:gd name="connsiteY2" fmla="*/ 40268 h 45839"/>
                <a:gd name="connsiteX3" fmla="*/ 38223 w 40109"/>
                <a:gd name="connsiteY3" fmla="*/ 12204 h 45839"/>
                <a:gd name="connsiteX4" fmla="*/ 35266 w 40109"/>
                <a:gd name="connsiteY4" fmla="*/ 5422 h 45839"/>
                <a:gd name="connsiteX5" fmla="*/ 16658 w 40109"/>
                <a:gd name="connsiteY5" fmla="*/ -1901 h 45839"/>
                <a:gd name="connsiteX6" fmla="*/ 9876 w 40109"/>
                <a:gd name="connsiteY6" fmla="*/ 1056 h 45839"/>
                <a:gd name="connsiteX7" fmla="*/ -1165 w 40109"/>
                <a:gd name="connsiteY7" fmla="*/ 29112 h 45839"/>
                <a:gd name="connsiteX8" fmla="*/ 1792 w 40109"/>
                <a:gd name="connsiteY8" fmla="*/ 35894 h 4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09" h="45839">
                  <a:moveTo>
                    <a:pt x="1792" y="35894"/>
                  </a:moveTo>
                  <a:lnTo>
                    <a:pt x="20400" y="43217"/>
                  </a:lnTo>
                  <a:cubicBezTo>
                    <a:pt x="23082" y="44269"/>
                    <a:pt x="26130" y="42943"/>
                    <a:pt x="27181" y="40268"/>
                  </a:cubicBezTo>
                  <a:lnTo>
                    <a:pt x="38223" y="12204"/>
                  </a:lnTo>
                  <a:cubicBezTo>
                    <a:pt x="39274" y="9529"/>
                    <a:pt x="37948" y="6473"/>
                    <a:pt x="35266" y="5422"/>
                  </a:cubicBezTo>
                  <a:lnTo>
                    <a:pt x="16658" y="-1901"/>
                  </a:lnTo>
                  <a:cubicBezTo>
                    <a:pt x="13976" y="-2953"/>
                    <a:pt x="10928" y="-1627"/>
                    <a:pt x="9876" y="1056"/>
                  </a:cubicBezTo>
                  <a:lnTo>
                    <a:pt x="-1165" y="29112"/>
                  </a:lnTo>
                  <a:cubicBezTo>
                    <a:pt x="-2217" y="31795"/>
                    <a:pt x="-891" y="34843"/>
                    <a:pt x="1792" y="35894"/>
                  </a:cubicBezTo>
                </a:path>
              </a:pathLst>
            </a:custGeom>
            <a:solidFill>
              <a:srgbClr val="145275"/>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0" name="Freeform: Shape 459">
              <a:extLst>
                <a:ext uri="{FF2B5EF4-FFF2-40B4-BE49-F238E27FC236}">
                  <a16:creationId xmlns:a16="http://schemas.microsoft.com/office/drawing/2014/main" id="{48F6F308-B214-C47D-5C9B-5FB74A419647}"/>
                </a:ext>
              </a:extLst>
            </p:cNvPr>
            <p:cNvSpPr/>
            <p:nvPr/>
          </p:nvSpPr>
          <p:spPr>
            <a:xfrm flipV="1">
              <a:off x="3468448" y="4984942"/>
              <a:ext cx="419958" cy="927221"/>
            </a:xfrm>
            <a:custGeom>
              <a:avLst/>
              <a:gdLst>
                <a:gd name="connsiteX0" fmla="*/ 12429 w 630457"/>
                <a:gd name="connsiteY0" fmla="*/ 1362348 h 1391980"/>
                <a:gd name="connsiteX1" fmla="*/ 78952 w 630457"/>
                <a:gd name="connsiteY1" fmla="*/ 1388515 h 1391980"/>
                <a:gd name="connsiteX2" fmla="*/ 107474 w 630457"/>
                <a:gd name="connsiteY2" fmla="*/ 1376094 h 1391980"/>
                <a:gd name="connsiteX3" fmla="*/ 627424 w 630457"/>
                <a:gd name="connsiteY3" fmla="*/ 54268 h 1391980"/>
                <a:gd name="connsiteX4" fmla="*/ 615011 w 630457"/>
                <a:gd name="connsiteY4" fmla="*/ 25739 h 1391980"/>
                <a:gd name="connsiteX5" fmla="*/ 548489 w 630457"/>
                <a:gd name="connsiteY5" fmla="*/ -428 h 1391980"/>
                <a:gd name="connsiteX6" fmla="*/ 519959 w 630457"/>
                <a:gd name="connsiteY6" fmla="*/ 11992 h 1391980"/>
                <a:gd name="connsiteX7" fmla="*/ 9 w 630457"/>
                <a:gd name="connsiteY7" fmla="*/ 1333826 h 1391980"/>
                <a:gd name="connsiteX8" fmla="*/ 12429 w 630457"/>
                <a:gd name="connsiteY8" fmla="*/ 1362348 h 1391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457" h="1391980">
                  <a:moveTo>
                    <a:pt x="12429" y="1362348"/>
                  </a:moveTo>
                  <a:lnTo>
                    <a:pt x="78952" y="1388515"/>
                  </a:lnTo>
                  <a:cubicBezTo>
                    <a:pt x="90207" y="1392942"/>
                    <a:pt x="103046" y="1387357"/>
                    <a:pt x="107474" y="1376094"/>
                  </a:cubicBezTo>
                  <a:lnTo>
                    <a:pt x="627424" y="54268"/>
                  </a:lnTo>
                  <a:cubicBezTo>
                    <a:pt x="631859" y="43006"/>
                    <a:pt x="626274" y="30174"/>
                    <a:pt x="615011" y="25739"/>
                  </a:cubicBezTo>
                  <a:lnTo>
                    <a:pt x="548489" y="-428"/>
                  </a:lnTo>
                  <a:cubicBezTo>
                    <a:pt x="537226" y="-4856"/>
                    <a:pt x="524394" y="730"/>
                    <a:pt x="519959" y="11992"/>
                  </a:cubicBezTo>
                  <a:lnTo>
                    <a:pt x="9" y="1333826"/>
                  </a:lnTo>
                  <a:cubicBezTo>
                    <a:pt x="-4418" y="1345081"/>
                    <a:pt x="1167" y="1357913"/>
                    <a:pt x="12429" y="1362348"/>
                  </a:cubicBezTo>
                </a:path>
              </a:pathLst>
            </a:custGeom>
            <a:solidFill>
              <a:srgbClr val="4DA5C3"/>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1" name="Freeform: Shape 460">
              <a:extLst>
                <a:ext uri="{FF2B5EF4-FFF2-40B4-BE49-F238E27FC236}">
                  <a16:creationId xmlns:a16="http://schemas.microsoft.com/office/drawing/2014/main" id="{600766B4-D5B3-D42E-DB5F-73B563EE5992}"/>
                </a:ext>
              </a:extLst>
            </p:cNvPr>
            <p:cNvSpPr/>
            <p:nvPr/>
          </p:nvSpPr>
          <p:spPr>
            <a:xfrm flipV="1">
              <a:off x="3505447" y="5041544"/>
              <a:ext cx="317055" cy="814693"/>
            </a:xfrm>
            <a:custGeom>
              <a:avLst/>
              <a:gdLst>
                <a:gd name="connsiteX0" fmla="*/ -1485 w 475975"/>
                <a:gd name="connsiteY0" fmla="*/ 1221102 h 1223048"/>
                <a:gd name="connsiteX1" fmla="*/ 474490 w 475975"/>
                <a:gd name="connsiteY1" fmla="*/ -1946 h 1223048"/>
              </a:gdLst>
              <a:ahLst/>
              <a:cxnLst>
                <a:cxn ang="0">
                  <a:pos x="connsiteX0" y="connsiteY0"/>
                </a:cxn>
                <a:cxn ang="0">
                  <a:pos x="connsiteX1" y="connsiteY1"/>
                </a:cxn>
              </a:cxnLst>
              <a:rect l="l" t="t" r="r" b="b"/>
              <a:pathLst>
                <a:path w="475975" h="1223048">
                  <a:moveTo>
                    <a:pt x="-1485" y="1221102"/>
                  </a:moveTo>
                  <a:lnTo>
                    <a:pt x="474490" y="-1946"/>
                  </a:lnTo>
                </a:path>
              </a:pathLst>
            </a:custGeom>
            <a:noFill/>
            <a:ln w="19533" cap="rnd">
              <a:solidFill>
                <a:srgbClr val="9ADEE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2" name="Freeform: Shape 461">
              <a:extLst>
                <a:ext uri="{FF2B5EF4-FFF2-40B4-BE49-F238E27FC236}">
                  <a16:creationId xmlns:a16="http://schemas.microsoft.com/office/drawing/2014/main" id="{6DAE8A01-7DAF-BD07-9B91-E0007BD92445}"/>
                </a:ext>
              </a:extLst>
            </p:cNvPr>
            <p:cNvSpPr/>
            <p:nvPr/>
          </p:nvSpPr>
          <p:spPr>
            <a:xfrm flipV="1">
              <a:off x="3469608" y="4955083"/>
              <a:ext cx="14161" cy="35997"/>
            </a:xfrm>
            <a:custGeom>
              <a:avLst/>
              <a:gdLst>
                <a:gd name="connsiteX0" fmla="*/ 20094 w 21259"/>
                <a:gd name="connsiteY0" fmla="*/ -3009 h 54040"/>
                <a:gd name="connsiteX1" fmla="*/ -1166 w 21259"/>
                <a:gd name="connsiteY1" fmla="*/ 51032 h 54040"/>
              </a:gdLst>
              <a:ahLst/>
              <a:cxnLst>
                <a:cxn ang="0">
                  <a:pos x="connsiteX0" y="connsiteY0"/>
                </a:cxn>
                <a:cxn ang="0">
                  <a:pos x="connsiteX1" y="connsiteY1"/>
                </a:cxn>
              </a:cxnLst>
              <a:rect l="l" t="t" r="r" b="b"/>
              <a:pathLst>
                <a:path w="21259" h="54040">
                  <a:moveTo>
                    <a:pt x="20094" y="-3009"/>
                  </a:moveTo>
                  <a:lnTo>
                    <a:pt x="-1166" y="51032"/>
                  </a:lnTo>
                </a:path>
              </a:pathLst>
            </a:custGeom>
            <a:solidFill>
              <a:srgbClr val="145275"/>
            </a:solidFill>
            <a:ln w="18409" cap="rnd">
              <a:solidFill>
                <a:srgbClr val="14527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3" name="Freeform: Shape 462">
              <a:extLst>
                <a:ext uri="{FF2B5EF4-FFF2-40B4-BE49-F238E27FC236}">
                  <a16:creationId xmlns:a16="http://schemas.microsoft.com/office/drawing/2014/main" id="{F81F7D1F-B029-FB56-1519-48743F4549AB}"/>
                </a:ext>
              </a:extLst>
            </p:cNvPr>
            <p:cNvSpPr/>
            <p:nvPr/>
          </p:nvSpPr>
          <p:spPr>
            <a:xfrm flipV="1">
              <a:off x="3807397" y="5853328"/>
              <a:ext cx="79261" cy="57086"/>
            </a:xfrm>
            <a:custGeom>
              <a:avLst/>
              <a:gdLst>
                <a:gd name="connsiteX0" fmla="*/ 97643 w 118990"/>
                <a:gd name="connsiteY0" fmla="*/ 20841 h 85699"/>
                <a:gd name="connsiteX1" fmla="*/ 47587 w 118990"/>
                <a:gd name="connsiteY1" fmla="*/ 1151 h 85699"/>
                <a:gd name="connsiteX2" fmla="*/ 7590 w 118990"/>
                <a:gd name="connsiteY2" fmla="*/ 18563 h 85699"/>
                <a:gd name="connsiteX3" fmla="*/ -1798 w 118990"/>
                <a:gd name="connsiteY3" fmla="*/ 42444 h 85699"/>
                <a:gd name="connsiteX4" fmla="*/ 12276 w 118990"/>
                <a:gd name="connsiteY4" fmla="*/ 36317 h 85699"/>
                <a:gd name="connsiteX5" fmla="*/ 99541 w 118990"/>
                <a:gd name="connsiteY5" fmla="*/ 70638 h 85699"/>
                <a:gd name="connsiteX6" fmla="*/ 105667 w 118990"/>
                <a:gd name="connsiteY6" fmla="*/ 84720 h 85699"/>
                <a:gd name="connsiteX7" fmla="*/ 115062 w 118990"/>
                <a:gd name="connsiteY7" fmla="*/ 60839 h 85699"/>
                <a:gd name="connsiteX8" fmla="*/ 97643 w 118990"/>
                <a:gd name="connsiteY8" fmla="*/ 20841 h 8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990" h="85699">
                  <a:moveTo>
                    <a:pt x="97643" y="20841"/>
                  </a:moveTo>
                  <a:lnTo>
                    <a:pt x="47587" y="1151"/>
                  </a:lnTo>
                  <a:cubicBezTo>
                    <a:pt x="31799" y="-5059"/>
                    <a:pt x="13808" y="2774"/>
                    <a:pt x="7590" y="18563"/>
                  </a:cubicBezTo>
                  <a:lnTo>
                    <a:pt x="-1798" y="42444"/>
                  </a:lnTo>
                  <a:cubicBezTo>
                    <a:pt x="389" y="36881"/>
                    <a:pt x="6721" y="34131"/>
                    <a:pt x="12276" y="36317"/>
                  </a:cubicBezTo>
                  <a:lnTo>
                    <a:pt x="99541" y="70638"/>
                  </a:lnTo>
                  <a:cubicBezTo>
                    <a:pt x="105095" y="72833"/>
                    <a:pt x="107854" y="79157"/>
                    <a:pt x="105667" y="84720"/>
                  </a:cubicBezTo>
                  <a:lnTo>
                    <a:pt x="115062" y="60839"/>
                  </a:lnTo>
                  <a:cubicBezTo>
                    <a:pt x="121273" y="45050"/>
                    <a:pt x="113432" y="27059"/>
                    <a:pt x="97643" y="20841"/>
                  </a:cubicBezTo>
                </a:path>
              </a:pathLst>
            </a:custGeom>
            <a:solidFill>
              <a:srgbClr val="42ACB2"/>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4" name="Freeform: Shape 463">
              <a:extLst>
                <a:ext uri="{FF2B5EF4-FFF2-40B4-BE49-F238E27FC236}">
                  <a16:creationId xmlns:a16="http://schemas.microsoft.com/office/drawing/2014/main" id="{74DD407B-51AE-1D51-4484-A5F2354F35B2}"/>
                </a:ext>
              </a:extLst>
            </p:cNvPr>
            <p:cNvSpPr/>
            <p:nvPr/>
          </p:nvSpPr>
          <p:spPr>
            <a:xfrm flipV="1">
              <a:off x="3901356" y="6015282"/>
              <a:ext cx="20978" cy="53337"/>
            </a:xfrm>
            <a:custGeom>
              <a:avLst/>
              <a:gdLst>
                <a:gd name="connsiteX0" fmla="*/ -1909 w 31493"/>
                <a:gd name="connsiteY0" fmla="*/ 79449 h 80071"/>
                <a:gd name="connsiteX1" fmla="*/ 29585 w 31493"/>
                <a:gd name="connsiteY1" fmla="*/ -622 h 80071"/>
              </a:gdLst>
              <a:ahLst/>
              <a:cxnLst>
                <a:cxn ang="0">
                  <a:pos x="connsiteX0" y="connsiteY0"/>
                </a:cxn>
                <a:cxn ang="0">
                  <a:pos x="connsiteX1" y="connsiteY1"/>
                </a:cxn>
              </a:cxnLst>
              <a:rect l="l" t="t" r="r" b="b"/>
              <a:pathLst>
                <a:path w="31493" h="80071">
                  <a:moveTo>
                    <a:pt x="-1909" y="79449"/>
                  </a:moveTo>
                  <a:lnTo>
                    <a:pt x="29585" y="-622"/>
                  </a:lnTo>
                </a:path>
              </a:pathLst>
            </a:custGeom>
            <a:solidFill>
              <a:srgbClr val="145275"/>
            </a:solidFill>
            <a:ln w="18409" cap="rnd">
              <a:solidFill>
                <a:srgbClr val="14527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5" name="Freeform: Shape 464">
              <a:extLst>
                <a:ext uri="{FF2B5EF4-FFF2-40B4-BE49-F238E27FC236}">
                  <a16:creationId xmlns:a16="http://schemas.microsoft.com/office/drawing/2014/main" id="{F168E0AB-965C-6B05-BFDA-E21DA85CCD58}"/>
                </a:ext>
              </a:extLst>
            </p:cNvPr>
            <p:cNvSpPr/>
            <p:nvPr/>
          </p:nvSpPr>
          <p:spPr>
            <a:xfrm flipV="1">
              <a:off x="3818160" y="5876021"/>
              <a:ext cx="102089" cy="169603"/>
            </a:xfrm>
            <a:custGeom>
              <a:avLst/>
              <a:gdLst>
                <a:gd name="connsiteX0" fmla="*/ 6711 w 153260"/>
                <a:gd name="connsiteY0" fmla="*/ 220319 h 254614"/>
                <a:gd name="connsiteX1" fmla="*/ 88603 w 153260"/>
                <a:gd name="connsiteY1" fmla="*/ 252537 h 254614"/>
                <a:gd name="connsiteX2" fmla="*/ 119144 w 153260"/>
                <a:gd name="connsiteY2" fmla="*/ 188994 h 254614"/>
                <a:gd name="connsiteX3" fmla="*/ 151331 w 153260"/>
                <a:gd name="connsiteY3" fmla="*/ 13856 h 254614"/>
                <a:gd name="connsiteX4" fmla="*/ 146973 w 153260"/>
                <a:gd name="connsiteY4" fmla="*/ 5329 h 254614"/>
                <a:gd name="connsiteX5" fmla="*/ 132411 w 153260"/>
                <a:gd name="connsiteY5" fmla="*/ -394 h 254614"/>
                <a:gd name="connsiteX6" fmla="*/ 123412 w 153260"/>
                <a:gd name="connsiteY6" fmla="*/ 2868 h 254614"/>
                <a:gd name="connsiteX7" fmla="*/ 27651 w 153260"/>
                <a:gd name="connsiteY7" fmla="*/ 153004 h 254614"/>
                <a:gd name="connsiteX8" fmla="*/ 6711 w 153260"/>
                <a:gd name="connsiteY8" fmla="*/ 220319 h 25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60" h="254614">
                  <a:moveTo>
                    <a:pt x="6711" y="220319"/>
                  </a:moveTo>
                  <a:lnTo>
                    <a:pt x="88603" y="252537"/>
                  </a:lnTo>
                  <a:cubicBezTo>
                    <a:pt x="105063" y="259014"/>
                    <a:pt x="111380" y="241259"/>
                    <a:pt x="119144" y="188994"/>
                  </a:cubicBezTo>
                  <a:lnTo>
                    <a:pt x="151331" y="13856"/>
                  </a:lnTo>
                  <a:cubicBezTo>
                    <a:pt x="151888" y="10152"/>
                    <a:pt x="149899" y="6479"/>
                    <a:pt x="146973" y="5329"/>
                  </a:cubicBezTo>
                  <a:lnTo>
                    <a:pt x="132411" y="-394"/>
                  </a:lnTo>
                  <a:cubicBezTo>
                    <a:pt x="129485" y="-1544"/>
                    <a:pt x="125530" y="-211"/>
                    <a:pt x="123412" y="2868"/>
                  </a:cubicBezTo>
                  <a:lnTo>
                    <a:pt x="27651" y="153004"/>
                  </a:lnTo>
                  <a:cubicBezTo>
                    <a:pt x="-2273" y="196560"/>
                    <a:pt x="-9740" y="213850"/>
                    <a:pt x="6711" y="220319"/>
                  </a:cubicBezTo>
                </a:path>
              </a:pathLst>
            </a:custGeom>
            <a:solidFill>
              <a:srgbClr val="4DA5C3"/>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6" name="Freeform: Shape 465">
              <a:extLst>
                <a:ext uri="{FF2B5EF4-FFF2-40B4-BE49-F238E27FC236}">
                  <a16:creationId xmlns:a16="http://schemas.microsoft.com/office/drawing/2014/main" id="{B8F62BA1-5420-4107-DC6A-F62076AA6201}"/>
                </a:ext>
              </a:extLst>
            </p:cNvPr>
            <p:cNvSpPr/>
            <p:nvPr/>
          </p:nvSpPr>
          <p:spPr>
            <a:xfrm flipV="1">
              <a:off x="3833736" y="5909898"/>
              <a:ext cx="74568" cy="123052"/>
            </a:xfrm>
            <a:custGeom>
              <a:avLst/>
              <a:gdLst>
                <a:gd name="connsiteX0" fmla="*/ -1839 w 111945"/>
                <a:gd name="connsiteY0" fmla="*/ 183952 h 184731"/>
                <a:gd name="connsiteX1" fmla="*/ 110107 w 111945"/>
                <a:gd name="connsiteY1" fmla="*/ -780 h 184731"/>
              </a:gdLst>
              <a:ahLst/>
              <a:cxnLst>
                <a:cxn ang="0">
                  <a:pos x="connsiteX0" y="connsiteY0"/>
                </a:cxn>
                <a:cxn ang="0">
                  <a:pos x="connsiteX1" y="connsiteY1"/>
                </a:cxn>
              </a:cxnLst>
              <a:rect l="l" t="t" r="r" b="b"/>
              <a:pathLst>
                <a:path w="111945" h="184731">
                  <a:moveTo>
                    <a:pt x="-1839" y="183952"/>
                  </a:moveTo>
                  <a:lnTo>
                    <a:pt x="110107" y="-780"/>
                  </a:lnTo>
                </a:path>
              </a:pathLst>
            </a:custGeom>
            <a:noFill/>
            <a:ln w="18409" cap="rnd">
              <a:solidFill>
                <a:srgbClr val="8AD8D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7" name="Freeform: Shape 466">
              <a:extLst>
                <a:ext uri="{FF2B5EF4-FFF2-40B4-BE49-F238E27FC236}">
                  <a16:creationId xmlns:a16="http://schemas.microsoft.com/office/drawing/2014/main" id="{F674AEBE-F1B5-10AB-68EA-E92D6A115FB6}"/>
                </a:ext>
              </a:extLst>
            </p:cNvPr>
            <p:cNvSpPr/>
            <p:nvPr/>
          </p:nvSpPr>
          <p:spPr>
            <a:xfrm flipV="1">
              <a:off x="4401424" y="4509422"/>
              <a:ext cx="415708" cy="177653"/>
            </a:xfrm>
            <a:custGeom>
              <a:avLst/>
              <a:gdLst>
                <a:gd name="connsiteX0" fmla="*/ -3099 w 624077"/>
                <a:gd name="connsiteY0" fmla="*/ 129504 h 266699"/>
                <a:gd name="connsiteX1" fmla="*/ 308940 w 624077"/>
                <a:gd name="connsiteY1" fmla="*/ 262854 h 266699"/>
                <a:gd name="connsiteX2" fmla="*/ 620979 w 624077"/>
                <a:gd name="connsiteY2" fmla="*/ 129504 h 266699"/>
                <a:gd name="connsiteX3" fmla="*/ 308940 w 624077"/>
                <a:gd name="connsiteY3" fmla="*/ -3846 h 266699"/>
                <a:gd name="connsiteX4" fmla="*/ -3099 w 624077"/>
                <a:gd name="connsiteY4" fmla="*/ 129504 h 266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077" h="266699">
                  <a:moveTo>
                    <a:pt x="-3099" y="129504"/>
                  </a:moveTo>
                  <a:cubicBezTo>
                    <a:pt x="-3099" y="203152"/>
                    <a:pt x="136606" y="262854"/>
                    <a:pt x="308940" y="262854"/>
                  </a:cubicBezTo>
                  <a:cubicBezTo>
                    <a:pt x="481274" y="262854"/>
                    <a:pt x="620979" y="203152"/>
                    <a:pt x="620979" y="129504"/>
                  </a:cubicBezTo>
                  <a:cubicBezTo>
                    <a:pt x="620979" y="55857"/>
                    <a:pt x="481274" y="-3846"/>
                    <a:pt x="308940" y="-3846"/>
                  </a:cubicBezTo>
                  <a:cubicBezTo>
                    <a:pt x="136606" y="-3846"/>
                    <a:pt x="-3099" y="55857"/>
                    <a:pt x="-3099" y="129504"/>
                  </a:cubicBezTo>
                </a:path>
              </a:pathLst>
            </a:custGeom>
            <a:solidFill>
              <a:srgbClr val="E7CC0C"/>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8" name="Freeform: Shape 467">
              <a:extLst>
                <a:ext uri="{FF2B5EF4-FFF2-40B4-BE49-F238E27FC236}">
                  <a16:creationId xmlns:a16="http://schemas.microsoft.com/office/drawing/2014/main" id="{93D9BB52-43FC-B60C-0A7D-D03012AC33F4}"/>
                </a:ext>
              </a:extLst>
            </p:cNvPr>
            <p:cNvSpPr/>
            <p:nvPr/>
          </p:nvSpPr>
          <p:spPr>
            <a:xfrm flipV="1">
              <a:off x="4401424" y="4509422"/>
              <a:ext cx="415708" cy="177653"/>
            </a:xfrm>
            <a:custGeom>
              <a:avLst/>
              <a:gdLst>
                <a:gd name="connsiteX0" fmla="*/ -3099 w 624077"/>
                <a:gd name="connsiteY0" fmla="*/ 129504 h 266699"/>
                <a:gd name="connsiteX1" fmla="*/ 308940 w 624077"/>
                <a:gd name="connsiteY1" fmla="*/ 262854 h 266699"/>
                <a:gd name="connsiteX2" fmla="*/ 620979 w 624077"/>
                <a:gd name="connsiteY2" fmla="*/ 129504 h 266699"/>
                <a:gd name="connsiteX3" fmla="*/ 308940 w 624077"/>
                <a:gd name="connsiteY3" fmla="*/ -3846 h 266699"/>
                <a:gd name="connsiteX4" fmla="*/ -3099 w 624077"/>
                <a:gd name="connsiteY4" fmla="*/ 129504 h 266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077" h="266699">
                  <a:moveTo>
                    <a:pt x="-3099" y="129504"/>
                  </a:moveTo>
                  <a:cubicBezTo>
                    <a:pt x="-3099" y="203152"/>
                    <a:pt x="136606" y="262854"/>
                    <a:pt x="308940" y="262854"/>
                  </a:cubicBezTo>
                  <a:cubicBezTo>
                    <a:pt x="481274" y="262854"/>
                    <a:pt x="620979" y="203152"/>
                    <a:pt x="620979" y="129504"/>
                  </a:cubicBezTo>
                  <a:cubicBezTo>
                    <a:pt x="620979" y="55857"/>
                    <a:pt x="481274" y="-3846"/>
                    <a:pt x="308940" y="-3846"/>
                  </a:cubicBezTo>
                  <a:cubicBezTo>
                    <a:pt x="136606" y="-3846"/>
                    <a:pt x="-3099" y="55857"/>
                    <a:pt x="-3099" y="129504"/>
                  </a:cubicBezTo>
                  <a:close/>
                </a:path>
              </a:pathLst>
            </a:custGeom>
            <a:noFill/>
            <a:ln w="247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9" name="Freeform: Shape 468">
              <a:extLst>
                <a:ext uri="{FF2B5EF4-FFF2-40B4-BE49-F238E27FC236}">
                  <a16:creationId xmlns:a16="http://schemas.microsoft.com/office/drawing/2014/main" id="{73CFD0D3-7249-0289-D4B1-CD06A7C7C1C3}"/>
                </a:ext>
              </a:extLst>
            </p:cNvPr>
            <p:cNvSpPr/>
            <p:nvPr/>
          </p:nvSpPr>
          <p:spPr>
            <a:xfrm flipV="1">
              <a:off x="4401424" y="4509422"/>
              <a:ext cx="415708" cy="177653"/>
            </a:xfrm>
            <a:custGeom>
              <a:avLst/>
              <a:gdLst>
                <a:gd name="connsiteX0" fmla="*/ 308940 w 624077"/>
                <a:gd name="connsiteY0" fmla="*/ 129504 h 266699"/>
                <a:gd name="connsiteX1" fmla="*/ 414240 w 624077"/>
                <a:gd name="connsiteY1" fmla="*/ 3973 h 266699"/>
                <a:gd name="connsiteX2" fmla="*/ 308940 w 624077"/>
                <a:gd name="connsiteY2" fmla="*/ -3846 h 266699"/>
                <a:gd name="connsiteX3" fmla="*/ -3099 w 624077"/>
                <a:gd name="connsiteY3" fmla="*/ 129504 h 266699"/>
                <a:gd name="connsiteX4" fmla="*/ 308940 w 624077"/>
                <a:gd name="connsiteY4" fmla="*/ 262854 h 266699"/>
                <a:gd name="connsiteX5" fmla="*/ 620979 w 624077"/>
                <a:gd name="connsiteY5" fmla="*/ 129504 h 266699"/>
                <a:gd name="connsiteX6" fmla="*/ 520593 w 624077"/>
                <a:gd name="connsiteY6" fmla="*/ 31511 h 266699"/>
                <a:gd name="connsiteX7" fmla="*/ 308940 w 624077"/>
                <a:gd name="connsiteY7" fmla="*/ 129504 h 266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077" h="266699">
                  <a:moveTo>
                    <a:pt x="308940" y="129504"/>
                  </a:moveTo>
                  <a:lnTo>
                    <a:pt x="414240" y="3973"/>
                  </a:lnTo>
                  <a:cubicBezTo>
                    <a:pt x="380453" y="-1201"/>
                    <a:pt x="344830" y="-3846"/>
                    <a:pt x="308940" y="-3846"/>
                  </a:cubicBezTo>
                  <a:cubicBezTo>
                    <a:pt x="137756" y="-3846"/>
                    <a:pt x="-3099" y="56345"/>
                    <a:pt x="-3099" y="129504"/>
                  </a:cubicBezTo>
                  <a:cubicBezTo>
                    <a:pt x="-3099" y="202656"/>
                    <a:pt x="137756" y="262854"/>
                    <a:pt x="308940" y="262854"/>
                  </a:cubicBezTo>
                  <a:cubicBezTo>
                    <a:pt x="480115" y="262854"/>
                    <a:pt x="620979" y="202656"/>
                    <a:pt x="620979" y="129504"/>
                  </a:cubicBezTo>
                  <a:cubicBezTo>
                    <a:pt x="620979" y="92304"/>
                    <a:pt x="584555" y="56749"/>
                    <a:pt x="520593" y="31511"/>
                  </a:cubicBezTo>
                  <a:lnTo>
                    <a:pt x="308940" y="129504"/>
                  </a:lnTo>
                </a:path>
              </a:pathLst>
            </a:custGeom>
            <a:solidFill>
              <a:srgbClr val="FFFFFF">
                <a:lumMod val="75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0" name="Freeform: Shape 469">
              <a:extLst>
                <a:ext uri="{FF2B5EF4-FFF2-40B4-BE49-F238E27FC236}">
                  <a16:creationId xmlns:a16="http://schemas.microsoft.com/office/drawing/2014/main" id="{5BE1A71A-5284-8589-03DF-EDD2380BAAA1}"/>
                </a:ext>
              </a:extLst>
            </p:cNvPr>
            <p:cNvSpPr/>
            <p:nvPr/>
          </p:nvSpPr>
          <p:spPr>
            <a:xfrm flipV="1">
              <a:off x="4401424" y="4509422"/>
              <a:ext cx="415708" cy="177653"/>
            </a:xfrm>
            <a:custGeom>
              <a:avLst/>
              <a:gdLst>
                <a:gd name="connsiteX0" fmla="*/ 308940 w 624077"/>
                <a:gd name="connsiteY0" fmla="*/ 129504 h 266699"/>
                <a:gd name="connsiteX1" fmla="*/ 414240 w 624077"/>
                <a:gd name="connsiteY1" fmla="*/ 3973 h 266699"/>
                <a:gd name="connsiteX2" fmla="*/ 308940 w 624077"/>
                <a:gd name="connsiteY2" fmla="*/ -3846 h 266699"/>
                <a:gd name="connsiteX3" fmla="*/ -3099 w 624077"/>
                <a:gd name="connsiteY3" fmla="*/ 129504 h 266699"/>
                <a:gd name="connsiteX4" fmla="*/ 308940 w 624077"/>
                <a:gd name="connsiteY4" fmla="*/ 262854 h 266699"/>
                <a:gd name="connsiteX5" fmla="*/ 620979 w 624077"/>
                <a:gd name="connsiteY5" fmla="*/ 129504 h 266699"/>
                <a:gd name="connsiteX6" fmla="*/ 520593 w 624077"/>
                <a:gd name="connsiteY6" fmla="*/ 31511 h 266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077" h="266699">
                  <a:moveTo>
                    <a:pt x="308940" y="129504"/>
                  </a:moveTo>
                  <a:lnTo>
                    <a:pt x="414240" y="3973"/>
                  </a:lnTo>
                  <a:cubicBezTo>
                    <a:pt x="380453" y="-1201"/>
                    <a:pt x="344830" y="-3846"/>
                    <a:pt x="308940" y="-3846"/>
                  </a:cubicBezTo>
                  <a:cubicBezTo>
                    <a:pt x="137756" y="-3846"/>
                    <a:pt x="-3099" y="56345"/>
                    <a:pt x="-3099" y="129504"/>
                  </a:cubicBezTo>
                  <a:cubicBezTo>
                    <a:pt x="-3099" y="202656"/>
                    <a:pt x="137756" y="262854"/>
                    <a:pt x="308940" y="262854"/>
                  </a:cubicBezTo>
                  <a:cubicBezTo>
                    <a:pt x="480115" y="262854"/>
                    <a:pt x="620979" y="202656"/>
                    <a:pt x="620979" y="129504"/>
                  </a:cubicBezTo>
                  <a:cubicBezTo>
                    <a:pt x="620979" y="92304"/>
                    <a:pt x="584555" y="56749"/>
                    <a:pt x="520593" y="31511"/>
                  </a:cubicBezTo>
                  <a:close/>
                </a:path>
              </a:pathLst>
            </a:custGeom>
            <a:noFill/>
            <a:ln w="247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1" name="Freeform: Shape 470">
              <a:extLst>
                <a:ext uri="{FF2B5EF4-FFF2-40B4-BE49-F238E27FC236}">
                  <a16:creationId xmlns:a16="http://schemas.microsoft.com/office/drawing/2014/main" id="{EC1AF3CE-FEC7-CA61-91EA-AB49D2F12A14}"/>
                </a:ext>
              </a:extLst>
            </p:cNvPr>
            <p:cNvSpPr/>
            <p:nvPr/>
          </p:nvSpPr>
          <p:spPr>
            <a:xfrm flipV="1">
              <a:off x="4401424" y="4509422"/>
              <a:ext cx="308517" cy="177653"/>
            </a:xfrm>
            <a:custGeom>
              <a:avLst/>
              <a:gdLst>
                <a:gd name="connsiteX0" fmla="*/ 309031 w 463158"/>
                <a:gd name="connsiteY0" fmla="*/ 129504 h 266699"/>
                <a:gd name="connsiteX1" fmla="*/ 414332 w 463158"/>
                <a:gd name="connsiteY1" fmla="*/ 3973 h 266699"/>
                <a:gd name="connsiteX2" fmla="*/ 309031 w 463158"/>
                <a:gd name="connsiteY2" fmla="*/ -3846 h 266699"/>
                <a:gd name="connsiteX3" fmla="*/ -3008 w 463158"/>
                <a:gd name="connsiteY3" fmla="*/ 129504 h 266699"/>
                <a:gd name="connsiteX4" fmla="*/ 309031 w 463158"/>
                <a:gd name="connsiteY4" fmla="*/ 262854 h 266699"/>
                <a:gd name="connsiteX5" fmla="*/ 460151 w 463158"/>
                <a:gd name="connsiteY5" fmla="*/ 246167 h 266699"/>
                <a:gd name="connsiteX6" fmla="*/ 309031 w 463158"/>
                <a:gd name="connsiteY6" fmla="*/ 129504 h 266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158" h="266699">
                  <a:moveTo>
                    <a:pt x="309031" y="129504"/>
                  </a:moveTo>
                  <a:lnTo>
                    <a:pt x="414332" y="3973"/>
                  </a:lnTo>
                  <a:cubicBezTo>
                    <a:pt x="380545" y="-1201"/>
                    <a:pt x="344921" y="-3846"/>
                    <a:pt x="309031" y="-3846"/>
                  </a:cubicBezTo>
                  <a:cubicBezTo>
                    <a:pt x="137848" y="-3846"/>
                    <a:pt x="-3008" y="56345"/>
                    <a:pt x="-3008" y="129504"/>
                  </a:cubicBezTo>
                  <a:cubicBezTo>
                    <a:pt x="-3008" y="202656"/>
                    <a:pt x="137848" y="262854"/>
                    <a:pt x="309031" y="262854"/>
                  </a:cubicBezTo>
                  <a:cubicBezTo>
                    <a:pt x="361899" y="262854"/>
                    <a:pt x="413905" y="257109"/>
                    <a:pt x="460151" y="246167"/>
                  </a:cubicBezTo>
                  <a:lnTo>
                    <a:pt x="309031" y="129504"/>
                  </a:lnTo>
                </a:path>
              </a:pathLst>
            </a:custGeom>
            <a:solidFill>
              <a:srgbClr val="55B9E5"/>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2" name="Freeform: Shape 471">
              <a:extLst>
                <a:ext uri="{FF2B5EF4-FFF2-40B4-BE49-F238E27FC236}">
                  <a16:creationId xmlns:a16="http://schemas.microsoft.com/office/drawing/2014/main" id="{1256A3F2-9C62-B1EE-4198-F8C0B358ABE3}"/>
                </a:ext>
              </a:extLst>
            </p:cNvPr>
            <p:cNvSpPr/>
            <p:nvPr/>
          </p:nvSpPr>
          <p:spPr>
            <a:xfrm flipV="1">
              <a:off x="4401424" y="4509422"/>
              <a:ext cx="308517" cy="177653"/>
            </a:xfrm>
            <a:custGeom>
              <a:avLst/>
              <a:gdLst>
                <a:gd name="connsiteX0" fmla="*/ 309031 w 463158"/>
                <a:gd name="connsiteY0" fmla="*/ 129504 h 266699"/>
                <a:gd name="connsiteX1" fmla="*/ 414332 w 463158"/>
                <a:gd name="connsiteY1" fmla="*/ 3973 h 266699"/>
                <a:gd name="connsiteX2" fmla="*/ 309031 w 463158"/>
                <a:gd name="connsiteY2" fmla="*/ -3846 h 266699"/>
                <a:gd name="connsiteX3" fmla="*/ -3008 w 463158"/>
                <a:gd name="connsiteY3" fmla="*/ 129504 h 266699"/>
                <a:gd name="connsiteX4" fmla="*/ 309031 w 463158"/>
                <a:gd name="connsiteY4" fmla="*/ 262854 h 266699"/>
                <a:gd name="connsiteX5" fmla="*/ 460151 w 463158"/>
                <a:gd name="connsiteY5" fmla="*/ 246167 h 266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3158" h="266699">
                  <a:moveTo>
                    <a:pt x="309031" y="129504"/>
                  </a:moveTo>
                  <a:lnTo>
                    <a:pt x="414332" y="3973"/>
                  </a:lnTo>
                  <a:cubicBezTo>
                    <a:pt x="380545" y="-1201"/>
                    <a:pt x="344921" y="-3846"/>
                    <a:pt x="309031" y="-3846"/>
                  </a:cubicBezTo>
                  <a:cubicBezTo>
                    <a:pt x="137848" y="-3846"/>
                    <a:pt x="-3008" y="56345"/>
                    <a:pt x="-3008" y="129504"/>
                  </a:cubicBezTo>
                  <a:cubicBezTo>
                    <a:pt x="-3008" y="202656"/>
                    <a:pt x="137848" y="262854"/>
                    <a:pt x="309031" y="262854"/>
                  </a:cubicBezTo>
                  <a:cubicBezTo>
                    <a:pt x="361899" y="262854"/>
                    <a:pt x="413905" y="257109"/>
                    <a:pt x="460151" y="246167"/>
                  </a:cubicBezTo>
                  <a:close/>
                </a:path>
              </a:pathLst>
            </a:custGeom>
            <a:noFill/>
            <a:ln w="247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3" name="Freeform: Shape 472">
              <a:extLst>
                <a:ext uri="{FF2B5EF4-FFF2-40B4-BE49-F238E27FC236}">
                  <a16:creationId xmlns:a16="http://schemas.microsoft.com/office/drawing/2014/main" id="{6F925E6F-8056-98A5-4B0C-3FAEA33BE130}"/>
                </a:ext>
              </a:extLst>
            </p:cNvPr>
            <p:cNvSpPr/>
            <p:nvPr/>
          </p:nvSpPr>
          <p:spPr>
            <a:xfrm flipV="1">
              <a:off x="4401424" y="4574630"/>
              <a:ext cx="277996" cy="112444"/>
            </a:xfrm>
            <a:custGeom>
              <a:avLst/>
              <a:gdLst>
                <a:gd name="connsiteX0" fmla="*/ 309057 w 417339"/>
                <a:gd name="connsiteY0" fmla="*/ 129577 h 168806"/>
                <a:gd name="connsiteX1" fmla="*/ 414358 w 417339"/>
                <a:gd name="connsiteY1" fmla="*/ 4046 h 168806"/>
                <a:gd name="connsiteX2" fmla="*/ 309057 w 417339"/>
                <a:gd name="connsiteY2" fmla="*/ -3773 h 168806"/>
                <a:gd name="connsiteX3" fmla="*/ -2982 w 417339"/>
                <a:gd name="connsiteY3" fmla="*/ 129577 h 168806"/>
                <a:gd name="connsiteX4" fmla="*/ 8258 w 417339"/>
                <a:gd name="connsiteY4" fmla="*/ 165033 h 168806"/>
                <a:gd name="connsiteX5" fmla="*/ 309057 w 417339"/>
                <a:gd name="connsiteY5" fmla="*/ 129577 h 1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339" h="168806">
                  <a:moveTo>
                    <a:pt x="309057" y="129577"/>
                  </a:moveTo>
                  <a:lnTo>
                    <a:pt x="414358" y="4046"/>
                  </a:lnTo>
                  <a:cubicBezTo>
                    <a:pt x="380571" y="-1129"/>
                    <a:pt x="344947" y="-3773"/>
                    <a:pt x="309057" y="-3773"/>
                  </a:cubicBezTo>
                  <a:cubicBezTo>
                    <a:pt x="137874" y="-3773"/>
                    <a:pt x="-2982" y="56418"/>
                    <a:pt x="-2982" y="129577"/>
                  </a:cubicBezTo>
                  <a:cubicBezTo>
                    <a:pt x="-2982" y="141556"/>
                    <a:pt x="798" y="153481"/>
                    <a:pt x="8258" y="165033"/>
                  </a:cubicBezTo>
                  <a:lnTo>
                    <a:pt x="309057" y="129577"/>
                  </a:lnTo>
                </a:path>
              </a:pathLst>
            </a:custGeom>
            <a:solidFill>
              <a:srgbClr val="4DA5C3"/>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4" name="Freeform: Shape 473">
              <a:extLst>
                <a:ext uri="{FF2B5EF4-FFF2-40B4-BE49-F238E27FC236}">
                  <a16:creationId xmlns:a16="http://schemas.microsoft.com/office/drawing/2014/main" id="{0B0E0BAE-8185-1BB5-63DF-EBE63E6900BC}"/>
                </a:ext>
              </a:extLst>
            </p:cNvPr>
            <p:cNvSpPr/>
            <p:nvPr/>
          </p:nvSpPr>
          <p:spPr>
            <a:xfrm flipV="1">
              <a:off x="4401424" y="4574630"/>
              <a:ext cx="277996" cy="112444"/>
            </a:xfrm>
            <a:custGeom>
              <a:avLst/>
              <a:gdLst>
                <a:gd name="connsiteX0" fmla="*/ 309057 w 417339"/>
                <a:gd name="connsiteY0" fmla="*/ 129577 h 168806"/>
                <a:gd name="connsiteX1" fmla="*/ 414358 w 417339"/>
                <a:gd name="connsiteY1" fmla="*/ 4046 h 168806"/>
                <a:gd name="connsiteX2" fmla="*/ 309057 w 417339"/>
                <a:gd name="connsiteY2" fmla="*/ -3773 h 168806"/>
                <a:gd name="connsiteX3" fmla="*/ -2982 w 417339"/>
                <a:gd name="connsiteY3" fmla="*/ 129577 h 168806"/>
                <a:gd name="connsiteX4" fmla="*/ 8258 w 417339"/>
                <a:gd name="connsiteY4" fmla="*/ 165033 h 168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339" h="168806">
                  <a:moveTo>
                    <a:pt x="309057" y="129577"/>
                  </a:moveTo>
                  <a:lnTo>
                    <a:pt x="414358" y="4046"/>
                  </a:lnTo>
                  <a:cubicBezTo>
                    <a:pt x="380571" y="-1129"/>
                    <a:pt x="344947" y="-3773"/>
                    <a:pt x="309057" y="-3773"/>
                  </a:cubicBezTo>
                  <a:cubicBezTo>
                    <a:pt x="137874" y="-3773"/>
                    <a:pt x="-2982" y="56418"/>
                    <a:pt x="-2982" y="129577"/>
                  </a:cubicBezTo>
                  <a:cubicBezTo>
                    <a:pt x="-2982" y="141556"/>
                    <a:pt x="798" y="153481"/>
                    <a:pt x="8258" y="165033"/>
                  </a:cubicBezTo>
                  <a:close/>
                </a:path>
              </a:pathLst>
            </a:custGeom>
            <a:noFill/>
            <a:ln w="247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5" name="Freeform: Shape 474">
              <a:extLst>
                <a:ext uri="{FF2B5EF4-FFF2-40B4-BE49-F238E27FC236}">
                  <a16:creationId xmlns:a16="http://schemas.microsoft.com/office/drawing/2014/main" id="{395FA49A-FCB4-85AD-3510-88CD14B51BDD}"/>
                </a:ext>
              </a:extLst>
            </p:cNvPr>
            <p:cNvSpPr/>
            <p:nvPr/>
          </p:nvSpPr>
          <p:spPr>
            <a:xfrm flipV="1">
              <a:off x="4505935" y="4598248"/>
              <a:ext cx="173485" cy="88826"/>
            </a:xfrm>
            <a:custGeom>
              <a:avLst/>
              <a:gdLst>
                <a:gd name="connsiteX0" fmla="*/ 152072 w 260443"/>
                <a:gd name="connsiteY0" fmla="*/ 129604 h 133349"/>
                <a:gd name="connsiteX1" fmla="*/ 257373 w 260443"/>
                <a:gd name="connsiteY1" fmla="*/ 4072 h 133349"/>
                <a:gd name="connsiteX2" fmla="*/ 152072 w 260443"/>
                <a:gd name="connsiteY2" fmla="*/ -3746 h 133349"/>
                <a:gd name="connsiteX3" fmla="*/ -3071 w 260443"/>
                <a:gd name="connsiteY3" fmla="*/ 13902 h 133349"/>
                <a:gd name="connsiteX4" fmla="*/ 152072 w 260443"/>
                <a:gd name="connsiteY4" fmla="*/ 129604 h 133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443" h="133349">
                  <a:moveTo>
                    <a:pt x="152072" y="129604"/>
                  </a:moveTo>
                  <a:lnTo>
                    <a:pt x="257373" y="4072"/>
                  </a:lnTo>
                  <a:cubicBezTo>
                    <a:pt x="223586" y="-1102"/>
                    <a:pt x="187962" y="-3746"/>
                    <a:pt x="152072" y="-3746"/>
                  </a:cubicBezTo>
                  <a:cubicBezTo>
                    <a:pt x="97650" y="-3746"/>
                    <a:pt x="44150" y="2335"/>
                    <a:pt x="-3071" y="13902"/>
                  </a:cubicBezTo>
                  <a:lnTo>
                    <a:pt x="152072" y="129604"/>
                  </a:lnTo>
                </a:path>
              </a:pathLst>
            </a:custGeom>
            <a:solidFill>
              <a:srgbClr val="803DA2"/>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6" name="Freeform: Shape 475">
              <a:extLst>
                <a:ext uri="{FF2B5EF4-FFF2-40B4-BE49-F238E27FC236}">
                  <a16:creationId xmlns:a16="http://schemas.microsoft.com/office/drawing/2014/main" id="{AF639177-2699-FC83-F73A-2443DEB6CF19}"/>
                </a:ext>
              </a:extLst>
            </p:cNvPr>
            <p:cNvSpPr/>
            <p:nvPr/>
          </p:nvSpPr>
          <p:spPr>
            <a:xfrm flipV="1">
              <a:off x="4505935" y="4598248"/>
              <a:ext cx="173485" cy="88826"/>
            </a:xfrm>
            <a:custGeom>
              <a:avLst/>
              <a:gdLst>
                <a:gd name="connsiteX0" fmla="*/ 152072 w 260443"/>
                <a:gd name="connsiteY0" fmla="*/ 129604 h 133349"/>
                <a:gd name="connsiteX1" fmla="*/ 257373 w 260443"/>
                <a:gd name="connsiteY1" fmla="*/ 4072 h 133349"/>
                <a:gd name="connsiteX2" fmla="*/ 152072 w 260443"/>
                <a:gd name="connsiteY2" fmla="*/ -3746 h 133349"/>
                <a:gd name="connsiteX3" fmla="*/ -3071 w 260443"/>
                <a:gd name="connsiteY3" fmla="*/ 13902 h 133349"/>
              </a:gdLst>
              <a:ahLst/>
              <a:cxnLst>
                <a:cxn ang="0">
                  <a:pos x="connsiteX0" y="connsiteY0"/>
                </a:cxn>
                <a:cxn ang="0">
                  <a:pos x="connsiteX1" y="connsiteY1"/>
                </a:cxn>
                <a:cxn ang="0">
                  <a:pos x="connsiteX2" y="connsiteY2"/>
                </a:cxn>
                <a:cxn ang="0">
                  <a:pos x="connsiteX3" y="connsiteY3"/>
                </a:cxn>
              </a:cxnLst>
              <a:rect l="l" t="t" r="r" b="b"/>
              <a:pathLst>
                <a:path w="260443" h="133349">
                  <a:moveTo>
                    <a:pt x="152072" y="129604"/>
                  </a:moveTo>
                  <a:lnTo>
                    <a:pt x="257373" y="4072"/>
                  </a:lnTo>
                  <a:cubicBezTo>
                    <a:pt x="223586" y="-1102"/>
                    <a:pt x="187962" y="-3746"/>
                    <a:pt x="152072" y="-3746"/>
                  </a:cubicBezTo>
                  <a:cubicBezTo>
                    <a:pt x="97650" y="-3746"/>
                    <a:pt x="44150" y="2335"/>
                    <a:pt x="-3071" y="13902"/>
                  </a:cubicBezTo>
                  <a:close/>
                </a:path>
              </a:pathLst>
            </a:custGeom>
            <a:solidFill>
              <a:srgbClr val="4DA5C3">
                <a:lumMod val="50000"/>
              </a:srgbClr>
            </a:solidFill>
            <a:ln w="247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7" name="Freeform: Shape 476">
              <a:extLst>
                <a:ext uri="{FF2B5EF4-FFF2-40B4-BE49-F238E27FC236}">
                  <a16:creationId xmlns:a16="http://schemas.microsoft.com/office/drawing/2014/main" id="{BE6359E1-2E65-EA31-BA0B-DE8FFDAAB3EB}"/>
                </a:ext>
              </a:extLst>
            </p:cNvPr>
            <p:cNvSpPr/>
            <p:nvPr/>
          </p:nvSpPr>
          <p:spPr>
            <a:xfrm flipV="1">
              <a:off x="5403790" y="5343326"/>
              <a:ext cx="465522" cy="220533"/>
            </a:xfrm>
            <a:custGeom>
              <a:avLst/>
              <a:gdLst>
                <a:gd name="connsiteX0" fmla="*/ 668336 w 698860"/>
                <a:gd name="connsiteY0" fmla="*/ -1936 h 331073"/>
                <a:gd name="connsiteX1" fmla="*/ 667566 w 698860"/>
                <a:gd name="connsiteY1" fmla="*/ -1936 h 331073"/>
                <a:gd name="connsiteX2" fmla="*/ 307635 w 698860"/>
                <a:gd name="connsiteY2" fmla="*/ 967 h 331073"/>
                <a:gd name="connsiteX3" fmla="*/ 233378 w 698860"/>
                <a:gd name="connsiteY3" fmla="*/ 82273 h 331073"/>
                <a:gd name="connsiteX4" fmla="*/ 239581 w 698860"/>
                <a:gd name="connsiteY4" fmla="*/ 82220 h 331073"/>
                <a:gd name="connsiteX5" fmla="*/ 239764 w 698860"/>
                <a:gd name="connsiteY5" fmla="*/ 82220 h 331073"/>
                <a:gd name="connsiteX6" fmla="*/ 262616 w 698860"/>
                <a:gd name="connsiteY6" fmla="*/ 104897 h 331073"/>
                <a:gd name="connsiteX7" fmla="*/ 263127 w 698860"/>
                <a:gd name="connsiteY7" fmla="*/ 167914 h 331073"/>
                <a:gd name="connsiteX8" fmla="*/ 240457 w 698860"/>
                <a:gd name="connsiteY8" fmla="*/ 190957 h 331073"/>
                <a:gd name="connsiteX9" fmla="*/ 86869 w 698860"/>
                <a:gd name="connsiteY9" fmla="*/ 192199 h 331073"/>
                <a:gd name="connsiteX10" fmla="*/ 63925 w 698860"/>
                <a:gd name="connsiteY10" fmla="*/ 204528 h 331073"/>
                <a:gd name="connsiteX11" fmla="*/ 40691 w 698860"/>
                <a:gd name="connsiteY11" fmla="*/ 239222 h 331073"/>
                <a:gd name="connsiteX12" fmla="*/ 43457 w 698860"/>
                <a:gd name="connsiteY12" fmla="*/ 249905 h 331073"/>
                <a:gd name="connsiteX13" fmla="*/ 43694 w 698860"/>
                <a:gd name="connsiteY13" fmla="*/ 278648 h 331073"/>
                <a:gd name="connsiteX14" fmla="*/ 46475 w 698860"/>
                <a:gd name="connsiteY14" fmla="*/ 284995 h 331073"/>
                <a:gd name="connsiteX15" fmla="*/ 80651 w 698860"/>
                <a:gd name="connsiteY15" fmla="*/ 306613 h 331073"/>
                <a:gd name="connsiteX16" fmla="*/ 95327 w 698860"/>
                <a:gd name="connsiteY16" fmla="*/ 304533 h 331073"/>
                <a:gd name="connsiteX17" fmla="*/ 94885 w 698860"/>
                <a:gd name="connsiteY17" fmla="*/ 249486 h 331073"/>
                <a:gd name="connsiteX18" fmla="*/ 117562 w 698860"/>
                <a:gd name="connsiteY18" fmla="*/ 226443 h 331073"/>
                <a:gd name="connsiteX19" fmla="*/ 227290 w 698860"/>
                <a:gd name="connsiteY19" fmla="*/ 225559 h 331073"/>
                <a:gd name="connsiteX20" fmla="*/ 310356 w 698860"/>
                <a:gd name="connsiteY20" fmla="*/ 154129 h 331073"/>
                <a:gd name="connsiteX21" fmla="*/ 309952 w 698860"/>
                <a:gd name="connsiteY21" fmla="*/ 103777 h 331073"/>
                <a:gd name="connsiteX22" fmla="*/ 332629 w 698860"/>
                <a:gd name="connsiteY22" fmla="*/ 80726 h 331073"/>
                <a:gd name="connsiteX23" fmla="*/ 378516 w 698860"/>
                <a:gd name="connsiteY23" fmla="*/ 80360 h 331073"/>
                <a:gd name="connsiteX24" fmla="*/ 436383 w 698860"/>
                <a:gd name="connsiteY24" fmla="*/ 4800 h 331073"/>
                <a:gd name="connsiteX25" fmla="*/ 443248 w 698860"/>
                <a:gd name="connsiteY25" fmla="*/ 2758 h 331073"/>
                <a:gd name="connsiteX26" fmla="*/ 452034 w 698860"/>
                <a:gd name="connsiteY26" fmla="*/ 8915 h 331073"/>
                <a:gd name="connsiteX27" fmla="*/ 401704 w 698860"/>
                <a:gd name="connsiteY27" fmla="*/ 80170 h 331073"/>
                <a:gd name="connsiteX28" fmla="*/ 451486 w 698860"/>
                <a:gd name="connsiteY28" fmla="*/ 79766 h 331073"/>
                <a:gd name="connsiteX29" fmla="*/ 451668 w 698860"/>
                <a:gd name="connsiteY29" fmla="*/ 79766 h 331073"/>
                <a:gd name="connsiteX30" fmla="*/ 474528 w 698860"/>
                <a:gd name="connsiteY30" fmla="*/ 102451 h 331073"/>
                <a:gd name="connsiteX31" fmla="*/ 474963 w 698860"/>
                <a:gd name="connsiteY31" fmla="*/ 156050 h 331073"/>
                <a:gd name="connsiteX32" fmla="*/ 536784 w 698860"/>
                <a:gd name="connsiteY32" fmla="*/ 71224 h 331073"/>
                <a:gd name="connsiteX33" fmla="*/ 543451 w 698860"/>
                <a:gd name="connsiteY33" fmla="*/ 68298 h 331073"/>
                <a:gd name="connsiteX34" fmla="*/ 549380 w 698860"/>
                <a:gd name="connsiteY34" fmla="*/ 75926 h 331073"/>
                <a:gd name="connsiteX35" fmla="*/ 547338 w 698860"/>
                <a:gd name="connsiteY35" fmla="*/ 80749 h 331073"/>
                <a:gd name="connsiteX36" fmla="*/ 550797 w 698860"/>
                <a:gd name="connsiteY36" fmla="*/ 80452 h 331073"/>
                <a:gd name="connsiteX37" fmla="*/ 648470 w 698860"/>
                <a:gd name="connsiteY37" fmla="*/ 79667 h 331073"/>
                <a:gd name="connsiteX38" fmla="*/ 648600 w 698860"/>
                <a:gd name="connsiteY38" fmla="*/ 79324 h 331073"/>
                <a:gd name="connsiteX39" fmla="*/ 694007 w 698860"/>
                <a:gd name="connsiteY39" fmla="*/ 1646 h 331073"/>
                <a:gd name="connsiteX40" fmla="*/ 668336 w 698860"/>
                <a:gd name="connsiteY40" fmla="*/ -1936 h 331073"/>
                <a:gd name="connsiteX41" fmla="*/ 284280 w 698860"/>
                <a:gd name="connsiteY41" fmla="*/ 1150 h 331073"/>
                <a:gd name="connsiteX42" fmla="*/ 142319 w 698860"/>
                <a:gd name="connsiteY42" fmla="*/ 2293 h 331073"/>
                <a:gd name="connsiteX43" fmla="*/ 45408 w 698860"/>
                <a:gd name="connsiteY43" fmla="*/ 83782 h 331073"/>
                <a:gd name="connsiteX44" fmla="*/ 210663 w 698860"/>
                <a:gd name="connsiteY44" fmla="*/ 82456 h 331073"/>
                <a:gd name="connsiteX45" fmla="*/ 284280 w 698860"/>
                <a:gd name="connsiteY45" fmla="*/ 1150 h 331073"/>
                <a:gd name="connsiteX46" fmla="*/ 528265 w 698860"/>
                <a:gd name="connsiteY46" fmla="*/ 120495 h 331073"/>
                <a:gd name="connsiteX47" fmla="*/ 498653 w 698860"/>
                <a:gd name="connsiteY47" fmla="*/ 165087 h 331073"/>
                <a:gd name="connsiteX48" fmla="*/ 425715 w 698860"/>
                <a:gd name="connsiteY48" fmla="*/ 223959 h 331073"/>
                <a:gd name="connsiteX49" fmla="*/ 452423 w 698860"/>
                <a:gd name="connsiteY49" fmla="*/ 223746 h 331073"/>
                <a:gd name="connsiteX50" fmla="*/ 452613 w 698860"/>
                <a:gd name="connsiteY50" fmla="*/ 223746 h 331073"/>
                <a:gd name="connsiteX51" fmla="*/ 457429 w 698860"/>
                <a:gd name="connsiteY51" fmla="*/ 224264 h 331073"/>
                <a:gd name="connsiteX52" fmla="*/ 544587 w 698860"/>
                <a:gd name="connsiteY52" fmla="*/ 223563 h 331073"/>
                <a:gd name="connsiteX53" fmla="*/ 549578 w 698860"/>
                <a:gd name="connsiteY53" fmla="*/ 222969 h 331073"/>
                <a:gd name="connsiteX54" fmla="*/ 572232 w 698860"/>
                <a:gd name="connsiteY54" fmla="*/ 222786 h 331073"/>
                <a:gd name="connsiteX55" fmla="*/ 596479 w 698860"/>
                <a:gd name="connsiteY55" fmla="*/ 188831 h 331073"/>
                <a:gd name="connsiteX56" fmla="*/ 551681 w 698860"/>
                <a:gd name="connsiteY56" fmla="*/ 189189 h 331073"/>
                <a:gd name="connsiteX57" fmla="*/ 551483 w 698860"/>
                <a:gd name="connsiteY57" fmla="*/ 189197 h 331073"/>
                <a:gd name="connsiteX58" fmla="*/ 528630 w 698860"/>
                <a:gd name="connsiteY58" fmla="*/ 166520 h 331073"/>
                <a:gd name="connsiteX59" fmla="*/ 528265 w 698860"/>
                <a:gd name="connsiteY59" fmla="*/ 120495 h 331073"/>
                <a:gd name="connsiteX60" fmla="*/ 311735 w 698860"/>
                <a:gd name="connsiteY60" fmla="*/ 174117 h 331073"/>
                <a:gd name="connsiteX61" fmla="*/ 232822 w 698860"/>
                <a:gd name="connsiteY61" fmla="*/ 225514 h 331073"/>
                <a:gd name="connsiteX62" fmla="*/ 236426 w 698860"/>
                <a:gd name="connsiteY62" fmla="*/ 225491 h 331073"/>
                <a:gd name="connsiteX63" fmla="*/ 236602 w 698860"/>
                <a:gd name="connsiteY63" fmla="*/ 225491 h 331073"/>
                <a:gd name="connsiteX64" fmla="*/ 259462 w 698860"/>
                <a:gd name="connsiteY64" fmla="*/ 248160 h 331073"/>
                <a:gd name="connsiteX65" fmla="*/ 260033 w 698860"/>
                <a:gd name="connsiteY65" fmla="*/ 318615 h 331073"/>
                <a:gd name="connsiteX66" fmla="*/ 257541 w 698860"/>
                <a:gd name="connsiteY66" fmla="*/ 329138 h 331073"/>
                <a:gd name="connsiteX67" fmla="*/ 311331 w 698860"/>
                <a:gd name="connsiteY67" fmla="*/ 302338 h 331073"/>
                <a:gd name="connsiteX68" fmla="*/ 310897 w 698860"/>
                <a:gd name="connsiteY68" fmla="*/ 247749 h 331073"/>
                <a:gd name="connsiteX69" fmla="*/ 311232 w 698860"/>
                <a:gd name="connsiteY69" fmla="*/ 243664 h 331073"/>
                <a:gd name="connsiteX70" fmla="*/ 311079 w 698860"/>
                <a:gd name="connsiteY70" fmla="*/ 225438 h 331073"/>
                <a:gd name="connsiteX71" fmla="*/ 328583 w 698860"/>
                <a:gd name="connsiteY71" fmla="*/ 225300 h 331073"/>
                <a:gd name="connsiteX72" fmla="*/ 333566 w 698860"/>
                <a:gd name="connsiteY72" fmla="*/ 224706 h 331073"/>
                <a:gd name="connsiteX73" fmla="*/ 412083 w 698860"/>
                <a:gd name="connsiteY73" fmla="*/ 224073 h 331073"/>
                <a:gd name="connsiteX74" fmla="*/ 446738 w 698860"/>
                <a:gd name="connsiteY74" fmla="*/ 188549 h 331073"/>
                <a:gd name="connsiteX75" fmla="*/ 333505 w 698860"/>
                <a:gd name="connsiteY75" fmla="*/ 189471 h 331073"/>
                <a:gd name="connsiteX76" fmla="*/ 333322 w 698860"/>
                <a:gd name="connsiteY76" fmla="*/ 189471 h 331073"/>
                <a:gd name="connsiteX77" fmla="*/ 311735 w 698860"/>
                <a:gd name="connsiteY77" fmla="*/ 174117 h 331073"/>
                <a:gd name="connsiteX78" fmla="*/ 72825 w 698860"/>
                <a:gd name="connsiteY78" fmla="*/ 192313 h 331073"/>
                <a:gd name="connsiteX79" fmla="*/ -4853 w 698860"/>
                <a:gd name="connsiteY79" fmla="*/ 192938 h 331073"/>
                <a:gd name="connsiteX80" fmla="*/ 32431 w 698860"/>
                <a:gd name="connsiteY80" fmla="*/ 208445 h 331073"/>
                <a:gd name="connsiteX81" fmla="*/ 60641 w 698860"/>
                <a:gd name="connsiteY81" fmla="*/ 200177 h 331073"/>
                <a:gd name="connsiteX82" fmla="*/ 72825 w 698860"/>
                <a:gd name="connsiteY82" fmla="*/ 192313 h 331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698860" h="331073">
                  <a:moveTo>
                    <a:pt x="668336" y="-1936"/>
                  </a:moveTo>
                  <a:cubicBezTo>
                    <a:pt x="668076" y="-1936"/>
                    <a:pt x="667817" y="-1936"/>
                    <a:pt x="667566" y="-1936"/>
                  </a:cubicBezTo>
                  <a:lnTo>
                    <a:pt x="307635" y="967"/>
                  </a:lnTo>
                  <a:cubicBezTo>
                    <a:pt x="283747" y="30487"/>
                    <a:pt x="259004" y="57576"/>
                    <a:pt x="233378" y="82273"/>
                  </a:cubicBezTo>
                  <a:lnTo>
                    <a:pt x="239581" y="82220"/>
                  </a:lnTo>
                  <a:cubicBezTo>
                    <a:pt x="239642" y="82220"/>
                    <a:pt x="239703" y="82220"/>
                    <a:pt x="239764" y="82220"/>
                  </a:cubicBezTo>
                  <a:cubicBezTo>
                    <a:pt x="252245" y="82220"/>
                    <a:pt x="262517" y="92385"/>
                    <a:pt x="262616" y="104897"/>
                  </a:cubicBezTo>
                  <a:lnTo>
                    <a:pt x="263127" y="167914"/>
                  </a:lnTo>
                  <a:cubicBezTo>
                    <a:pt x="263226" y="180487"/>
                    <a:pt x="253023" y="190858"/>
                    <a:pt x="240457" y="190957"/>
                  </a:cubicBezTo>
                  <a:lnTo>
                    <a:pt x="86869" y="192199"/>
                  </a:lnTo>
                  <a:cubicBezTo>
                    <a:pt x="79294" y="196459"/>
                    <a:pt x="71644" y="200573"/>
                    <a:pt x="63925" y="204528"/>
                  </a:cubicBezTo>
                  <a:cubicBezTo>
                    <a:pt x="51237" y="211036"/>
                    <a:pt x="43610" y="224325"/>
                    <a:pt x="40691" y="239222"/>
                  </a:cubicBezTo>
                  <a:cubicBezTo>
                    <a:pt x="42429" y="242407"/>
                    <a:pt x="43427" y="246042"/>
                    <a:pt x="43457" y="249905"/>
                  </a:cubicBezTo>
                  <a:lnTo>
                    <a:pt x="43694" y="278648"/>
                  </a:lnTo>
                  <a:cubicBezTo>
                    <a:pt x="44509" y="280850"/>
                    <a:pt x="45431" y="282969"/>
                    <a:pt x="46475" y="284995"/>
                  </a:cubicBezTo>
                  <a:cubicBezTo>
                    <a:pt x="54232" y="300197"/>
                    <a:pt x="66554" y="306613"/>
                    <a:pt x="80651" y="306613"/>
                  </a:cubicBezTo>
                  <a:cubicBezTo>
                    <a:pt x="85375" y="306613"/>
                    <a:pt x="90305" y="305890"/>
                    <a:pt x="95327" y="304533"/>
                  </a:cubicBezTo>
                  <a:lnTo>
                    <a:pt x="94885" y="249486"/>
                  </a:lnTo>
                  <a:cubicBezTo>
                    <a:pt x="94786" y="236913"/>
                    <a:pt x="104989" y="226542"/>
                    <a:pt x="117562" y="226443"/>
                  </a:cubicBezTo>
                  <a:lnTo>
                    <a:pt x="227290" y="225559"/>
                  </a:lnTo>
                  <a:cubicBezTo>
                    <a:pt x="255972" y="203964"/>
                    <a:pt x="283640" y="180175"/>
                    <a:pt x="310356" y="154129"/>
                  </a:cubicBezTo>
                  <a:lnTo>
                    <a:pt x="309952" y="103777"/>
                  </a:lnTo>
                  <a:cubicBezTo>
                    <a:pt x="309845" y="91204"/>
                    <a:pt x="320056" y="80833"/>
                    <a:pt x="332629" y="80726"/>
                  </a:cubicBezTo>
                  <a:lnTo>
                    <a:pt x="378516" y="80360"/>
                  </a:lnTo>
                  <a:cubicBezTo>
                    <a:pt x="398351" y="56616"/>
                    <a:pt x="417630" y="31440"/>
                    <a:pt x="436383" y="4800"/>
                  </a:cubicBezTo>
                  <a:cubicBezTo>
                    <a:pt x="438920" y="3353"/>
                    <a:pt x="441229" y="2758"/>
                    <a:pt x="443248" y="2758"/>
                  </a:cubicBezTo>
                  <a:cubicBezTo>
                    <a:pt x="447820" y="2758"/>
                    <a:pt x="450937" y="5799"/>
                    <a:pt x="452034" y="8915"/>
                  </a:cubicBezTo>
                  <a:cubicBezTo>
                    <a:pt x="437808" y="31630"/>
                    <a:pt x="420830" y="56014"/>
                    <a:pt x="401704" y="80170"/>
                  </a:cubicBezTo>
                  <a:lnTo>
                    <a:pt x="451486" y="79766"/>
                  </a:lnTo>
                  <a:cubicBezTo>
                    <a:pt x="451547" y="79766"/>
                    <a:pt x="451607" y="79766"/>
                    <a:pt x="451668" y="79766"/>
                  </a:cubicBezTo>
                  <a:cubicBezTo>
                    <a:pt x="464158" y="79766"/>
                    <a:pt x="474429" y="89939"/>
                    <a:pt x="474528" y="102451"/>
                  </a:cubicBezTo>
                  <a:lnTo>
                    <a:pt x="474963" y="156050"/>
                  </a:lnTo>
                  <a:cubicBezTo>
                    <a:pt x="498219" y="127863"/>
                    <a:pt x="519037" y="98984"/>
                    <a:pt x="536784" y="71224"/>
                  </a:cubicBezTo>
                  <a:cubicBezTo>
                    <a:pt x="539550" y="69136"/>
                    <a:pt x="541729" y="68298"/>
                    <a:pt x="543451" y="68298"/>
                  </a:cubicBezTo>
                  <a:cubicBezTo>
                    <a:pt x="547208" y="68298"/>
                    <a:pt x="548755" y="72291"/>
                    <a:pt x="549380" y="75926"/>
                  </a:cubicBezTo>
                  <a:cubicBezTo>
                    <a:pt x="548702" y="77541"/>
                    <a:pt x="548023" y="79149"/>
                    <a:pt x="547338" y="80749"/>
                  </a:cubicBezTo>
                  <a:cubicBezTo>
                    <a:pt x="548465" y="80566"/>
                    <a:pt x="549624" y="80467"/>
                    <a:pt x="550797" y="80452"/>
                  </a:cubicBezTo>
                  <a:lnTo>
                    <a:pt x="648470" y="79667"/>
                  </a:lnTo>
                  <a:cubicBezTo>
                    <a:pt x="648516" y="79553"/>
                    <a:pt x="648562" y="79438"/>
                    <a:pt x="648600" y="79324"/>
                  </a:cubicBezTo>
                  <a:lnTo>
                    <a:pt x="694007" y="1646"/>
                  </a:lnTo>
                  <a:cubicBezTo>
                    <a:pt x="685846" y="-686"/>
                    <a:pt x="677236" y="-1936"/>
                    <a:pt x="668336" y="-1936"/>
                  </a:cubicBezTo>
                  <a:moveTo>
                    <a:pt x="284280" y="1150"/>
                  </a:moveTo>
                  <a:lnTo>
                    <a:pt x="142319" y="2293"/>
                  </a:lnTo>
                  <a:cubicBezTo>
                    <a:pt x="113828" y="30602"/>
                    <a:pt x="82198" y="57508"/>
                    <a:pt x="45408" y="83782"/>
                  </a:cubicBezTo>
                  <a:lnTo>
                    <a:pt x="210663" y="82456"/>
                  </a:lnTo>
                  <a:cubicBezTo>
                    <a:pt x="237425" y="56342"/>
                    <a:pt x="261572" y="29344"/>
                    <a:pt x="284280" y="1150"/>
                  </a:cubicBezTo>
                  <a:moveTo>
                    <a:pt x="528265" y="120495"/>
                  </a:moveTo>
                  <a:cubicBezTo>
                    <a:pt x="519601" y="136382"/>
                    <a:pt x="509946" y="151272"/>
                    <a:pt x="498653" y="165087"/>
                  </a:cubicBezTo>
                  <a:cubicBezTo>
                    <a:pt x="480099" y="187787"/>
                    <a:pt x="453040" y="207447"/>
                    <a:pt x="425715" y="223959"/>
                  </a:cubicBezTo>
                  <a:lnTo>
                    <a:pt x="452423" y="223746"/>
                  </a:lnTo>
                  <a:cubicBezTo>
                    <a:pt x="452484" y="223746"/>
                    <a:pt x="452545" y="223746"/>
                    <a:pt x="452613" y="223746"/>
                  </a:cubicBezTo>
                  <a:cubicBezTo>
                    <a:pt x="454259" y="223746"/>
                    <a:pt x="455875" y="223921"/>
                    <a:pt x="457429" y="224264"/>
                  </a:cubicBezTo>
                  <a:lnTo>
                    <a:pt x="544587" y="223563"/>
                  </a:lnTo>
                  <a:cubicBezTo>
                    <a:pt x="546195" y="223182"/>
                    <a:pt x="547863" y="222976"/>
                    <a:pt x="549578" y="222969"/>
                  </a:cubicBezTo>
                  <a:lnTo>
                    <a:pt x="572232" y="222786"/>
                  </a:lnTo>
                  <a:cubicBezTo>
                    <a:pt x="581117" y="211760"/>
                    <a:pt x="589141" y="200429"/>
                    <a:pt x="596479" y="188831"/>
                  </a:cubicBezTo>
                  <a:lnTo>
                    <a:pt x="551681" y="189189"/>
                  </a:lnTo>
                  <a:cubicBezTo>
                    <a:pt x="551612" y="189189"/>
                    <a:pt x="551551" y="189197"/>
                    <a:pt x="551483" y="189197"/>
                  </a:cubicBezTo>
                  <a:cubicBezTo>
                    <a:pt x="538994" y="189197"/>
                    <a:pt x="528737" y="179024"/>
                    <a:pt x="528630" y="166520"/>
                  </a:cubicBezTo>
                  <a:lnTo>
                    <a:pt x="528265" y="120495"/>
                  </a:lnTo>
                  <a:moveTo>
                    <a:pt x="311735" y="174117"/>
                  </a:moveTo>
                  <a:cubicBezTo>
                    <a:pt x="286642" y="195079"/>
                    <a:pt x="260109" y="212933"/>
                    <a:pt x="232822" y="225514"/>
                  </a:cubicBezTo>
                  <a:lnTo>
                    <a:pt x="236426" y="225491"/>
                  </a:lnTo>
                  <a:cubicBezTo>
                    <a:pt x="236480" y="225491"/>
                    <a:pt x="236548" y="225491"/>
                    <a:pt x="236602" y="225491"/>
                  </a:cubicBezTo>
                  <a:cubicBezTo>
                    <a:pt x="249091" y="225483"/>
                    <a:pt x="259363" y="235648"/>
                    <a:pt x="259462" y="248160"/>
                  </a:cubicBezTo>
                  <a:lnTo>
                    <a:pt x="260033" y="318615"/>
                  </a:lnTo>
                  <a:cubicBezTo>
                    <a:pt x="260064" y="322394"/>
                    <a:pt x="259164" y="325976"/>
                    <a:pt x="257541" y="329138"/>
                  </a:cubicBezTo>
                  <a:cubicBezTo>
                    <a:pt x="275791" y="321884"/>
                    <a:pt x="293759" y="312831"/>
                    <a:pt x="311331" y="302338"/>
                  </a:cubicBezTo>
                  <a:lnTo>
                    <a:pt x="310897" y="247749"/>
                  </a:lnTo>
                  <a:cubicBezTo>
                    <a:pt x="310881" y="246354"/>
                    <a:pt x="310996" y="244990"/>
                    <a:pt x="311232" y="243664"/>
                  </a:cubicBezTo>
                  <a:lnTo>
                    <a:pt x="311079" y="225438"/>
                  </a:lnTo>
                  <a:lnTo>
                    <a:pt x="328583" y="225300"/>
                  </a:lnTo>
                  <a:cubicBezTo>
                    <a:pt x="330190" y="224927"/>
                    <a:pt x="331859" y="224721"/>
                    <a:pt x="333566" y="224706"/>
                  </a:cubicBezTo>
                  <a:lnTo>
                    <a:pt x="412083" y="224073"/>
                  </a:lnTo>
                  <a:cubicBezTo>
                    <a:pt x="424031" y="212613"/>
                    <a:pt x="435598" y="200726"/>
                    <a:pt x="446738" y="188549"/>
                  </a:cubicBezTo>
                  <a:lnTo>
                    <a:pt x="333505" y="189471"/>
                  </a:lnTo>
                  <a:cubicBezTo>
                    <a:pt x="333444" y="189471"/>
                    <a:pt x="333383" y="189471"/>
                    <a:pt x="333322" y="189471"/>
                  </a:cubicBezTo>
                  <a:cubicBezTo>
                    <a:pt x="323386" y="189471"/>
                    <a:pt x="314859" y="183040"/>
                    <a:pt x="311735" y="174117"/>
                  </a:cubicBezTo>
                  <a:moveTo>
                    <a:pt x="72825" y="192313"/>
                  </a:moveTo>
                  <a:lnTo>
                    <a:pt x="-4853" y="192938"/>
                  </a:lnTo>
                  <a:cubicBezTo>
                    <a:pt x="5159" y="203035"/>
                    <a:pt x="18677" y="208445"/>
                    <a:pt x="32431" y="208445"/>
                  </a:cubicBezTo>
                  <a:cubicBezTo>
                    <a:pt x="42101" y="208445"/>
                    <a:pt x="51885" y="205770"/>
                    <a:pt x="60641" y="200177"/>
                  </a:cubicBezTo>
                  <a:cubicBezTo>
                    <a:pt x="64755" y="197556"/>
                    <a:pt x="68809" y="194942"/>
                    <a:pt x="72825" y="192313"/>
                  </a:cubicBezTo>
                </a:path>
              </a:pathLst>
            </a:custGeom>
            <a:solidFill>
              <a:srgbClr val="28282E"/>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8" name="Freeform: Shape 477">
              <a:extLst>
                <a:ext uri="{FF2B5EF4-FFF2-40B4-BE49-F238E27FC236}">
                  <a16:creationId xmlns:a16="http://schemas.microsoft.com/office/drawing/2014/main" id="{0B4555C2-DC44-C6A3-E14F-10C186BB9FD8}"/>
                </a:ext>
              </a:extLst>
            </p:cNvPr>
            <p:cNvSpPr/>
            <p:nvPr/>
          </p:nvSpPr>
          <p:spPr>
            <a:xfrm flipV="1">
              <a:off x="5769781" y="5413652"/>
              <a:ext cx="18415" cy="518"/>
            </a:xfrm>
            <a:custGeom>
              <a:avLst/>
              <a:gdLst>
                <a:gd name="connsiteX0" fmla="*/ 22549 w 27645"/>
                <a:gd name="connsiteY0" fmla="*/ -2024 h 777"/>
                <a:gd name="connsiteX1" fmla="*/ -105 w 27645"/>
                <a:gd name="connsiteY1" fmla="*/ -1842 h 777"/>
                <a:gd name="connsiteX2" fmla="*/ -5097 w 27645"/>
                <a:gd name="connsiteY2" fmla="*/ -1247 h 777"/>
                <a:gd name="connsiteX3" fmla="*/ 22100 w 27645"/>
                <a:gd name="connsiteY3" fmla="*/ -1468 h 777"/>
                <a:gd name="connsiteX4" fmla="*/ 22549 w 27645"/>
                <a:gd name="connsiteY4" fmla="*/ -2024 h 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45" h="777">
                  <a:moveTo>
                    <a:pt x="22549" y="-2024"/>
                  </a:moveTo>
                  <a:lnTo>
                    <a:pt x="-105" y="-1842"/>
                  </a:lnTo>
                  <a:cubicBezTo>
                    <a:pt x="-1820" y="-1834"/>
                    <a:pt x="-3488" y="-1628"/>
                    <a:pt x="-5097" y="-1247"/>
                  </a:cubicBezTo>
                  <a:lnTo>
                    <a:pt x="22100" y="-1468"/>
                  </a:lnTo>
                  <a:cubicBezTo>
                    <a:pt x="22244" y="-1659"/>
                    <a:pt x="22396" y="-1842"/>
                    <a:pt x="22549" y="-2024"/>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9" name="Freeform: Shape 478">
              <a:extLst>
                <a:ext uri="{FF2B5EF4-FFF2-40B4-BE49-F238E27FC236}">
                  <a16:creationId xmlns:a16="http://schemas.microsoft.com/office/drawing/2014/main" id="{823B376B-EE9E-AF1F-D238-378877A34C0D}"/>
                </a:ext>
              </a:extLst>
            </p:cNvPr>
            <p:cNvSpPr/>
            <p:nvPr/>
          </p:nvSpPr>
          <p:spPr>
            <a:xfrm flipV="1">
              <a:off x="5614115" y="5361178"/>
              <a:ext cx="97608" cy="52351"/>
            </a:xfrm>
            <a:custGeom>
              <a:avLst/>
              <a:gdLst>
                <a:gd name="connsiteX0" fmla="*/ 136820 w 146533"/>
                <a:gd name="connsiteY0" fmla="*/ -2084 h 78592"/>
                <a:gd name="connsiteX1" fmla="*/ 136629 w 146533"/>
                <a:gd name="connsiteY1" fmla="*/ -2084 h 78592"/>
                <a:gd name="connsiteX2" fmla="*/ 109921 w 146533"/>
                <a:gd name="connsiteY2" fmla="*/ -1870 h 78592"/>
                <a:gd name="connsiteX3" fmla="*/ 108991 w 146533"/>
                <a:gd name="connsiteY3" fmla="*/ -1306 h 78592"/>
                <a:gd name="connsiteX4" fmla="*/ 141635 w 146533"/>
                <a:gd name="connsiteY4" fmla="*/ -1566 h 78592"/>
                <a:gd name="connsiteX5" fmla="*/ 136820 w 146533"/>
                <a:gd name="connsiteY5" fmla="*/ -2084 h 78592"/>
                <a:gd name="connsiteX6" fmla="*/ 96289 w 146533"/>
                <a:gd name="connsiteY6" fmla="*/ -1756 h 78592"/>
                <a:gd name="connsiteX7" fmla="*/ 17772 w 146533"/>
                <a:gd name="connsiteY7" fmla="*/ -1124 h 78592"/>
                <a:gd name="connsiteX8" fmla="*/ 12789 w 146533"/>
                <a:gd name="connsiteY8" fmla="*/ -529 h 78592"/>
                <a:gd name="connsiteX9" fmla="*/ 95710 w 146533"/>
                <a:gd name="connsiteY9" fmla="*/ -1200 h 78592"/>
                <a:gd name="connsiteX10" fmla="*/ 96289 w 146533"/>
                <a:gd name="connsiteY10" fmla="*/ -1756 h 78592"/>
                <a:gd name="connsiteX11" fmla="*/ -4562 w 146533"/>
                <a:gd name="connsiteY11" fmla="*/ 17835 h 78592"/>
                <a:gd name="connsiteX12" fmla="*/ -4897 w 146533"/>
                <a:gd name="connsiteY12" fmla="*/ 21919 h 78592"/>
                <a:gd name="connsiteX13" fmla="*/ -4463 w 146533"/>
                <a:gd name="connsiteY13" fmla="*/ 76509 h 78592"/>
                <a:gd name="connsiteX14" fmla="*/ -4089 w 146533"/>
                <a:gd name="connsiteY14" fmla="*/ 76288 h 78592"/>
                <a:gd name="connsiteX15" fmla="*/ -4562 w 146533"/>
                <a:gd name="connsiteY15" fmla="*/ 17835 h 7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6533" h="78592">
                  <a:moveTo>
                    <a:pt x="136820" y="-2084"/>
                  </a:moveTo>
                  <a:cubicBezTo>
                    <a:pt x="136751" y="-2084"/>
                    <a:pt x="136690" y="-2084"/>
                    <a:pt x="136629" y="-2084"/>
                  </a:cubicBezTo>
                  <a:lnTo>
                    <a:pt x="109921" y="-1870"/>
                  </a:lnTo>
                  <a:cubicBezTo>
                    <a:pt x="109616" y="-1680"/>
                    <a:pt x="109304" y="-1489"/>
                    <a:pt x="108991" y="-1306"/>
                  </a:cubicBezTo>
                  <a:lnTo>
                    <a:pt x="141635" y="-1566"/>
                  </a:lnTo>
                  <a:cubicBezTo>
                    <a:pt x="140081" y="-1908"/>
                    <a:pt x="138466" y="-2084"/>
                    <a:pt x="136820" y="-2084"/>
                  </a:cubicBezTo>
                  <a:moveTo>
                    <a:pt x="96289" y="-1756"/>
                  </a:moveTo>
                  <a:lnTo>
                    <a:pt x="17772" y="-1124"/>
                  </a:lnTo>
                  <a:cubicBezTo>
                    <a:pt x="16065" y="-1108"/>
                    <a:pt x="14397" y="-903"/>
                    <a:pt x="12789" y="-529"/>
                  </a:cubicBezTo>
                  <a:lnTo>
                    <a:pt x="95710" y="-1200"/>
                  </a:lnTo>
                  <a:cubicBezTo>
                    <a:pt x="95900" y="-1383"/>
                    <a:pt x="96098" y="-1573"/>
                    <a:pt x="96289" y="-1756"/>
                  </a:cubicBezTo>
                  <a:moveTo>
                    <a:pt x="-4562" y="17835"/>
                  </a:moveTo>
                  <a:cubicBezTo>
                    <a:pt x="-4798" y="19161"/>
                    <a:pt x="-4912" y="20525"/>
                    <a:pt x="-4897" y="21919"/>
                  </a:cubicBezTo>
                  <a:lnTo>
                    <a:pt x="-4463" y="76509"/>
                  </a:lnTo>
                  <a:cubicBezTo>
                    <a:pt x="-4333" y="76433"/>
                    <a:pt x="-4211" y="76364"/>
                    <a:pt x="-4089" y="76288"/>
                  </a:cubicBezTo>
                  <a:lnTo>
                    <a:pt x="-4562" y="17835"/>
                  </a:ln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0" name="Freeform: Shape 479">
              <a:extLst>
                <a:ext uri="{FF2B5EF4-FFF2-40B4-BE49-F238E27FC236}">
                  <a16:creationId xmlns:a16="http://schemas.microsoft.com/office/drawing/2014/main" id="{573291C4-1BA3-BCA2-C479-44025A826108}"/>
                </a:ext>
              </a:extLst>
            </p:cNvPr>
            <p:cNvSpPr/>
            <p:nvPr/>
          </p:nvSpPr>
          <p:spPr>
            <a:xfrm flipV="1">
              <a:off x="5470227" y="5336778"/>
              <a:ext cx="110008" cy="75588"/>
            </a:xfrm>
            <a:custGeom>
              <a:avLst/>
              <a:gdLst>
                <a:gd name="connsiteX0" fmla="*/ 137054 w 165149"/>
                <a:gd name="connsiteY0" fmla="*/ -2112 h 113476"/>
                <a:gd name="connsiteX1" fmla="*/ 136879 w 165149"/>
                <a:gd name="connsiteY1" fmla="*/ -2112 h 113476"/>
                <a:gd name="connsiteX2" fmla="*/ 133275 w 165149"/>
                <a:gd name="connsiteY2" fmla="*/ -2089 h 113476"/>
                <a:gd name="connsiteX3" fmla="*/ 120382 w 165149"/>
                <a:gd name="connsiteY3" fmla="*/ 3443 h 113476"/>
                <a:gd name="connsiteX4" fmla="*/ 127742 w 165149"/>
                <a:gd name="connsiteY4" fmla="*/ -2044 h 113476"/>
                <a:gd name="connsiteX5" fmla="*/ 18014 w 165149"/>
                <a:gd name="connsiteY5" fmla="*/ -1160 h 113476"/>
                <a:gd name="connsiteX6" fmla="*/ -4663 w 165149"/>
                <a:gd name="connsiteY6" fmla="*/ 21883 h 113476"/>
                <a:gd name="connsiteX7" fmla="*/ -4221 w 165149"/>
                <a:gd name="connsiteY7" fmla="*/ 76930 h 113476"/>
                <a:gd name="connsiteX8" fmla="*/ 12307 w 165149"/>
                <a:gd name="connsiteY8" fmla="*/ 70423 h 113476"/>
                <a:gd name="connsiteX9" fmla="*/ 74943 w 165149"/>
                <a:gd name="connsiteY9" fmla="*/ 34449 h 113476"/>
                <a:gd name="connsiteX10" fmla="*/ 71438 w 165149"/>
                <a:gd name="connsiteY10" fmla="*/ 74690 h 113476"/>
                <a:gd name="connsiteX11" fmla="*/ 121540 w 165149"/>
                <a:gd name="connsiteY11" fmla="*/ 111365 h 113476"/>
                <a:gd name="connsiteX12" fmla="*/ 137427 w 165149"/>
                <a:gd name="connsiteY12" fmla="*/ 108904 h 113476"/>
                <a:gd name="connsiteX13" fmla="*/ 157994 w 165149"/>
                <a:gd name="connsiteY13" fmla="*/ 101535 h 113476"/>
                <a:gd name="connsiteX14" fmla="*/ 160486 w 165149"/>
                <a:gd name="connsiteY14" fmla="*/ 91012 h 113476"/>
                <a:gd name="connsiteX15" fmla="*/ 159914 w 165149"/>
                <a:gd name="connsiteY15" fmla="*/ 20557 h 113476"/>
                <a:gd name="connsiteX16" fmla="*/ 137054 w 165149"/>
                <a:gd name="connsiteY16" fmla="*/ -2112 h 11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5149" h="113476">
                  <a:moveTo>
                    <a:pt x="137054" y="-2112"/>
                  </a:moveTo>
                  <a:cubicBezTo>
                    <a:pt x="137001" y="-2112"/>
                    <a:pt x="136932" y="-2112"/>
                    <a:pt x="136879" y="-2112"/>
                  </a:cubicBezTo>
                  <a:lnTo>
                    <a:pt x="133275" y="-2089"/>
                  </a:lnTo>
                  <a:cubicBezTo>
                    <a:pt x="128992" y="-108"/>
                    <a:pt x="124694" y="1736"/>
                    <a:pt x="120382" y="3443"/>
                  </a:cubicBezTo>
                  <a:cubicBezTo>
                    <a:pt x="122843" y="1629"/>
                    <a:pt x="125296" y="-200"/>
                    <a:pt x="127742" y="-2044"/>
                  </a:cubicBezTo>
                  <a:lnTo>
                    <a:pt x="18014" y="-1160"/>
                  </a:lnTo>
                  <a:cubicBezTo>
                    <a:pt x="5441" y="-1061"/>
                    <a:pt x="-4762" y="9310"/>
                    <a:pt x="-4663" y="21883"/>
                  </a:cubicBezTo>
                  <a:lnTo>
                    <a:pt x="-4221" y="76930"/>
                  </a:lnTo>
                  <a:cubicBezTo>
                    <a:pt x="1220" y="75467"/>
                    <a:pt x="6775" y="73257"/>
                    <a:pt x="12307" y="70423"/>
                  </a:cubicBezTo>
                  <a:cubicBezTo>
                    <a:pt x="33712" y="59526"/>
                    <a:pt x="54522" y="47410"/>
                    <a:pt x="74943" y="34449"/>
                  </a:cubicBezTo>
                  <a:cubicBezTo>
                    <a:pt x="68687" y="46488"/>
                    <a:pt x="67019" y="60814"/>
                    <a:pt x="71438" y="74690"/>
                  </a:cubicBezTo>
                  <a:cubicBezTo>
                    <a:pt x="78525" y="97070"/>
                    <a:pt x="99236" y="111365"/>
                    <a:pt x="121540" y="111365"/>
                  </a:cubicBezTo>
                  <a:cubicBezTo>
                    <a:pt x="126798" y="111365"/>
                    <a:pt x="132147" y="110572"/>
                    <a:pt x="137427" y="108904"/>
                  </a:cubicBezTo>
                  <a:cubicBezTo>
                    <a:pt x="144324" y="106709"/>
                    <a:pt x="151174" y="104248"/>
                    <a:pt x="157994" y="101535"/>
                  </a:cubicBezTo>
                  <a:cubicBezTo>
                    <a:pt x="159617" y="98373"/>
                    <a:pt x="160516" y="94791"/>
                    <a:pt x="160486" y="91012"/>
                  </a:cubicBezTo>
                  <a:lnTo>
                    <a:pt x="159914" y="20557"/>
                  </a:lnTo>
                  <a:cubicBezTo>
                    <a:pt x="159815" y="8045"/>
                    <a:pt x="149543" y="-2120"/>
                    <a:pt x="137054" y="-2112"/>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1" name="Freeform: Shape 480">
              <a:extLst>
                <a:ext uri="{FF2B5EF4-FFF2-40B4-BE49-F238E27FC236}">
                  <a16:creationId xmlns:a16="http://schemas.microsoft.com/office/drawing/2014/main" id="{B307F6B7-E7FE-2E06-D81D-CFAB6C6A3DBE}"/>
                </a:ext>
              </a:extLst>
            </p:cNvPr>
            <p:cNvSpPr/>
            <p:nvPr/>
          </p:nvSpPr>
          <p:spPr>
            <a:xfrm flipV="1">
              <a:off x="5433224" y="5376959"/>
              <a:ext cx="2904" cy="26262"/>
            </a:xfrm>
            <a:custGeom>
              <a:avLst/>
              <a:gdLst>
                <a:gd name="connsiteX0" fmla="*/ -3151 w 4359"/>
                <a:gd name="connsiteY0" fmla="*/ -2078 h 39425"/>
                <a:gd name="connsiteX1" fmla="*/ -149 w 4359"/>
                <a:gd name="connsiteY1" fmla="*/ 37348 h 39425"/>
                <a:gd name="connsiteX2" fmla="*/ -385 w 4359"/>
                <a:gd name="connsiteY2" fmla="*/ 8605 h 39425"/>
                <a:gd name="connsiteX3" fmla="*/ -3151 w 4359"/>
                <a:gd name="connsiteY3" fmla="*/ -2078 h 39425"/>
              </a:gdLst>
              <a:ahLst/>
              <a:cxnLst>
                <a:cxn ang="0">
                  <a:pos x="connsiteX0" y="connsiteY0"/>
                </a:cxn>
                <a:cxn ang="0">
                  <a:pos x="connsiteX1" y="connsiteY1"/>
                </a:cxn>
                <a:cxn ang="0">
                  <a:pos x="connsiteX2" y="connsiteY2"/>
                </a:cxn>
                <a:cxn ang="0">
                  <a:pos x="connsiteX3" y="connsiteY3"/>
                </a:cxn>
              </a:cxnLst>
              <a:rect l="l" t="t" r="r" b="b"/>
              <a:pathLst>
                <a:path w="4359" h="39425">
                  <a:moveTo>
                    <a:pt x="-3151" y="-2078"/>
                  </a:moveTo>
                  <a:cubicBezTo>
                    <a:pt x="-5704" y="10991"/>
                    <a:pt x="-4630" y="25293"/>
                    <a:pt x="-149" y="37348"/>
                  </a:cubicBezTo>
                  <a:lnTo>
                    <a:pt x="-385" y="8605"/>
                  </a:lnTo>
                  <a:cubicBezTo>
                    <a:pt x="-416" y="4742"/>
                    <a:pt x="-1414" y="1108"/>
                    <a:pt x="-3151" y="-2078"/>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2" name="Freeform: Shape 481">
              <a:extLst>
                <a:ext uri="{FF2B5EF4-FFF2-40B4-BE49-F238E27FC236}">
                  <a16:creationId xmlns:a16="http://schemas.microsoft.com/office/drawing/2014/main" id="{F10974B2-D3C6-49F2-93EB-FD58B2ECA39A}"/>
                </a:ext>
              </a:extLst>
            </p:cNvPr>
            <p:cNvSpPr/>
            <p:nvPr/>
          </p:nvSpPr>
          <p:spPr>
            <a:xfrm flipV="1">
              <a:off x="5614238" y="5339215"/>
              <a:ext cx="173659" cy="74584"/>
            </a:xfrm>
            <a:custGeom>
              <a:avLst/>
              <a:gdLst>
                <a:gd name="connsiteX0" fmla="*/ 255740 w 260703"/>
                <a:gd name="connsiteY0" fmla="*/ -2108 h 111968"/>
                <a:gd name="connsiteX1" fmla="*/ 228544 w 260703"/>
                <a:gd name="connsiteY1" fmla="*/ -1887 h 111968"/>
                <a:gd name="connsiteX2" fmla="*/ 141386 w 260703"/>
                <a:gd name="connsiteY2" fmla="*/ -1186 h 111968"/>
                <a:gd name="connsiteX3" fmla="*/ 108742 w 260703"/>
                <a:gd name="connsiteY3" fmla="*/ -927 h 111968"/>
                <a:gd name="connsiteX4" fmla="*/ 74871 w 260703"/>
                <a:gd name="connsiteY4" fmla="*/ 18100 h 111968"/>
                <a:gd name="connsiteX5" fmla="*/ 95460 w 260703"/>
                <a:gd name="connsiteY5" fmla="*/ -820 h 111968"/>
                <a:gd name="connsiteX6" fmla="*/ 12540 w 260703"/>
                <a:gd name="connsiteY6" fmla="*/ -150 h 111968"/>
                <a:gd name="connsiteX7" fmla="*/ -4964 w 260703"/>
                <a:gd name="connsiteY7" fmla="*/ -12 h 111968"/>
                <a:gd name="connsiteX8" fmla="*/ -4811 w 260703"/>
                <a:gd name="connsiteY8" fmla="*/ 18215 h 111968"/>
                <a:gd name="connsiteX9" fmla="*/ -4338 w 260703"/>
                <a:gd name="connsiteY9" fmla="*/ 76668 h 111968"/>
                <a:gd name="connsiteX10" fmla="*/ 49482 w 260703"/>
                <a:gd name="connsiteY10" fmla="*/ 39276 h 111968"/>
                <a:gd name="connsiteX11" fmla="*/ 48186 w 260703"/>
                <a:gd name="connsiteY11" fmla="*/ 84768 h 111968"/>
                <a:gd name="connsiteX12" fmla="*/ 89654 w 260703"/>
                <a:gd name="connsiteY12" fmla="*/ 109860 h 111968"/>
                <a:gd name="connsiteX13" fmla="*/ 111196 w 260703"/>
                <a:gd name="connsiteY13" fmla="*/ 104572 h 111968"/>
                <a:gd name="connsiteX14" fmla="*/ 254993 w 260703"/>
                <a:gd name="connsiteY14" fmla="*/ -1186 h 111968"/>
                <a:gd name="connsiteX15" fmla="*/ 255740 w 260703"/>
                <a:gd name="connsiteY15" fmla="*/ -2108 h 111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0703" h="111968">
                  <a:moveTo>
                    <a:pt x="255740" y="-2108"/>
                  </a:moveTo>
                  <a:lnTo>
                    <a:pt x="228544" y="-1887"/>
                  </a:lnTo>
                  <a:lnTo>
                    <a:pt x="141386" y="-1186"/>
                  </a:lnTo>
                  <a:lnTo>
                    <a:pt x="108742" y="-927"/>
                  </a:lnTo>
                  <a:cubicBezTo>
                    <a:pt x="97274" y="5977"/>
                    <a:pt x="85783" y="12317"/>
                    <a:pt x="74871" y="18100"/>
                  </a:cubicBezTo>
                  <a:cubicBezTo>
                    <a:pt x="81843" y="11951"/>
                    <a:pt x="88709" y="5634"/>
                    <a:pt x="95460" y="-820"/>
                  </a:cubicBezTo>
                  <a:lnTo>
                    <a:pt x="12540" y="-150"/>
                  </a:lnTo>
                  <a:lnTo>
                    <a:pt x="-4964" y="-12"/>
                  </a:lnTo>
                  <a:lnTo>
                    <a:pt x="-4811" y="18215"/>
                  </a:lnTo>
                  <a:lnTo>
                    <a:pt x="-4338" y="76668"/>
                  </a:lnTo>
                  <a:cubicBezTo>
                    <a:pt x="14071" y="65649"/>
                    <a:pt x="32047" y="53053"/>
                    <a:pt x="49482" y="39276"/>
                  </a:cubicBezTo>
                  <a:cubicBezTo>
                    <a:pt x="41557" y="52687"/>
                    <a:pt x="40406" y="69832"/>
                    <a:pt x="48186" y="84768"/>
                  </a:cubicBezTo>
                  <a:cubicBezTo>
                    <a:pt x="56537" y="100732"/>
                    <a:pt x="72814" y="109860"/>
                    <a:pt x="89654" y="109860"/>
                  </a:cubicBezTo>
                  <a:cubicBezTo>
                    <a:pt x="96931" y="109860"/>
                    <a:pt x="104308" y="108161"/>
                    <a:pt x="111196" y="104572"/>
                  </a:cubicBezTo>
                  <a:cubicBezTo>
                    <a:pt x="157678" y="80348"/>
                    <a:pt x="215971" y="46439"/>
                    <a:pt x="254993" y="-1186"/>
                  </a:cubicBezTo>
                  <a:cubicBezTo>
                    <a:pt x="255244" y="-1498"/>
                    <a:pt x="255488" y="-1803"/>
                    <a:pt x="255740" y="-2108"/>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3" name="Freeform: Shape 482">
              <a:extLst>
                <a:ext uri="{FF2B5EF4-FFF2-40B4-BE49-F238E27FC236}">
                  <a16:creationId xmlns:a16="http://schemas.microsoft.com/office/drawing/2014/main" id="{8575ACF6-0C92-95B7-1C76-ED58610B66AB}"/>
                </a:ext>
              </a:extLst>
            </p:cNvPr>
            <p:cNvSpPr/>
            <p:nvPr/>
          </p:nvSpPr>
          <p:spPr>
            <a:xfrm flipV="1">
              <a:off x="5393607" y="5434051"/>
              <a:ext cx="188689" cy="73751"/>
            </a:xfrm>
            <a:custGeom>
              <a:avLst/>
              <a:gdLst>
                <a:gd name="connsiteX0" fmla="*/ 255305 w 283267"/>
                <a:gd name="connsiteY0" fmla="*/ -1897 h 110718"/>
                <a:gd name="connsiteX1" fmla="*/ 255121 w 283267"/>
                <a:gd name="connsiteY1" fmla="*/ -1897 h 110718"/>
                <a:gd name="connsiteX2" fmla="*/ 248919 w 283267"/>
                <a:gd name="connsiteY2" fmla="*/ -1844 h 110718"/>
                <a:gd name="connsiteX3" fmla="*/ 102409 w 283267"/>
                <a:gd name="connsiteY3" fmla="*/ 108082 h 110718"/>
                <a:gd name="connsiteX4" fmla="*/ 255998 w 283267"/>
                <a:gd name="connsiteY4" fmla="*/ 106840 h 110718"/>
                <a:gd name="connsiteX5" fmla="*/ 278668 w 283267"/>
                <a:gd name="connsiteY5" fmla="*/ 83797 h 110718"/>
                <a:gd name="connsiteX6" fmla="*/ 278157 w 283267"/>
                <a:gd name="connsiteY6" fmla="*/ 20780 h 110718"/>
                <a:gd name="connsiteX7" fmla="*/ 255305 w 283267"/>
                <a:gd name="connsiteY7" fmla="*/ -1897 h 110718"/>
                <a:gd name="connsiteX8" fmla="*/ 226204 w 283267"/>
                <a:gd name="connsiteY8" fmla="*/ -1661 h 110718"/>
                <a:gd name="connsiteX9" fmla="*/ 60949 w 283267"/>
                <a:gd name="connsiteY9" fmla="*/ -335 h 110718"/>
                <a:gd name="connsiteX10" fmla="*/ 19724 w 283267"/>
                <a:gd name="connsiteY10" fmla="*/ 27440 h 110718"/>
                <a:gd name="connsiteX11" fmla="*/ 3647 w 283267"/>
                <a:gd name="connsiteY11" fmla="*/ 99982 h 110718"/>
                <a:gd name="connsiteX12" fmla="*/ 10687 w 283267"/>
                <a:gd name="connsiteY12" fmla="*/ 108822 h 110718"/>
                <a:gd name="connsiteX13" fmla="*/ 88365 w 283267"/>
                <a:gd name="connsiteY13" fmla="*/ 108197 h 110718"/>
                <a:gd name="connsiteX14" fmla="*/ 226204 w 283267"/>
                <a:gd name="connsiteY14" fmla="*/ -1661 h 110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3267" h="110718">
                  <a:moveTo>
                    <a:pt x="255305" y="-1897"/>
                  </a:moveTo>
                  <a:cubicBezTo>
                    <a:pt x="255243" y="-1897"/>
                    <a:pt x="255182" y="-1897"/>
                    <a:pt x="255121" y="-1897"/>
                  </a:cubicBezTo>
                  <a:lnTo>
                    <a:pt x="248919" y="-1844"/>
                  </a:lnTo>
                  <a:cubicBezTo>
                    <a:pt x="203100" y="42299"/>
                    <a:pt x="154401" y="78822"/>
                    <a:pt x="102409" y="108082"/>
                  </a:cubicBezTo>
                  <a:lnTo>
                    <a:pt x="255998" y="106840"/>
                  </a:lnTo>
                  <a:cubicBezTo>
                    <a:pt x="268563" y="106741"/>
                    <a:pt x="278767" y="96370"/>
                    <a:pt x="278668" y="83797"/>
                  </a:cubicBezTo>
                  <a:lnTo>
                    <a:pt x="278157" y="20780"/>
                  </a:lnTo>
                  <a:cubicBezTo>
                    <a:pt x="278058" y="8268"/>
                    <a:pt x="267786" y="-1897"/>
                    <a:pt x="255305" y="-1897"/>
                  </a:cubicBezTo>
                  <a:moveTo>
                    <a:pt x="226204" y="-1661"/>
                  </a:moveTo>
                  <a:lnTo>
                    <a:pt x="60949" y="-335"/>
                  </a:lnTo>
                  <a:cubicBezTo>
                    <a:pt x="47888" y="8992"/>
                    <a:pt x="34165" y="18250"/>
                    <a:pt x="19724" y="27440"/>
                  </a:cubicBezTo>
                  <a:cubicBezTo>
                    <a:pt x="-4735" y="43069"/>
                    <a:pt x="-11974" y="75522"/>
                    <a:pt x="3647" y="99982"/>
                  </a:cubicBezTo>
                  <a:cubicBezTo>
                    <a:pt x="5719" y="103236"/>
                    <a:pt x="8081" y="106185"/>
                    <a:pt x="10687" y="108822"/>
                  </a:cubicBezTo>
                  <a:lnTo>
                    <a:pt x="88365" y="108197"/>
                  </a:lnTo>
                  <a:cubicBezTo>
                    <a:pt x="142345" y="72809"/>
                    <a:pt x="187075" y="36508"/>
                    <a:pt x="226204" y="-1661"/>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4" name="Freeform: Shape 483">
              <a:extLst>
                <a:ext uri="{FF2B5EF4-FFF2-40B4-BE49-F238E27FC236}">
                  <a16:creationId xmlns:a16="http://schemas.microsoft.com/office/drawing/2014/main" id="{8416CB70-BC56-FAE5-F292-46D4DB6A9741}"/>
                </a:ext>
              </a:extLst>
            </p:cNvPr>
            <p:cNvSpPr/>
            <p:nvPr/>
          </p:nvSpPr>
          <p:spPr>
            <a:xfrm flipV="1">
              <a:off x="5613486" y="5436361"/>
              <a:ext cx="109917" cy="73076"/>
            </a:xfrm>
            <a:custGeom>
              <a:avLst/>
              <a:gdLst>
                <a:gd name="connsiteX0" fmla="*/ 136810 w 165012"/>
                <a:gd name="connsiteY0" fmla="*/ -1893 h 109705"/>
                <a:gd name="connsiteX1" fmla="*/ 136627 w 165012"/>
                <a:gd name="connsiteY1" fmla="*/ -1893 h 109705"/>
                <a:gd name="connsiteX2" fmla="*/ 86846 w 165012"/>
                <a:gd name="connsiteY2" fmla="*/ -1489 h 109705"/>
                <a:gd name="connsiteX3" fmla="*/ -3124 w 165012"/>
                <a:gd name="connsiteY3" fmla="*/ 92458 h 109705"/>
                <a:gd name="connsiteX4" fmla="*/ 18463 w 165012"/>
                <a:gd name="connsiteY4" fmla="*/ 107812 h 109705"/>
                <a:gd name="connsiteX5" fmla="*/ 18647 w 165012"/>
                <a:gd name="connsiteY5" fmla="*/ 107812 h 109705"/>
                <a:gd name="connsiteX6" fmla="*/ 131880 w 165012"/>
                <a:gd name="connsiteY6" fmla="*/ 106890 h 109705"/>
                <a:gd name="connsiteX7" fmla="*/ 160104 w 165012"/>
                <a:gd name="connsiteY7" fmla="*/ 74391 h 109705"/>
                <a:gd name="connsiteX8" fmla="*/ 159670 w 165012"/>
                <a:gd name="connsiteY8" fmla="*/ 20792 h 109705"/>
                <a:gd name="connsiteX9" fmla="*/ 136810 w 165012"/>
                <a:gd name="connsiteY9" fmla="*/ -1893 h 109705"/>
                <a:gd name="connsiteX10" fmla="*/ 63658 w 165012"/>
                <a:gd name="connsiteY10" fmla="*/ -1298 h 109705"/>
                <a:gd name="connsiteX11" fmla="*/ 17770 w 165012"/>
                <a:gd name="connsiteY11" fmla="*/ -933 h 109705"/>
                <a:gd name="connsiteX12" fmla="*/ -4907 w 165012"/>
                <a:gd name="connsiteY12" fmla="*/ 22118 h 109705"/>
                <a:gd name="connsiteX13" fmla="*/ -4503 w 165012"/>
                <a:gd name="connsiteY13" fmla="*/ 72471 h 109705"/>
                <a:gd name="connsiteX14" fmla="*/ 63658 w 165012"/>
                <a:gd name="connsiteY14" fmla="*/ -1298 h 10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012" h="109705">
                  <a:moveTo>
                    <a:pt x="136810" y="-1893"/>
                  </a:moveTo>
                  <a:cubicBezTo>
                    <a:pt x="136749" y="-1893"/>
                    <a:pt x="136688" y="-1893"/>
                    <a:pt x="136627" y="-1893"/>
                  </a:cubicBezTo>
                  <a:lnTo>
                    <a:pt x="86846" y="-1489"/>
                  </a:lnTo>
                  <a:cubicBezTo>
                    <a:pt x="60427" y="31894"/>
                    <a:pt x="29901" y="64866"/>
                    <a:pt x="-3124" y="92458"/>
                  </a:cubicBezTo>
                  <a:cubicBezTo>
                    <a:pt x="0" y="101381"/>
                    <a:pt x="8527" y="107812"/>
                    <a:pt x="18463" y="107812"/>
                  </a:cubicBezTo>
                  <a:cubicBezTo>
                    <a:pt x="18524" y="107812"/>
                    <a:pt x="18586" y="107812"/>
                    <a:pt x="18647" y="107812"/>
                  </a:cubicBezTo>
                  <a:lnTo>
                    <a:pt x="131880" y="106890"/>
                  </a:lnTo>
                  <a:cubicBezTo>
                    <a:pt x="141633" y="96238"/>
                    <a:pt x="151051" y="85364"/>
                    <a:pt x="160104" y="74391"/>
                  </a:cubicBezTo>
                  <a:lnTo>
                    <a:pt x="159670" y="20792"/>
                  </a:lnTo>
                  <a:cubicBezTo>
                    <a:pt x="159571" y="8280"/>
                    <a:pt x="149299" y="-1893"/>
                    <a:pt x="136810" y="-1893"/>
                  </a:cubicBezTo>
                  <a:moveTo>
                    <a:pt x="63658" y="-1298"/>
                  </a:moveTo>
                  <a:lnTo>
                    <a:pt x="17770" y="-933"/>
                  </a:lnTo>
                  <a:cubicBezTo>
                    <a:pt x="5197" y="-826"/>
                    <a:pt x="-5013" y="9545"/>
                    <a:pt x="-4907" y="22118"/>
                  </a:cubicBezTo>
                  <a:lnTo>
                    <a:pt x="-4503" y="72471"/>
                  </a:lnTo>
                  <a:cubicBezTo>
                    <a:pt x="18929" y="49626"/>
                    <a:pt x="41636" y="25044"/>
                    <a:pt x="63658" y="-1298"/>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5" name="Freeform: Shape 484">
              <a:extLst>
                <a:ext uri="{FF2B5EF4-FFF2-40B4-BE49-F238E27FC236}">
                  <a16:creationId xmlns:a16="http://schemas.microsoft.com/office/drawing/2014/main" id="{AB6A4EAE-B87C-12F8-DED4-E16372391B65}"/>
                </a:ext>
              </a:extLst>
            </p:cNvPr>
            <p:cNvSpPr/>
            <p:nvPr/>
          </p:nvSpPr>
          <p:spPr>
            <a:xfrm flipV="1">
              <a:off x="5758908" y="5436543"/>
              <a:ext cx="80071" cy="72959"/>
            </a:xfrm>
            <a:custGeom>
              <a:avLst/>
              <a:gdLst>
                <a:gd name="connsiteX0" fmla="*/ 115075 w 120205"/>
                <a:gd name="connsiteY0" fmla="*/ -1892 h 109529"/>
                <a:gd name="connsiteX1" fmla="*/ 17402 w 120205"/>
                <a:gd name="connsiteY1" fmla="*/ -1108 h 109529"/>
                <a:gd name="connsiteX2" fmla="*/ 13942 w 120205"/>
                <a:gd name="connsiteY2" fmla="*/ -810 h 109529"/>
                <a:gd name="connsiteX3" fmla="*/ -5131 w 120205"/>
                <a:gd name="connsiteY3" fmla="*/ 38936 h 109529"/>
                <a:gd name="connsiteX4" fmla="*/ -4765 w 120205"/>
                <a:gd name="connsiteY4" fmla="*/ 84960 h 109529"/>
                <a:gd name="connsiteX5" fmla="*/ 18088 w 120205"/>
                <a:gd name="connsiteY5" fmla="*/ 107637 h 109529"/>
                <a:gd name="connsiteX6" fmla="*/ 18286 w 120205"/>
                <a:gd name="connsiteY6" fmla="*/ 107630 h 109529"/>
                <a:gd name="connsiteX7" fmla="*/ 63084 w 120205"/>
                <a:gd name="connsiteY7" fmla="*/ 107272 h 109529"/>
                <a:gd name="connsiteX8" fmla="*/ 115075 w 120205"/>
                <a:gd name="connsiteY8" fmla="*/ -1892 h 10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05" h="109529">
                  <a:moveTo>
                    <a:pt x="115075" y="-1892"/>
                  </a:moveTo>
                  <a:lnTo>
                    <a:pt x="17402" y="-1108"/>
                  </a:lnTo>
                  <a:cubicBezTo>
                    <a:pt x="16228" y="-1092"/>
                    <a:pt x="15070" y="-993"/>
                    <a:pt x="13942" y="-810"/>
                  </a:cubicBezTo>
                  <a:cubicBezTo>
                    <a:pt x="7999" y="13043"/>
                    <a:pt x="1750" y="26309"/>
                    <a:pt x="-5131" y="38936"/>
                  </a:cubicBezTo>
                  <a:lnTo>
                    <a:pt x="-4765" y="84960"/>
                  </a:lnTo>
                  <a:cubicBezTo>
                    <a:pt x="-4658" y="97465"/>
                    <a:pt x="5598" y="107637"/>
                    <a:pt x="18088" y="107637"/>
                  </a:cubicBezTo>
                  <a:cubicBezTo>
                    <a:pt x="18156" y="107637"/>
                    <a:pt x="18217" y="107630"/>
                    <a:pt x="18286" y="107630"/>
                  </a:cubicBezTo>
                  <a:lnTo>
                    <a:pt x="63084" y="107272"/>
                  </a:lnTo>
                  <a:cubicBezTo>
                    <a:pt x="84785" y="72966"/>
                    <a:pt x="100521" y="36307"/>
                    <a:pt x="115075" y="-1892"/>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6" name="Freeform: Shape 485">
              <a:extLst>
                <a:ext uri="{FF2B5EF4-FFF2-40B4-BE49-F238E27FC236}">
                  <a16:creationId xmlns:a16="http://schemas.microsoft.com/office/drawing/2014/main" id="{ADB9B8D4-3CE9-0440-016E-1FEA88F301A6}"/>
                </a:ext>
              </a:extLst>
            </p:cNvPr>
            <p:cNvSpPr/>
            <p:nvPr/>
          </p:nvSpPr>
          <p:spPr>
            <a:xfrm flipV="1">
              <a:off x="5560171" y="5399815"/>
              <a:ext cx="756935" cy="724947"/>
            </a:xfrm>
            <a:custGeom>
              <a:avLst/>
              <a:gdLst>
                <a:gd name="connsiteX0" fmla="*/ 51217 w 1136340"/>
                <a:gd name="connsiteY0" fmla="*/ 534561 h 1088318"/>
                <a:gd name="connsiteX1" fmla="*/ 273881 w 1136340"/>
                <a:gd name="connsiteY1" fmla="*/ 435303 h 1088318"/>
                <a:gd name="connsiteX2" fmla="*/ 385438 w 1136340"/>
                <a:gd name="connsiteY2" fmla="*/ 427401 h 1088318"/>
                <a:gd name="connsiteX3" fmla="*/ 497543 w 1136340"/>
                <a:gd name="connsiteY3" fmla="*/ 296543 h 1088318"/>
                <a:gd name="connsiteX4" fmla="*/ 564759 w 1136340"/>
                <a:gd name="connsiteY4" fmla="*/ 191730 h 1088318"/>
                <a:gd name="connsiteX5" fmla="*/ 905229 w 1136340"/>
                <a:gd name="connsiteY5" fmla="*/ -1247 h 1088318"/>
                <a:gd name="connsiteX6" fmla="*/ 1130971 w 1136340"/>
                <a:gd name="connsiteY6" fmla="*/ 84997 h 1088318"/>
                <a:gd name="connsiteX7" fmla="*/ 891863 w 1136340"/>
                <a:gd name="connsiteY7" fmla="*/ 412527 h 1088318"/>
                <a:gd name="connsiteX8" fmla="*/ 824342 w 1136340"/>
                <a:gd name="connsiteY8" fmla="*/ 453332 h 1088318"/>
                <a:gd name="connsiteX9" fmla="*/ 690840 w 1136340"/>
                <a:gd name="connsiteY9" fmla="*/ 615981 h 1088318"/>
                <a:gd name="connsiteX10" fmla="*/ 671508 w 1136340"/>
                <a:gd name="connsiteY10" fmla="*/ 759961 h 1088318"/>
                <a:gd name="connsiteX11" fmla="*/ 451877 w 1136340"/>
                <a:gd name="connsiteY11" fmla="*/ 1078698 h 1088318"/>
                <a:gd name="connsiteX12" fmla="*/ 447716 w 1136340"/>
                <a:gd name="connsiteY12" fmla="*/ 1080512 h 1088318"/>
                <a:gd name="connsiteX13" fmla="*/ 436058 w 1136340"/>
                <a:gd name="connsiteY13" fmla="*/ 1085076 h 1088318"/>
                <a:gd name="connsiteX14" fmla="*/ 407231 w 1136340"/>
                <a:gd name="connsiteY14" fmla="*/ 1085221 h 1088318"/>
                <a:gd name="connsiteX15" fmla="*/ 385065 w 1136340"/>
                <a:gd name="connsiteY15" fmla="*/ 1073448 h 1088318"/>
                <a:gd name="connsiteX16" fmla="*/ 380774 w 1136340"/>
                <a:gd name="connsiteY16" fmla="*/ 1041543 h 1088318"/>
                <a:gd name="connsiteX17" fmla="*/ 353960 w 1136340"/>
                <a:gd name="connsiteY17" fmla="*/ 1049201 h 1088318"/>
                <a:gd name="connsiteX18" fmla="*/ 336891 w 1136340"/>
                <a:gd name="connsiteY18" fmla="*/ 1039325 h 1088318"/>
                <a:gd name="connsiteX19" fmla="*/ 267236 w 1136340"/>
                <a:gd name="connsiteY19" fmla="*/ 1034837 h 1088318"/>
                <a:gd name="connsiteX20" fmla="*/ 246304 w 1136340"/>
                <a:gd name="connsiteY20" fmla="*/ 986786 h 1088318"/>
                <a:gd name="connsiteX21" fmla="*/ 234463 w 1136340"/>
                <a:gd name="connsiteY21" fmla="*/ 980042 h 1088318"/>
                <a:gd name="connsiteX22" fmla="*/ 207343 w 1136340"/>
                <a:gd name="connsiteY22" fmla="*/ 976361 h 1088318"/>
                <a:gd name="connsiteX23" fmla="*/ 130976 w 1136340"/>
                <a:gd name="connsiteY23" fmla="*/ 978076 h 1088318"/>
                <a:gd name="connsiteX24" fmla="*/ 114295 w 1136340"/>
                <a:gd name="connsiteY24" fmla="*/ 927807 h 1088318"/>
                <a:gd name="connsiteX25" fmla="*/ 78801 w 1136340"/>
                <a:gd name="connsiteY25" fmla="*/ 905975 h 1088318"/>
                <a:gd name="connsiteX26" fmla="*/ -5369 w 1136340"/>
                <a:gd name="connsiteY26" fmla="*/ 891078 h 1088318"/>
                <a:gd name="connsiteX27" fmla="*/ 47674 w 1136340"/>
                <a:gd name="connsiteY27" fmla="*/ 834751 h 1088318"/>
                <a:gd name="connsiteX28" fmla="*/ 40298 w 1136340"/>
                <a:gd name="connsiteY28" fmla="*/ 766865 h 1088318"/>
                <a:gd name="connsiteX29" fmla="*/ 106127 w 1136340"/>
                <a:gd name="connsiteY29" fmla="*/ 662501 h 1088318"/>
                <a:gd name="connsiteX30" fmla="*/ 51217 w 1136340"/>
                <a:gd name="connsiteY30" fmla="*/ 534561 h 108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36340" h="1088318">
                  <a:moveTo>
                    <a:pt x="51217" y="534561"/>
                  </a:moveTo>
                  <a:lnTo>
                    <a:pt x="273881" y="435303"/>
                  </a:lnTo>
                  <a:cubicBezTo>
                    <a:pt x="312575" y="420871"/>
                    <a:pt x="365961" y="417107"/>
                    <a:pt x="385438" y="427401"/>
                  </a:cubicBezTo>
                  <a:lnTo>
                    <a:pt x="497543" y="296543"/>
                  </a:lnTo>
                  <a:lnTo>
                    <a:pt x="564759" y="191730"/>
                  </a:lnTo>
                  <a:lnTo>
                    <a:pt x="905229" y="-1247"/>
                  </a:lnTo>
                  <a:lnTo>
                    <a:pt x="1130971" y="84997"/>
                  </a:lnTo>
                  <a:cubicBezTo>
                    <a:pt x="1031088" y="181184"/>
                    <a:pt x="984240" y="312858"/>
                    <a:pt x="891863" y="412527"/>
                  </a:cubicBezTo>
                  <a:cubicBezTo>
                    <a:pt x="876501" y="428834"/>
                    <a:pt x="839277" y="436919"/>
                    <a:pt x="824342" y="453332"/>
                  </a:cubicBezTo>
                  <a:cubicBezTo>
                    <a:pt x="775780" y="506642"/>
                    <a:pt x="737208" y="561689"/>
                    <a:pt x="690840" y="615981"/>
                  </a:cubicBezTo>
                  <a:cubicBezTo>
                    <a:pt x="703436" y="662036"/>
                    <a:pt x="703497" y="699184"/>
                    <a:pt x="671508" y="759961"/>
                  </a:cubicBezTo>
                  <a:lnTo>
                    <a:pt x="451877" y="1078698"/>
                  </a:lnTo>
                  <a:cubicBezTo>
                    <a:pt x="446520" y="1081632"/>
                    <a:pt x="451877" y="1078698"/>
                    <a:pt x="447716" y="1080512"/>
                  </a:cubicBezTo>
                  <a:cubicBezTo>
                    <a:pt x="443632" y="1082790"/>
                    <a:pt x="439746" y="1084329"/>
                    <a:pt x="436058" y="1085076"/>
                  </a:cubicBezTo>
                  <a:cubicBezTo>
                    <a:pt x="426258" y="1087690"/>
                    <a:pt x="416672" y="1087735"/>
                    <a:pt x="407231" y="1085221"/>
                  </a:cubicBezTo>
                  <a:cubicBezTo>
                    <a:pt x="401166" y="1083026"/>
                    <a:pt x="393828" y="1079079"/>
                    <a:pt x="385065" y="1073448"/>
                  </a:cubicBezTo>
                  <a:cubicBezTo>
                    <a:pt x="376942" y="1066727"/>
                    <a:pt x="384013" y="1049597"/>
                    <a:pt x="380774" y="1041543"/>
                  </a:cubicBezTo>
                  <a:cubicBezTo>
                    <a:pt x="377986" y="1036605"/>
                    <a:pt x="353960" y="1049201"/>
                    <a:pt x="353960" y="1049201"/>
                  </a:cubicBezTo>
                  <a:cubicBezTo>
                    <a:pt x="353960" y="1049201"/>
                    <a:pt x="354310" y="1027507"/>
                    <a:pt x="336891" y="1039325"/>
                  </a:cubicBezTo>
                  <a:cubicBezTo>
                    <a:pt x="308331" y="1055427"/>
                    <a:pt x="295202" y="1056417"/>
                    <a:pt x="267236" y="1034837"/>
                  </a:cubicBezTo>
                  <a:cubicBezTo>
                    <a:pt x="250335" y="1021899"/>
                    <a:pt x="248537" y="1003740"/>
                    <a:pt x="246304" y="986786"/>
                  </a:cubicBezTo>
                  <a:cubicBezTo>
                    <a:pt x="245786" y="983738"/>
                    <a:pt x="234242" y="982610"/>
                    <a:pt x="234463" y="980042"/>
                  </a:cubicBezTo>
                  <a:cubicBezTo>
                    <a:pt x="240345" y="975927"/>
                    <a:pt x="227094" y="958005"/>
                    <a:pt x="207343" y="976361"/>
                  </a:cubicBezTo>
                  <a:cubicBezTo>
                    <a:pt x="174631" y="994809"/>
                    <a:pt x="163124" y="1001827"/>
                    <a:pt x="130976" y="978076"/>
                  </a:cubicBezTo>
                  <a:cubicBezTo>
                    <a:pt x="114798" y="965617"/>
                    <a:pt x="118113" y="943100"/>
                    <a:pt x="114295" y="927807"/>
                  </a:cubicBezTo>
                  <a:cubicBezTo>
                    <a:pt x="108596" y="909557"/>
                    <a:pt x="96571" y="897990"/>
                    <a:pt x="78801" y="905975"/>
                  </a:cubicBezTo>
                  <a:lnTo>
                    <a:pt x="-5369" y="891078"/>
                  </a:lnTo>
                  <a:lnTo>
                    <a:pt x="47674" y="834751"/>
                  </a:lnTo>
                  <a:lnTo>
                    <a:pt x="40298" y="766865"/>
                  </a:lnTo>
                  <a:lnTo>
                    <a:pt x="106127" y="662501"/>
                  </a:lnTo>
                  <a:lnTo>
                    <a:pt x="51217" y="534561"/>
                  </a:lnTo>
                </a:path>
              </a:pathLst>
            </a:custGeom>
            <a:solidFill>
              <a:srgbClr val="FFFFFF">
                <a:lumMod val="75000"/>
              </a:srgbClr>
            </a:solidFill>
            <a:ln w="762"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7" name="Freeform: Shape 486">
              <a:extLst>
                <a:ext uri="{FF2B5EF4-FFF2-40B4-BE49-F238E27FC236}">
                  <a16:creationId xmlns:a16="http://schemas.microsoft.com/office/drawing/2014/main" id="{6CAA9DD2-7312-4420-810A-E554CF1D6057}"/>
                </a:ext>
              </a:extLst>
            </p:cNvPr>
            <p:cNvSpPr/>
            <p:nvPr/>
          </p:nvSpPr>
          <p:spPr>
            <a:xfrm flipV="1">
              <a:off x="5389669" y="5386008"/>
              <a:ext cx="253216" cy="227234"/>
            </a:xfrm>
            <a:custGeom>
              <a:avLst/>
              <a:gdLst>
                <a:gd name="connsiteX0" fmla="*/ -4648 w 380138"/>
                <a:gd name="connsiteY0" fmla="*/ 339299 h 341132"/>
                <a:gd name="connsiteX1" fmla="*/ 375491 w 380138"/>
                <a:gd name="connsiteY1" fmla="*/ -1833 h 341132"/>
              </a:gdLst>
              <a:ahLst/>
              <a:cxnLst>
                <a:cxn ang="0">
                  <a:pos x="connsiteX0" y="connsiteY0"/>
                </a:cxn>
                <a:cxn ang="0">
                  <a:pos x="connsiteX1" y="connsiteY1"/>
                </a:cxn>
              </a:cxnLst>
              <a:rect l="l" t="t" r="r" b="b"/>
              <a:pathLst>
                <a:path w="380138" h="341132">
                  <a:moveTo>
                    <a:pt x="-4648" y="339299"/>
                  </a:moveTo>
                  <a:cubicBezTo>
                    <a:pt x="179207" y="245360"/>
                    <a:pt x="264665" y="145660"/>
                    <a:pt x="375491" y="-1833"/>
                  </a:cubicBezTo>
                </a:path>
              </a:pathLst>
            </a:custGeom>
            <a:solidFill>
              <a:srgbClr val="4DA5C3">
                <a:lumMod val="20000"/>
                <a:lumOff val="80000"/>
              </a:srgbClr>
            </a:solidFill>
            <a:ln w="114027" cap="rnd">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8" name="Freeform: Shape 487">
              <a:extLst>
                <a:ext uri="{FF2B5EF4-FFF2-40B4-BE49-F238E27FC236}">
                  <a16:creationId xmlns:a16="http://schemas.microsoft.com/office/drawing/2014/main" id="{A8DA8E65-8340-68E8-21D6-46B249F4F100}"/>
                </a:ext>
              </a:extLst>
            </p:cNvPr>
            <p:cNvSpPr/>
            <p:nvPr/>
          </p:nvSpPr>
          <p:spPr>
            <a:xfrm flipV="1">
              <a:off x="5556556" y="5294634"/>
              <a:ext cx="241768" cy="254486"/>
            </a:xfrm>
            <a:custGeom>
              <a:avLst/>
              <a:gdLst>
                <a:gd name="connsiteX0" fmla="*/ -4923 w 362951"/>
                <a:gd name="connsiteY0" fmla="*/ 380037 h 382044"/>
                <a:gd name="connsiteX1" fmla="*/ 353758 w 362951"/>
                <a:gd name="connsiteY1" fmla="*/ -2007 h 382044"/>
              </a:gdLst>
              <a:ahLst/>
              <a:cxnLst>
                <a:cxn ang="0">
                  <a:pos x="connsiteX0" y="connsiteY0"/>
                </a:cxn>
                <a:cxn ang="0">
                  <a:pos x="connsiteX1" y="connsiteY1"/>
                </a:cxn>
              </a:cxnLst>
              <a:rect l="l" t="t" r="r" b="b"/>
              <a:pathLst>
                <a:path w="362951" h="382044">
                  <a:moveTo>
                    <a:pt x="-4923" y="380037"/>
                  </a:moveTo>
                  <a:cubicBezTo>
                    <a:pt x="206097" y="312562"/>
                    <a:pt x="388497" y="39401"/>
                    <a:pt x="353758" y="-2007"/>
                  </a:cubicBezTo>
                </a:path>
              </a:pathLst>
            </a:custGeom>
            <a:noFill/>
            <a:ln w="114027" cap="rnd">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9" name="Freeform: Shape 488">
              <a:extLst>
                <a:ext uri="{FF2B5EF4-FFF2-40B4-BE49-F238E27FC236}">
                  <a16:creationId xmlns:a16="http://schemas.microsoft.com/office/drawing/2014/main" id="{2FB20BC2-C80E-471E-FD42-3FF5F7AA9685}"/>
                </a:ext>
              </a:extLst>
            </p:cNvPr>
            <p:cNvSpPr/>
            <p:nvPr/>
          </p:nvSpPr>
          <p:spPr>
            <a:xfrm flipV="1">
              <a:off x="5694354" y="5290918"/>
              <a:ext cx="186804" cy="231873"/>
            </a:xfrm>
            <a:custGeom>
              <a:avLst/>
              <a:gdLst>
                <a:gd name="connsiteX0" fmla="*/ -5112 w 280438"/>
                <a:gd name="connsiteY0" fmla="*/ 346057 h 348096"/>
                <a:gd name="connsiteX1" fmla="*/ 138137 w 280438"/>
                <a:gd name="connsiteY1" fmla="*/ 255889 h 348096"/>
                <a:gd name="connsiteX2" fmla="*/ 275327 w 280438"/>
                <a:gd name="connsiteY2" fmla="*/ -2040 h 348096"/>
              </a:gdLst>
              <a:ahLst/>
              <a:cxnLst>
                <a:cxn ang="0">
                  <a:pos x="connsiteX0" y="connsiteY0"/>
                </a:cxn>
                <a:cxn ang="0">
                  <a:pos x="connsiteX1" y="connsiteY1"/>
                </a:cxn>
                <a:cxn ang="0">
                  <a:pos x="connsiteX2" y="connsiteY2"/>
                </a:cxn>
              </a:cxnLst>
              <a:rect l="l" t="t" r="r" b="b"/>
              <a:pathLst>
                <a:path w="280438" h="348096">
                  <a:moveTo>
                    <a:pt x="-5112" y="346057"/>
                  </a:moveTo>
                  <a:cubicBezTo>
                    <a:pt x="44548" y="325574"/>
                    <a:pt x="99214" y="295521"/>
                    <a:pt x="138137" y="255889"/>
                  </a:cubicBezTo>
                  <a:cubicBezTo>
                    <a:pt x="206282" y="186494"/>
                    <a:pt x="225096" y="96974"/>
                    <a:pt x="275327" y="-2040"/>
                  </a:cubicBezTo>
                </a:path>
              </a:pathLst>
            </a:custGeom>
            <a:noFill/>
            <a:ln w="101401" cap="rnd">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90" name="Freeform: Shape 489">
              <a:extLst>
                <a:ext uri="{FF2B5EF4-FFF2-40B4-BE49-F238E27FC236}">
                  <a16:creationId xmlns:a16="http://schemas.microsoft.com/office/drawing/2014/main" id="{658913F7-09D2-220C-98C2-BE12A3FFC94E}"/>
                </a:ext>
              </a:extLst>
            </p:cNvPr>
            <p:cNvSpPr/>
            <p:nvPr/>
          </p:nvSpPr>
          <p:spPr>
            <a:xfrm flipV="1">
              <a:off x="5442239" y="5320399"/>
              <a:ext cx="281986" cy="245852"/>
            </a:xfrm>
            <a:custGeom>
              <a:avLst/>
              <a:gdLst>
                <a:gd name="connsiteX0" fmla="*/ -4762 w 423328"/>
                <a:gd name="connsiteY0" fmla="*/ 367124 h 369082"/>
                <a:gd name="connsiteX1" fmla="*/ 418567 w 423328"/>
                <a:gd name="connsiteY1" fmla="*/ -1959 h 369082"/>
              </a:gdLst>
              <a:ahLst/>
              <a:cxnLst>
                <a:cxn ang="0">
                  <a:pos x="connsiteX0" y="connsiteY0"/>
                </a:cxn>
                <a:cxn ang="0">
                  <a:pos x="connsiteX1" y="connsiteY1"/>
                </a:cxn>
              </a:cxnLst>
              <a:rect l="l" t="t" r="r" b="b"/>
              <a:pathLst>
                <a:path w="423328" h="369082">
                  <a:moveTo>
                    <a:pt x="-4762" y="367124"/>
                  </a:moveTo>
                  <a:cubicBezTo>
                    <a:pt x="176190" y="293812"/>
                    <a:pt x="306637" y="163898"/>
                    <a:pt x="418567" y="-1959"/>
                  </a:cubicBezTo>
                </a:path>
              </a:pathLst>
            </a:custGeom>
            <a:noFill/>
            <a:ln w="114027" cap="rnd">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91" name="Freeform: Shape 490">
              <a:extLst>
                <a:ext uri="{FF2B5EF4-FFF2-40B4-BE49-F238E27FC236}">
                  <a16:creationId xmlns:a16="http://schemas.microsoft.com/office/drawing/2014/main" id="{44BE33B6-D87B-3C3E-B249-2F291AB561DD}"/>
                </a:ext>
              </a:extLst>
            </p:cNvPr>
            <p:cNvSpPr/>
            <p:nvPr/>
          </p:nvSpPr>
          <p:spPr>
            <a:xfrm flipV="1">
              <a:off x="5437630" y="5603624"/>
              <a:ext cx="231563" cy="144239"/>
            </a:xfrm>
            <a:custGeom>
              <a:avLst/>
              <a:gdLst>
                <a:gd name="connsiteX0" fmla="*/ 342921 w 347631"/>
                <a:gd name="connsiteY0" fmla="*/ -1440 h 216537"/>
                <a:gd name="connsiteX1" fmla="*/ 105954 w 347631"/>
                <a:gd name="connsiteY1" fmla="*/ 83302 h 216537"/>
                <a:gd name="connsiteX2" fmla="*/ -4711 w 347631"/>
                <a:gd name="connsiteY2" fmla="*/ 215098 h 216537"/>
              </a:gdLst>
              <a:ahLst/>
              <a:cxnLst>
                <a:cxn ang="0">
                  <a:pos x="connsiteX0" y="connsiteY0"/>
                </a:cxn>
                <a:cxn ang="0">
                  <a:pos x="connsiteX1" y="connsiteY1"/>
                </a:cxn>
                <a:cxn ang="0">
                  <a:pos x="connsiteX2" y="connsiteY2"/>
                </a:cxn>
              </a:cxnLst>
              <a:rect l="l" t="t" r="r" b="b"/>
              <a:pathLst>
                <a:path w="347631" h="216537">
                  <a:moveTo>
                    <a:pt x="342921" y="-1440"/>
                  </a:moveTo>
                  <a:lnTo>
                    <a:pt x="105954" y="83302"/>
                  </a:lnTo>
                  <a:lnTo>
                    <a:pt x="-4711" y="215098"/>
                  </a:lnTo>
                </a:path>
              </a:pathLst>
            </a:custGeom>
            <a:noFill/>
            <a:ln w="140559" cap="rnd">
              <a:solidFill>
                <a:srgbClr val="BFBFB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92" name="Freeform: Shape 491">
              <a:extLst>
                <a:ext uri="{FF2B5EF4-FFF2-40B4-BE49-F238E27FC236}">
                  <a16:creationId xmlns:a16="http://schemas.microsoft.com/office/drawing/2014/main" id="{57B2E2A8-D01E-8553-68E9-D347CB8321F0}"/>
                </a:ext>
              </a:extLst>
            </p:cNvPr>
            <p:cNvSpPr/>
            <p:nvPr/>
          </p:nvSpPr>
          <p:spPr>
            <a:xfrm flipV="1">
              <a:off x="5874632" y="5768253"/>
              <a:ext cx="247383" cy="203041"/>
            </a:xfrm>
            <a:custGeom>
              <a:avLst/>
              <a:gdLst>
                <a:gd name="connsiteX0" fmla="*/ 77861 w 371383"/>
                <a:gd name="connsiteY0" fmla="*/ -1007 h 304815"/>
                <a:gd name="connsiteX1" fmla="*/ 365912 w 371383"/>
                <a:gd name="connsiteY1" fmla="*/ 199582 h 304815"/>
                <a:gd name="connsiteX2" fmla="*/ 283982 w 371383"/>
                <a:gd name="connsiteY2" fmla="*/ 303809 h 304815"/>
                <a:gd name="connsiteX3" fmla="*/ -5471 w 371383"/>
                <a:gd name="connsiteY3" fmla="*/ 103029 h 304815"/>
                <a:gd name="connsiteX4" fmla="*/ 77861 w 371383"/>
                <a:gd name="connsiteY4" fmla="*/ -1007 h 304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383" h="304815">
                  <a:moveTo>
                    <a:pt x="77861" y="-1007"/>
                  </a:moveTo>
                  <a:lnTo>
                    <a:pt x="365912" y="199582"/>
                  </a:lnTo>
                  <a:lnTo>
                    <a:pt x="283982" y="303809"/>
                  </a:lnTo>
                  <a:lnTo>
                    <a:pt x="-5471" y="103029"/>
                  </a:lnTo>
                  <a:lnTo>
                    <a:pt x="77861" y="-1007"/>
                  </a:lnTo>
                </a:path>
              </a:pathLst>
            </a:custGeom>
            <a:solidFill>
              <a:srgbClr val="145275"/>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93" name="Freeform: Shape 492">
              <a:extLst>
                <a:ext uri="{FF2B5EF4-FFF2-40B4-BE49-F238E27FC236}">
                  <a16:creationId xmlns:a16="http://schemas.microsoft.com/office/drawing/2014/main" id="{D68471E6-A370-7676-C509-D980F32661D1}"/>
                </a:ext>
              </a:extLst>
            </p:cNvPr>
            <p:cNvSpPr/>
            <p:nvPr/>
          </p:nvSpPr>
          <p:spPr>
            <a:xfrm flipV="1">
              <a:off x="5820184" y="5769044"/>
              <a:ext cx="727556" cy="823783"/>
            </a:xfrm>
            <a:custGeom>
              <a:avLst/>
              <a:gdLst>
                <a:gd name="connsiteX0" fmla="*/ 1086447 w 1092235"/>
                <a:gd name="connsiteY0" fmla="*/ 314921 h 1236695"/>
                <a:gd name="connsiteX1" fmla="*/ 705188 w 1092235"/>
                <a:gd name="connsiteY1" fmla="*/ 52457 h 1236695"/>
                <a:gd name="connsiteX2" fmla="*/ 628600 w 1092235"/>
                <a:gd name="connsiteY2" fmla="*/ -312 h 1236695"/>
                <a:gd name="connsiteX3" fmla="*/ -5788 w 1092235"/>
                <a:gd name="connsiteY3" fmla="*/ 921182 h 1236695"/>
                <a:gd name="connsiteX4" fmla="*/ 70724 w 1092235"/>
                <a:gd name="connsiteY4" fmla="*/ 973920 h 1236695"/>
                <a:gd name="connsiteX5" fmla="*/ 451983 w 1092235"/>
                <a:gd name="connsiteY5" fmla="*/ 1236384 h 1236695"/>
                <a:gd name="connsiteX6" fmla="*/ 1086447 w 1092235"/>
                <a:gd name="connsiteY6" fmla="*/ 314921 h 123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235" h="1236695">
                  <a:moveTo>
                    <a:pt x="1086447" y="314921"/>
                  </a:moveTo>
                  <a:lnTo>
                    <a:pt x="705188" y="52457"/>
                  </a:lnTo>
                  <a:lnTo>
                    <a:pt x="628600" y="-312"/>
                  </a:lnTo>
                  <a:lnTo>
                    <a:pt x="-5788" y="921182"/>
                  </a:lnTo>
                  <a:lnTo>
                    <a:pt x="70724" y="973920"/>
                  </a:lnTo>
                  <a:lnTo>
                    <a:pt x="451983" y="1236384"/>
                  </a:lnTo>
                  <a:lnTo>
                    <a:pt x="1086447" y="314921"/>
                  </a:lnTo>
                </a:path>
              </a:pathLst>
            </a:custGeom>
            <a:solidFill>
              <a:srgbClr val="CAD3E3"/>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94" name="Freeform: Shape 493">
              <a:extLst>
                <a:ext uri="{FF2B5EF4-FFF2-40B4-BE49-F238E27FC236}">
                  <a16:creationId xmlns:a16="http://schemas.microsoft.com/office/drawing/2014/main" id="{0A95CE48-D778-CD5F-C238-EE2C088A2A97}"/>
                </a:ext>
              </a:extLst>
            </p:cNvPr>
            <p:cNvSpPr/>
            <p:nvPr/>
          </p:nvSpPr>
          <p:spPr>
            <a:xfrm flipV="1">
              <a:off x="5871150" y="5760756"/>
              <a:ext cx="676589" cy="796922"/>
            </a:xfrm>
            <a:custGeom>
              <a:avLst/>
              <a:gdLst>
                <a:gd name="connsiteX0" fmla="*/ 1009891 w 1015722"/>
                <a:gd name="connsiteY0" fmla="*/ 262104 h 1196370"/>
                <a:gd name="connsiteX1" fmla="*/ 628632 w 1015722"/>
                <a:gd name="connsiteY1" fmla="*/ -360 h 1196370"/>
                <a:gd name="connsiteX2" fmla="*/ -5832 w 1015722"/>
                <a:gd name="connsiteY2" fmla="*/ 921103 h 1196370"/>
                <a:gd name="connsiteX3" fmla="*/ 393502 w 1015722"/>
                <a:gd name="connsiteY3" fmla="*/ 1196010 h 1196370"/>
                <a:gd name="connsiteX4" fmla="*/ 1009891 w 1015722"/>
                <a:gd name="connsiteY4" fmla="*/ 262104 h 1196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722" h="1196370">
                  <a:moveTo>
                    <a:pt x="1009891" y="262104"/>
                  </a:moveTo>
                  <a:lnTo>
                    <a:pt x="628632" y="-360"/>
                  </a:lnTo>
                  <a:lnTo>
                    <a:pt x="-5832" y="921103"/>
                  </a:lnTo>
                  <a:lnTo>
                    <a:pt x="393502" y="1196010"/>
                  </a:lnTo>
                  <a:lnTo>
                    <a:pt x="1009891" y="262104"/>
                  </a:lnTo>
                </a:path>
              </a:pathLst>
            </a:custGeom>
            <a:solidFill>
              <a:srgbClr val="FFFFFF"/>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95" name="Freeform: Shape 494">
              <a:extLst>
                <a:ext uri="{FF2B5EF4-FFF2-40B4-BE49-F238E27FC236}">
                  <a16:creationId xmlns:a16="http://schemas.microsoft.com/office/drawing/2014/main" id="{4BC66138-C884-80A6-B929-AB2EF820FED2}"/>
                </a:ext>
              </a:extLst>
            </p:cNvPr>
            <p:cNvSpPr/>
            <p:nvPr/>
          </p:nvSpPr>
          <p:spPr>
            <a:xfrm flipV="1">
              <a:off x="5884246" y="5871631"/>
              <a:ext cx="992366" cy="986382"/>
            </a:xfrm>
            <a:custGeom>
              <a:avLst/>
              <a:gdLst>
                <a:gd name="connsiteX0" fmla="*/ 1483655 w 1489778"/>
                <a:gd name="connsiteY0" fmla="*/ 59612 h 1480794"/>
                <a:gd name="connsiteX1" fmla="*/ 1481986 w 1489778"/>
                <a:gd name="connsiteY1" fmla="*/ 54879 h 1480794"/>
                <a:gd name="connsiteX2" fmla="*/ 1462632 w 1489778"/>
                <a:gd name="connsiteY2" fmla="*/ 99 h 1480794"/>
                <a:gd name="connsiteX3" fmla="*/ 789786 w 1489778"/>
                <a:gd name="connsiteY3" fmla="*/ 99 h 1480794"/>
                <a:gd name="connsiteX4" fmla="*/ -6124 w 1489778"/>
                <a:gd name="connsiteY4" fmla="*/ 1143708 h 1480794"/>
                <a:gd name="connsiteX5" fmla="*/ 122266 w 1489778"/>
                <a:gd name="connsiteY5" fmla="*/ 1232016 h 1480794"/>
                <a:gd name="connsiteX6" fmla="*/ 360475 w 1489778"/>
                <a:gd name="connsiteY6" fmla="*/ 1396082 h 1480794"/>
                <a:gd name="connsiteX7" fmla="*/ 483606 w 1489778"/>
                <a:gd name="connsiteY7" fmla="*/ 1480893 h 1480794"/>
                <a:gd name="connsiteX8" fmla="*/ 1483655 w 1489778"/>
                <a:gd name="connsiteY8" fmla="*/ 59612 h 148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9778" h="1480794">
                  <a:moveTo>
                    <a:pt x="1483655" y="59612"/>
                  </a:moveTo>
                  <a:lnTo>
                    <a:pt x="1481986" y="54879"/>
                  </a:lnTo>
                  <a:lnTo>
                    <a:pt x="1462632" y="99"/>
                  </a:lnTo>
                  <a:lnTo>
                    <a:pt x="789786" y="99"/>
                  </a:lnTo>
                  <a:lnTo>
                    <a:pt x="-6124" y="1143708"/>
                  </a:lnTo>
                  <a:lnTo>
                    <a:pt x="122266" y="1232016"/>
                  </a:lnTo>
                  <a:lnTo>
                    <a:pt x="360475" y="1396082"/>
                  </a:lnTo>
                  <a:lnTo>
                    <a:pt x="483606" y="1480893"/>
                  </a:lnTo>
                  <a:lnTo>
                    <a:pt x="1483655" y="59612"/>
                  </a:lnTo>
                </a:path>
              </a:pathLst>
            </a:custGeom>
            <a:solidFill>
              <a:srgbClr val="0E5578"/>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96" name="Freeform: Shape 495">
              <a:extLst>
                <a:ext uri="{FF2B5EF4-FFF2-40B4-BE49-F238E27FC236}">
                  <a16:creationId xmlns:a16="http://schemas.microsoft.com/office/drawing/2014/main" id="{BC22EFDA-1192-3270-77F9-BAA1EE460732}"/>
                </a:ext>
              </a:extLst>
            </p:cNvPr>
            <p:cNvSpPr/>
            <p:nvPr/>
          </p:nvSpPr>
          <p:spPr>
            <a:xfrm flipV="1">
              <a:off x="5969768" y="5871631"/>
              <a:ext cx="931314" cy="986382"/>
            </a:xfrm>
            <a:custGeom>
              <a:avLst/>
              <a:gdLst>
                <a:gd name="connsiteX0" fmla="*/ 1391908 w 1398125"/>
                <a:gd name="connsiteY0" fmla="*/ 99 h 1480794"/>
                <a:gd name="connsiteX1" fmla="*/ 854927 w 1398125"/>
                <a:gd name="connsiteY1" fmla="*/ 99 h 1480794"/>
                <a:gd name="connsiteX2" fmla="*/ -6217 w 1398125"/>
                <a:gd name="connsiteY2" fmla="*/ 1232016 h 1480794"/>
                <a:gd name="connsiteX3" fmla="*/ 231992 w 1398125"/>
                <a:gd name="connsiteY3" fmla="*/ 1396082 h 1480794"/>
                <a:gd name="connsiteX4" fmla="*/ 355123 w 1398125"/>
                <a:gd name="connsiteY4" fmla="*/ 1480893 h 1480794"/>
                <a:gd name="connsiteX5" fmla="*/ 1353503 w 1398125"/>
                <a:gd name="connsiteY5" fmla="*/ 54879 h 1480794"/>
                <a:gd name="connsiteX6" fmla="*/ 1391908 w 1398125"/>
                <a:gd name="connsiteY6" fmla="*/ 99 h 148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8125" h="1480794">
                  <a:moveTo>
                    <a:pt x="1391908" y="99"/>
                  </a:moveTo>
                  <a:lnTo>
                    <a:pt x="854927" y="99"/>
                  </a:lnTo>
                  <a:lnTo>
                    <a:pt x="-6217" y="1232016"/>
                  </a:lnTo>
                  <a:lnTo>
                    <a:pt x="231992" y="1396082"/>
                  </a:lnTo>
                  <a:lnTo>
                    <a:pt x="355123" y="1480893"/>
                  </a:lnTo>
                  <a:lnTo>
                    <a:pt x="1353503" y="54879"/>
                  </a:lnTo>
                  <a:lnTo>
                    <a:pt x="1391908" y="99"/>
                  </a:lnTo>
                </a:path>
              </a:pathLst>
            </a:custGeom>
            <a:solidFill>
              <a:srgbClr val="74B6D6"/>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grpSp>
    </p:spTree>
    <p:extLst>
      <p:ext uri="{BB962C8B-B14F-4D97-AF65-F5344CB8AC3E}">
        <p14:creationId xmlns:p14="http://schemas.microsoft.com/office/powerpoint/2010/main" val="34531943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243439" y="336182"/>
            <a:ext cx="11584383" cy="708684"/>
          </a:xfrm>
        </p:spPr>
        <p:txBody>
          <a:bodyPr vert="horz" tIns="0" bIns="0" anchor="t"/>
          <a:lstStyle/>
          <a:p>
            <a:pPr algn="ctr"/>
            <a:r>
              <a:rPr lang="en-GB" sz="4400" dirty="0">
                <a:solidFill>
                  <a:srgbClr val="145275"/>
                </a:solidFill>
                <a:latin typeface="+mn-lt"/>
                <a:cs typeface="Poppins" panose="00000500000000000000" pitchFamily="2" charset="0"/>
              </a:rPr>
              <a:t>How to get help</a:t>
            </a:r>
            <a:endParaRPr lang="en-GB" sz="4400" dirty="0">
              <a:solidFill>
                <a:srgbClr val="145275"/>
              </a:solidFill>
              <a:latin typeface="Poppins" panose="00000500000000000000" pitchFamily="2" charset="0"/>
              <a:cs typeface="Poppins" panose="00000500000000000000" pitchFamily="2" charset="0"/>
            </a:endParaRPr>
          </a:p>
        </p:txBody>
      </p:sp>
      <p:sp>
        <p:nvSpPr>
          <p:cNvPr id="39" name="Slide Number Placeholder 2">
            <a:extLst>
              <a:ext uri="{FF2B5EF4-FFF2-40B4-BE49-F238E27FC236}">
                <a16:creationId xmlns:a16="http://schemas.microsoft.com/office/drawing/2014/main" id="{0D24CA9B-BA8B-4DA3-8311-4F351C00DEC2}"/>
              </a:ext>
            </a:extLst>
          </p:cNvPr>
          <p:cNvSpPr>
            <a:spLocks noGrp="1"/>
          </p:cNvSpPr>
          <p:nvPr>
            <p:ph type="sldNum" idx="4"/>
          </p:nvPr>
        </p:nvSpPr>
        <p:spPr>
          <a:xfrm>
            <a:off x="11355439" y="6146868"/>
            <a:ext cx="731600" cy="524800"/>
          </a:xfrm>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GB"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5</a:t>
            </a:fld>
            <a:endParaRPr kumimoji="0" lang="en-GB"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pic>
        <p:nvPicPr>
          <p:cNvPr id="41" name="Picture 40">
            <a:extLst>
              <a:ext uri="{FF2B5EF4-FFF2-40B4-BE49-F238E27FC236}">
                <a16:creationId xmlns:a16="http://schemas.microsoft.com/office/drawing/2014/main" id="{FD1811AE-E3C8-B268-232E-0C97CC4959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42" name="Picture 41">
            <a:extLst>
              <a:ext uri="{FF2B5EF4-FFF2-40B4-BE49-F238E27FC236}">
                <a16:creationId xmlns:a16="http://schemas.microsoft.com/office/drawing/2014/main" id="{90577B65-70E8-93B8-CC9D-E7EB428B7143}"/>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46" name="Content Placeholder 2">
            <a:extLst>
              <a:ext uri="{FF2B5EF4-FFF2-40B4-BE49-F238E27FC236}">
                <a16:creationId xmlns:a16="http://schemas.microsoft.com/office/drawing/2014/main" id="{5631BFA5-17B9-E0EB-D2FF-D8FA9707201A}"/>
              </a:ext>
            </a:extLst>
          </p:cNvPr>
          <p:cNvSpPr txBox="1">
            <a:spLocks/>
          </p:cNvSpPr>
          <p:nvPr/>
        </p:nvSpPr>
        <p:spPr>
          <a:xfrm>
            <a:off x="546200" y="1198431"/>
            <a:ext cx="11402357" cy="4737975"/>
          </a:xfrm>
          <a:prstGeom prst="rect">
            <a:avLst/>
          </a:prstGeom>
        </p:spPr>
        <p:txBody>
          <a:bodyPr vert="horz" lIns="72000" tIns="45720" rIns="360000" bIns="45720" rtlCol="0" anchor="t">
            <a:noAutofit/>
          </a:bodyPr>
          <a:lstStyle>
            <a:lvl1pPr marL="228600" indent="-228600" algn="l" defTabSz="914400" rtl="0" eaLnBrk="1" latinLnBrk="0" hangingPunct="1">
              <a:lnSpc>
                <a:spcPct val="100000"/>
              </a:lnSpc>
              <a:spcBef>
                <a:spcPts val="9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100000"/>
              </a:lnSpc>
              <a:spcBef>
                <a:spcPts val="900"/>
              </a:spcBef>
              <a:buFont typeface="Arial" panose="020B0604020202020204" pitchFamily="34" charset="0"/>
              <a:buChar char="•"/>
              <a:defRPr sz="2000" b="0" i="0" kern="1200">
                <a:solidFill>
                  <a:schemeClr val="tx1"/>
                </a:solidFill>
                <a:latin typeface="+mn-lt"/>
                <a:ea typeface="+mn-ea"/>
                <a:cs typeface="+mn-cs"/>
              </a:defRPr>
            </a:lvl2pPr>
            <a:lvl3pPr marL="1143000" indent="-228600" algn="l" defTabSz="914400" rtl="0" eaLnBrk="1" latinLnBrk="0" hangingPunct="1">
              <a:lnSpc>
                <a:spcPct val="100000"/>
              </a:lnSpc>
              <a:spcBef>
                <a:spcPts val="900"/>
              </a:spcBef>
              <a:buFont typeface="Arial" panose="020B0604020202020204" pitchFamily="34" charset="0"/>
              <a:buChar char="•"/>
              <a:defRPr sz="1800" b="0" i="0" kern="1200">
                <a:solidFill>
                  <a:schemeClr val="tx1"/>
                </a:solidFill>
                <a:latin typeface="+mn-lt"/>
                <a:ea typeface="+mn-ea"/>
                <a:cs typeface="+mn-cs"/>
              </a:defRPr>
            </a:lvl3pPr>
            <a:lvl4pPr marL="1600200" indent="-228600" algn="l" defTabSz="914400" rtl="0" eaLnBrk="1" latinLnBrk="0" hangingPunct="1">
              <a:lnSpc>
                <a:spcPct val="100000"/>
              </a:lnSpc>
              <a:spcBef>
                <a:spcPts val="900"/>
              </a:spcBef>
              <a:buFont typeface="Arial" panose="020B0604020202020204" pitchFamily="34" charset="0"/>
              <a:buChar char="•"/>
              <a:defRPr sz="1600" b="0" i="0" kern="1200">
                <a:solidFill>
                  <a:schemeClr val="tx1"/>
                </a:solidFill>
                <a:latin typeface="+mn-lt"/>
                <a:ea typeface="+mn-ea"/>
                <a:cs typeface="+mn-cs"/>
              </a:defRPr>
            </a:lvl4pPr>
            <a:lvl5pPr marL="2057400" indent="-228600" algn="l" defTabSz="914400" rtl="0" eaLnBrk="1" latinLnBrk="0" hangingPunct="1">
              <a:lnSpc>
                <a:spcPct val="100000"/>
              </a:lnSpc>
              <a:spcBef>
                <a:spcPts val="9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spcBef>
                <a:spcPts val="0"/>
              </a:spcBef>
              <a:spcAft>
                <a:spcPts val="1800"/>
              </a:spcAft>
              <a:buClrTx/>
              <a:buSzTx/>
              <a:buNone/>
              <a:tabLst/>
              <a:defRPr/>
            </a:pPr>
            <a:r>
              <a:rPr kumimoji="0" lang="en-US" sz="2200" b="0" i="0" u="none" strike="noStrike" kern="1200" cap="none" spc="0" normalizeH="0" baseline="0" noProof="0" dirty="0">
                <a:ln>
                  <a:noFill/>
                </a:ln>
                <a:solidFill>
                  <a:srgbClr val="0E5578"/>
                </a:solidFill>
                <a:effectLst/>
                <a:uLnTx/>
                <a:uFillTx/>
                <a:latin typeface="Poppins" panose="00000500000000000000" pitchFamily="2" charset="0"/>
                <a:cs typeface="Poppins" panose="00000500000000000000" pitchFamily="2" charset="0"/>
              </a:rPr>
              <a:t>These projects are designed to get you to do extensive research on the topic at hand and so we expect you to go out and find answers. However, if you really need to speak to/or ask an instructor a question outside of engagement times:</a:t>
            </a:r>
          </a:p>
          <a:p>
            <a:pPr marR="0" lvl="0" algn="l" defTabSz="914400" rtl="0" eaLnBrk="1" fontAlgn="auto" latinLnBrk="0" hangingPunct="1">
              <a:spcBef>
                <a:spcPts val="0"/>
              </a:spcBef>
              <a:spcAft>
                <a:spcPts val="1800"/>
              </a:spcAft>
              <a:buClrTx/>
              <a:buSzTx/>
              <a:tabLst/>
              <a:defRPr/>
            </a:pPr>
            <a:r>
              <a:rPr kumimoji="0" lang="en-US" sz="2200" b="0" i="0" u="none" strike="noStrike" kern="1200" cap="none" spc="0" normalizeH="0" baseline="0" noProof="0" dirty="0">
                <a:ln>
                  <a:noFill/>
                </a:ln>
                <a:solidFill>
                  <a:srgbClr val="0E5578"/>
                </a:solidFill>
                <a:effectLst/>
                <a:uLnTx/>
                <a:uFillTx/>
                <a:latin typeface="Poppins" panose="00000500000000000000" pitchFamily="2" charset="0"/>
                <a:cs typeface="Poppins" panose="00000500000000000000" pitchFamily="2" charset="0"/>
              </a:rPr>
              <a:t>Please post all your questions in the dedicated channel. </a:t>
            </a:r>
            <a:r>
              <a:rPr kumimoji="0" lang="en-US" sz="2200" b="0" i="0" u="none" strike="noStrike" kern="1200" cap="none" spc="0" normalizeH="0" baseline="0" noProof="0" dirty="0" err="1">
                <a:ln>
                  <a:noFill/>
                </a:ln>
                <a:solidFill>
                  <a:srgbClr val="0E5578"/>
                </a:solidFill>
                <a:effectLst/>
                <a:uLnTx/>
                <a:uFillTx/>
                <a:latin typeface="Poppins" panose="00000500000000000000" pitchFamily="2" charset="0"/>
                <a:cs typeface="Poppins" panose="00000500000000000000" pitchFamily="2" charset="0"/>
              </a:rPr>
              <a:t>i.e</a:t>
            </a:r>
            <a:r>
              <a:rPr lang="en-US" sz="2200" dirty="0">
                <a:solidFill>
                  <a:srgbClr val="0E5578"/>
                </a:solidFill>
                <a:latin typeface="Poppins" panose="00000500000000000000" pitchFamily="2" charset="0"/>
                <a:cs typeface="Poppins" panose="00000500000000000000" pitchFamily="2" charset="0"/>
              </a:rPr>
              <a:t>. the channel with the name of the current project.</a:t>
            </a:r>
            <a:endParaRPr lang="en-US" sz="2200" dirty="0">
              <a:solidFill>
                <a:srgbClr val="0E5578"/>
              </a:solidFill>
              <a:latin typeface="Poppins" panose="00000500000000000000" pitchFamily="2" charset="0"/>
              <a:ea typeface="Calibri"/>
              <a:cs typeface="Poppins" panose="00000500000000000000" pitchFamily="2" charset="0"/>
            </a:endParaRPr>
          </a:p>
          <a:p>
            <a:pPr marR="0" lvl="0" algn="l" defTabSz="914400" rtl="0" eaLnBrk="1" fontAlgn="auto" latinLnBrk="0" hangingPunct="1">
              <a:spcBef>
                <a:spcPts val="0"/>
              </a:spcBef>
              <a:spcAft>
                <a:spcPts val="1800"/>
              </a:spcAft>
              <a:buClrTx/>
              <a:buSzTx/>
              <a:tabLst/>
              <a:defRPr/>
            </a:pPr>
            <a:r>
              <a:rPr lang="en-US" sz="2200" dirty="0">
                <a:solidFill>
                  <a:srgbClr val="0E5578"/>
                </a:solidFill>
                <a:latin typeface="Poppins" panose="00000500000000000000" pitchFamily="2" charset="0"/>
                <a:cs typeface="Poppins" panose="00000500000000000000" pitchFamily="2" charset="0"/>
              </a:rPr>
              <a:t>P</a:t>
            </a:r>
            <a:r>
              <a:rPr kumimoji="0" lang="en-US" sz="2200" b="0" i="0" u="none" strike="noStrike" kern="1200" cap="none" spc="0" normalizeH="0" baseline="0" noProof="0" dirty="0">
                <a:ln>
                  <a:noFill/>
                </a:ln>
                <a:solidFill>
                  <a:srgbClr val="0E5578"/>
                </a:solidFill>
                <a:effectLst/>
                <a:uLnTx/>
                <a:uFillTx/>
                <a:latin typeface="Poppins" panose="00000500000000000000" pitchFamily="2" charset="0"/>
                <a:cs typeface="Poppins" panose="00000500000000000000" pitchFamily="2" charset="0"/>
              </a:rPr>
              <a:t>lease tag the instructor and give a descriptive assessment of the problem with good screenshots.</a:t>
            </a:r>
            <a:endParaRPr lang="en-US" sz="2200" b="0" i="0" u="none" strike="noStrike" kern="1200" cap="none" spc="0" normalizeH="0" baseline="0" noProof="0" dirty="0">
              <a:ln>
                <a:noFill/>
              </a:ln>
              <a:solidFill>
                <a:srgbClr val="0E5578"/>
              </a:solidFill>
              <a:effectLst/>
              <a:uLnTx/>
              <a:uFillTx/>
              <a:latin typeface="Poppins" panose="00000500000000000000" pitchFamily="2" charset="0"/>
              <a:ea typeface="Calibri"/>
              <a:cs typeface="Poppins" panose="00000500000000000000" pitchFamily="2" charset="0"/>
            </a:endParaRPr>
          </a:p>
          <a:p>
            <a:pPr marR="0" lvl="0" algn="l" defTabSz="914400" rtl="0" eaLnBrk="1" fontAlgn="auto" latinLnBrk="0" hangingPunct="1">
              <a:spcBef>
                <a:spcPts val="0"/>
              </a:spcBef>
              <a:spcAft>
                <a:spcPts val="1800"/>
              </a:spcAft>
              <a:buClrTx/>
              <a:buSzTx/>
              <a:tabLst/>
              <a:defRPr/>
            </a:pPr>
            <a:r>
              <a:rPr lang="en-US" sz="2200" dirty="0">
                <a:solidFill>
                  <a:srgbClr val="0E5578"/>
                </a:solidFill>
                <a:latin typeface="Poppins" panose="00000500000000000000" pitchFamily="2" charset="0"/>
                <a:cs typeface="Poppins" panose="00000500000000000000" pitchFamily="2" charset="0"/>
              </a:rPr>
              <a:t>Please utilize the materials curated for you on the Thinkific platform.</a:t>
            </a:r>
            <a:endParaRPr lang="en-US" sz="2200" dirty="0">
              <a:solidFill>
                <a:srgbClr val="0E5578"/>
              </a:solidFill>
              <a:latin typeface="Poppins" panose="00000500000000000000" pitchFamily="2" charset="0"/>
              <a:ea typeface="Calibri"/>
              <a:cs typeface="Poppins" panose="00000500000000000000" pitchFamily="2" charset="0"/>
            </a:endParaRPr>
          </a:p>
          <a:p>
            <a:pPr marR="0" lvl="0" algn="l" defTabSz="914400" rtl="0" eaLnBrk="1" fontAlgn="auto" latinLnBrk="0" hangingPunct="1">
              <a:spcBef>
                <a:spcPts val="0"/>
              </a:spcBef>
              <a:spcAft>
                <a:spcPts val="1800"/>
              </a:spcAft>
              <a:buClrTx/>
              <a:buSzTx/>
              <a:tabLst/>
              <a:defRPr/>
            </a:pPr>
            <a:r>
              <a:rPr lang="en-US" sz="2200" dirty="0">
                <a:solidFill>
                  <a:srgbClr val="0E5578"/>
                </a:solidFill>
                <a:latin typeface="Poppins" panose="00000500000000000000" pitchFamily="2" charset="0"/>
                <a:cs typeface="Poppins" panose="00000500000000000000" pitchFamily="2" charset="0"/>
              </a:rPr>
              <a:t>Finally, please fill out the </a:t>
            </a:r>
            <a:r>
              <a:rPr lang="en-US" sz="2200" b="1" dirty="0">
                <a:solidFill>
                  <a:srgbClr val="0E5578"/>
                </a:solidFill>
                <a:latin typeface="Poppins" panose="00000500000000000000" pitchFamily="2" charset="0"/>
                <a:cs typeface="Poppins" panose="00000500000000000000" pitchFamily="2" charset="0"/>
              </a:rPr>
              <a:t>weekly surveys</a:t>
            </a:r>
            <a:r>
              <a:rPr lang="en-US" sz="2200" dirty="0">
                <a:solidFill>
                  <a:srgbClr val="0E5578"/>
                </a:solidFill>
                <a:latin typeface="Poppins" panose="00000500000000000000" pitchFamily="2" charset="0"/>
                <a:cs typeface="Poppins" panose="00000500000000000000" pitchFamily="2" charset="0"/>
              </a:rPr>
              <a:t>, at the end of week, and let us know how we can improve the program for you.</a:t>
            </a:r>
            <a:endParaRPr lang="en-US" sz="2200" dirty="0">
              <a:solidFill>
                <a:srgbClr val="0E5578"/>
              </a:solidFill>
              <a:latin typeface="Poppins" panose="00000500000000000000" pitchFamily="2" charset="0"/>
              <a:ea typeface="Calibri"/>
              <a:cs typeface="Poppins" panose="00000500000000000000" pitchFamily="2" charset="0"/>
            </a:endParaRPr>
          </a:p>
        </p:txBody>
      </p:sp>
    </p:spTree>
    <p:extLst>
      <p:ext uri="{BB962C8B-B14F-4D97-AF65-F5344CB8AC3E}">
        <p14:creationId xmlns:p14="http://schemas.microsoft.com/office/powerpoint/2010/main" val="23914836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243440" y="336182"/>
            <a:ext cx="11705119" cy="726270"/>
          </a:xfrm>
        </p:spPr>
        <p:txBody>
          <a:bodyPr vert="horz" tIns="0" bIns="0" anchor="t"/>
          <a:lstStyle/>
          <a:p>
            <a:pPr algn="l"/>
            <a:r>
              <a:rPr lang="en-GB" dirty="0">
                <a:solidFill>
                  <a:srgbClr val="145275"/>
                </a:solidFill>
                <a:latin typeface="Poppins" panose="00000500000000000000" pitchFamily="2" charset="0"/>
                <a:cs typeface="Poppins" panose="00000500000000000000" pitchFamily="2" charset="0"/>
              </a:rPr>
              <a:t>In this Sprint Planning</a:t>
            </a:r>
          </a:p>
        </p:txBody>
      </p:sp>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GB" sz="1733" b="0" i="0" u="none" strike="noStrike" kern="1200" cap="none" spc="0" normalizeH="0" baseline="0" noProof="0" smtClean="0">
                <a:ln>
                  <a:noFill/>
                </a:ln>
                <a:solidFill>
                  <a:prstClr val="white">
                    <a:lumMod val="10000"/>
                  </a:prst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2</a:t>
            </a:fld>
            <a:endParaRPr kumimoji="0" lang="en-GB" sz="1733" b="0" i="0" u="none" strike="noStrike" kern="1200" cap="none" spc="0" normalizeH="0" baseline="0" noProof="0">
              <a:ln>
                <a:noFill/>
              </a:ln>
              <a:solidFill>
                <a:prstClr val="white">
                  <a:lumMod val="10000"/>
                </a:prstClr>
              </a:solidFill>
              <a:effectLst/>
              <a:uLnTx/>
              <a:uFillTx/>
              <a:latin typeface="Poppins" panose="00000500000000000000" pitchFamily="2" charset="0"/>
              <a:cs typeface="Poppins" panose="00000500000000000000" pitchFamily="2" charset="0"/>
              <a:sym typeface="Ubuntu Light"/>
            </a:endParaRPr>
          </a:p>
        </p:txBody>
      </p:sp>
      <p:sp>
        <p:nvSpPr>
          <p:cNvPr id="13" name="Rectangle 12">
            <a:extLst>
              <a:ext uri="{FF2B5EF4-FFF2-40B4-BE49-F238E27FC236}">
                <a16:creationId xmlns:a16="http://schemas.microsoft.com/office/drawing/2014/main" id="{345BF686-6D1C-A61A-7DBA-41D00E337B87}"/>
              </a:ext>
            </a:extLst>
          </p:cNvPr>
          <p:cNvSpPr/>
          <p:nvPr/>
        </p:nvSpPr>
        <p:spPr>
          <a:xfrm>
            <a:off x="685801" y="1655182"/>
            <a:ext cx="11262758" cy="653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dirty="0">
                <a:solidFill>
                  <a:prstClr val="white">
                    <a:lumMod val="10000"/>
                  </a:prstClr>
                </a:solidFill>
                <a:latin typeface="Poppins" panose="00000500000000000000" pitchFamily="2" charset="0"/>
                <a:cs typeface="Poppins" panose="00000500000000000000" pitchFamily="2" charset="0"/>
              </a:rPr>
              <a:t>Scrum application in Career Accelerator</a:t>
            </a:r>
            <a:endParaRPr kumimoji="0" lang="en-GB" sz="2000" b="0" i="0" u="none" strike="noStrike" kern="1200" cap="none" spc="0" normalizeH="0" baseline="0" noProof="0" dirty="0">
              <a:ln>
                <a:noFill/>
              </a:ln>
              <a:solidFill>
                <a:prstClr val="white">
                  <a:lumMod val="10000"/>
                </a:prstClr>
              </a:solidFill>
              <a:effectLst/>
              <a:uLnTx/>
              <a:uFillTx/>
              <a:latin typeface="Poppins" panose="00000500000000000000" pitchFamily="2" charset="0"/>
              <a:ea typeface="+mn-ea"/>
              <a:cs typeface="Poppins" panose="00000500000000000000" pitchFamily="2" charset="0"/>
            </a:endParaRPr>
          </a:p>
        </p:txBody>
      </p:sp>
      <p:sp>
        <p:nvSpPr>
          <p:cNvPr id="14" name="Rectangle 13">
            <a:extLst>
              <a:ext uri="{FF2B5EF4-FFF2-40B4-BE49-F238E27FC236}">
                <a16:creationId xmlns:a16="http://schemas.microsoft.com/office/drawing/2014/main" id="{3230A6F9-E2BD-1CBA-E5B1-333737180653}"/>
              </a:ext>
            </a:extLst>
          </p:cNvPr>
          <p:cNvSpPr/>
          <p:nvPr/>
        </p:nvSpPr>
        <p:spPr>
          <a:xfrm>
            <a:off x="685801" y="2380719"/>
            <a:ext cx="11262758" cy="653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lumMod val="10000"/>
                  </a:prstClr>
                </a:solidFill>
                <a:effectLst/>
                <a:uLnTx/>
                <a:uFillTx/>
                <a:latin typeface="Poppins" panose="00000500000000000000" pitchFamily="2" charset="0"/>
                <a:ea typeface="+mn-ea"/>
                <a:cs typeface="Poppins" panose="00000500000000000000" pitchFamily="2" charset="0"/>
              </a:rPr>
              <a:t>Introduction to Project</a:t>
            </a:r>
          </a:p>
        </p:txBody>
      </p:sp>
      <p:sp>
        <p:nvSpPr>
          <p:cNvPr id="15" name="Rectangle 14">
            <a:extLst>
              <a:ext uri="{FF2B5EF4-FFF2-40B4-BE49-F238E27FC236}">
                <a16:creationId xmlns:a16="http://schemas.microsoft.com/office/drawing/2014/main" id="{10A0A0AC-B0F2-98B4-1C21-58A56F519D1A}"/>
              </a:ext>
            </a:extLst>
          </p:cNvPr>
          <p:cNvSpPr/>
          <p:nvPr/>
        </p:nvSpPr>
        <p:spPr>
          <a:xfrm>
            <a:off x="685801" y="3106257"/>
            <a:ext cx="11262758" cy="653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lumMod val="10000"/>
                  </a:prstClr>
                </a:solidFill>
                <a:effectLst/>
                <a:uLnTx/>
                <a:uFillTx/>
                <a:latin typeface="Poppins" panose="00000500000000000000" pitchFamily="2" charset="0"/>
                <a:ea typeface="+mn-ea"/>
                <a:cs typeface="Poppins" panose="00000500000000000000" pitchFamily="2" charset="0"/>
              </a:rPr>
              <a:t>Assessment Rubric</a:t>
            </a:r>
          </a:p>
        </p:txBody>
      </p:sp>
      <p:sp>
        <p:nvSpPr>
          <p:cNvPr id="16" name="Rectangle 15">
            <a:extLst>
              <a:ext uri="{FF2B5EF4-FFF2-40B4-BE49-F238E27FC236}">
                <a16:creationId xmlns:a16="http://schemas.microsoft.com/office/drawing/2014/main" id="{3FFF6CB7-351E-B4E8-CE92-1B4677EAC331}"/>
              </a:ext>
            </a:extLst>
          </p:cNvPr>
          <p:cNvSpPr/>
          <p:nvPr/>
        </p:nvSpPr>
        <p:spPr>
          <a:xfrm>
            <a:off x="685801" y="3831794"/>
            <a:ext cx="11262758" cy="653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dirty="0">
                <a:solidFill>
                  <a:prstClr val="white">
                    <a:lumMod val="10000"/>
                  </a:prstClr>
                </a:solidFill>
                <a:latin typeface="Poppins" panose="00000500000000000000" pitchFamily="2" charset="0"/>
                <a:cs typeface="Poppins" panose="00000500000000000000" pitchFamily="2" charset="0"/>
              </a:rPr>
              <a:t>Breakout rooms &amp; Time selection</a:t>
            </a:r>
            <a:endParaRPr kumimoji="0" lang="en-GB" sz="2000" b="0" i="0" u="none" strike="noStrike" kern="1200" cap="none" spc="0" normalizeH="0" baseline="0" noProof="0" dirty="0">
              <a:ln>
                <a:noFill/>
              </a:ln>
              <a:solidFill>
                <a:prstClr val="white">
                  <a:lumMod val="10000"/>
                </a:prstClr>
              </a:solidFill>
              <a:effectLst/>
              <a:uLnTx/>
              <a:uFillTx/>
              <a:latin typeface="Poppins" panose="00000500000000000000" pitchFamily="2" charset="0"/>
              <a:ea typeface="+mn-ea"/>
              <a:cs typeface="Poppins" panose="00000500000000000000" pitchFamily="2" charset="0"/>
            </a:endParaRPr>
          </a:p>
        </p:txBody>
      </p:sp>
      <p:sp>
        <p:nvSpPr>
          <p:cNvPr id="19" name="Rectangle 18">
            <a:extLst>
              <a:ext uri="{FF2B5EF4-FFF2-40B4-BE49-F238E27FC236}">
                <a16:creationId xmlns:a16="http://schemas.microsoft.com/office/drawing/2014/main" id="{486B726B-F3BB-8784-BDEF-585FAB441439}"/>
              </a:ext>
            </a:extLst>
          </p:cNvPr>
          <p:cNvSpPr/>
          <p:nvPr/>
        </p:nvSpPr>
        <p:spPr>
          <a:xfrm>
            <a:off x="243444" y="1655182"/>
            <a:ext cx="342896" cy="653537"/>
          </a:xfrm>
          <a:prstGeom prst="rect">
            <a:avLst/>
          </a:prstGeom>
          <a:solidFill>
            <a:srgbClr val="14527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1</a:t>
            </a:r>
          </a:p>
        </p:txBody>
      </p:sp>
      <p:sp>
        <p:nvSpPr>
          <p:cNvPr id="20" name="Rectangle 19">
            <a:extLst>
              <a:ext uri="{FF2B5EF4-FFF2-40B4-BE49-F238E27FC236}">
                <a16:creationId xmlns:a16="http://schemas.microsoft.com/office/drawing/2014/main" id="{661943EC-3CD7-9197-6C8F-7BA1A20E3E03}"/>
              </a:ext>
            </a:extLst>
          </p:cNvPr>
          <p:cNvSpPr/>
          <p:nvPr/>
        </p:nvSpPr>
        <p:spPr>
          <a:xfrm>
            <a:off x="243444" y="2380719"/>
            <a:ext cx="342896" cy="653537"/>
          </a:xfrm>
          <a:prstGeom prst="rect">
            <a:avLst/>
          </a:prstGeom>
          <a:solidFill>
            <a:srgbClr val="14527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2</a:t>
            </a:r>
          </a:p>
        </p:txBody>
      </p:sp>
      <p:sp>
        <p:nvSpPr>
          <p:cNvPr id="21" name="Rectangle 20">
            <a:extLst>
              <a:ext uri="{FF2B5EF4-FFF2-40B4-BE49-F238E27FC236}">
                <a16:creationId xmlns:a16="http://schemas.microsoft.com/office/drawing/2014/main" id="{75267632-C884-E7C3-717E-8A0351D23209}"/>
              </a:ext>
            </a:extLst>
          </p:cNvPr>
          <p:cNvSpPr/>
          <p:nvPr/>
        </p:nvSpPr>
        <p:spPr>
          <a:xfrm>
            <a:off x="243444" y="3106257"/>
            <a:ext cx="342896" cy="653537"/>
          </a:xfrm>
          <a:prstGeom prst="rect">
            <a:avLst/>
          </a:prstGeom>
          <a:solidFill>
            <a:srgbClr val="14527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rPr>
              <a:t>3</a:t>
            </a:r>
          </a:p>
        </p:txBody>
      </p:sp>
      <p:sp>
        <p:nvSpPr>
          <p:cNvPr id="22" name="Rectangle 21">
            <a:extLst>
              <a:ext uri="{FF2B5EF4-FFF2-40B4-BE49-F238E27FC236}">
                <a16:creationId xmlns:a16="http://schemas.microsoft.com/office/drawing/2014/main" id="{5D041FA1-47D0-C894-09F8-A2A39E2AFFEB}"/>
              </a:ext>
            </a:extLst>
          </p:cNvPr>
          <p:cNvSpPr/>
          <p:nvPr/>
        </p:nvSpPr>
        <p:spPr>
          <a:xfrm>
            <a:off x="243444" y="3831794"/>
            <a:ext cx="342896" cy="653537"/>
          </a:xfrm>
          <a:prstGeom prst="rect">
            <a:avLst/>
          </a:prstGeom>
          <a:solidFill>
            <a:srgbClr val="14527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rPr>
              <a:t>4</a:t>
            </a:r>
          </a:p>
        </p:txBody>
      </p:sp>
      <p:grpSp>
        <p:nvGrpSpPr>
          <p:cNvPr id="30" name="Graphic 43">
            <a:extLst>
              <a:ext uri="{FF2B5EF4-FFF2-40B4-BE49-F238E27FC236}">
                <a16:creationId xmlns:a16="http://schemas.microsoft.com/office/drawing/2014/main" id="{D20AE4AE-8503-46B2-B967-5E7DC0764403}"/>
              </a:ext>
            </a:extLst>
          </p:cNvPr>
          <p:cNvGrpSpPr/>
          <p:nvPr/>
        </p:nvGrpSpPr>
        <p:grpSpPr>
          <a:xfrm>
            <a:off x="11340863" y="2612960"/>
            <a:ext cx="330671" cy="189054"/>
            <a:chOff x="653160" y="3397849"/>
            <a:chExt cx="330671" cy="189054"/>
          </a:xfrm>
          <a:solidFill>
            <a:schemeClr val="bg1">
              <a:lumMod val="75000"/>
            </a:schemeClr>
          </a:solidFill>
        </p:grpSpPr>
        <p:sp>
          <p:nvSpPr>
            <p:cNvPr id="31" name="Freeform: Shape 30">
              <a:extLst>
                <a:ext uri="{FF2B5EF4-FFF2-40B4-BE49-F238E27FC236}">
                  <a16:creationId xmlns:a16="http://schemas.microsoft.com/office/drawing/2014/main" id="{7E031DE0-B449-D90A-45E9-FB50180837F9}"/>
                </a:ext>
              </a:extLst>
            </p:cNvPr>
            <p:cNvSpPr/>
            <p:nvPr/>
          </p:nvSpPr>
          <p:spPr>
            <a:xfrm>
              <a:off x="723983" y="3397849"/>
              <a:ext cx="189024" cy="189054"/>
            </a:xfrm>
            <a:custGeom>
              <a:avLst/>
              <a:gdLst>
                <a:gd name="connsiteX0" fmla="*/ 188937 w 189024"/>
                <a:gd name="connsiteY0" fmla="*/ 175951 h 189054"/>
                <a:gd name="connsiteX1" fmla="*/ 186104 w 189024"/>
                <a:gd name="connsiteY1" fmla="*/ 185158 h 189054"/>
                <a:gd name="connsiteX2" fmla="*/ 177133 w 189024"/>
                <a:gd name="connsiteY2" fmla="*/ 189053 h 189054"/>
                <a:gd name="connsiteX3" fmla="*/ 11878 w 189024"/>
                <a:gd name="connsiteY3" fmla="*/ 189053 h 189054"/>
                <a:gd name="connsiteX4" fmla="*/ 3025 w 189024"/>
                <a:gd name="connsiteY4" fmla="*/ 185158 h 189054"/>
                <a:gd name="connsiteX5" fmla="*/ 74 w 189024"/>
                <a:gd name="connsiteY5" fmla="*/ 175951 h 189054"/>
                <a:gd name="connsiteX6" fmla="*/ 1962 w 189024"/>
                <a:gd name="connsiteY6" fmla="*/ 165445 h 189054"/>
                <a:gd name="connsiteX7" fmla="*/ 10933 w 189024"/>
                <a:gd name="connsiteY7" fmla="*/ 141837 h 189054"/>
                <a:gd name="connsiteX8" fmla="*/ 20376 w 189024"/>
                <a:gd name="connsiteY8" fmla="*/ 127437 h 189054"/>
                <a:gd name="connsiteX9" fmla="*/ 37374 w 189024"/>
                <a:gd name="connsiteY9" fmla="*/ 111029 h 189054"/>
                <a:gd name="connsiteX10" fmla="*/ 82701 w 189024"/>
                <a:gd name="connsiteY10" fmla="*/ 92851 h 189054"/>
                <a:gd name="connsiteX11" fmla="*/ 49236 w 189024"/>
                <a:gd name="connsiteY11" fmla="*/ 35070 h 189054"/>
                <a:gd name="connsiteX12" fmla="*/ 107017 w 189024"/>
                <a:gd name="connsiteY12" fmla="*/ 1604 h 189054"/>
                <a:gd name="connsiteX13" fmla="*/ 140483 w 189024"/>
                <a:gd name="connsiteY13" fmla="*/ 59386 h 189054"/>
                <a:gd name="connsiteX14" fmla="*/ 107017 w 189024"/>
                <a:gd name="connsiteY14" fmla="*/ 92851 h 189054"/>
                <a:gd name="connsiteX15" fmla="*/ 151990 w 189024"/>
                <a:gd name="connsiteY15" fmla="*/ 111029 h 189054"/>
                <a:gd name="connsiteX16" fmla="*/ 168988 w 189024"/>
                <a:gd name="connsiteY16" fmla="*/ 127437 h 189054"/>
                <a:gd name="connsiteX17" fmla="*/ 178195 w 189024"/>
                <a:gd name="connsiteY17" fmla="*/ 141837 h 189054"/>
                <a:gd name="connsiteX18" fmla="*/ 187048 w 189024"/>
                <a:gd name="connsiteY18" fmla="*/ 165445 h 189054"/>
                <a:gd name="connsiteX19" fmla="*/ 188937 w 189024"/>
                <a:gd name="connsiteY19" fmla="*/ 175951 h 18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9024" h="189054">
                  <a:moveTo>
                    <a:pt x="188937" y="175951"/>
                  </a:moveTo>
                  <a:cubicBezTo>
                    <a:pt x="189345" y="179283"/>
                    <a:pt x="188315" y="182632"/>
                    <a:pt x="186104" y="185158"/>
                  </a:cubicBezTo>
                  <a:cubicBezTo>
                    <a:pt x="183817" y="187692"/>
                    <a:pt x="180545" y="189113"/>
                    <a:pt x="177133" y="189053"/>
                  </a:cubicBezTo>
                  <a:lnTo>
                    <a:pt x="11878" y="189053"/>
                  </a:lnTo>
                  <a:cubicBezTo>
                    <a:pt x="8506" y="189079"/>
                    <a:pt x="5284" y="187661"/>
                    <a:pt x="3025" y="185158"/>
                  </a:cubicBezTo>
                  <a:cubicBezTo>
                    <a:pt x="772" y="182651"/>
                    <a:pt x="-302" y="179301"/>
                    <a:pt x="74" y="175951"/>
                  </a:cubicBezTo>
                  <a:cubicBezTo>
                    <a:pt x="463" y="172410"/>
                    <a:pt x="1094" y="168900"/>
                    <a:pt x="1962" y="165445"/>
                  </a:cubicBezTo>
                  <a:cubicBezTo>
                    <a:pt x="3780" y="157179"/>
                    <a:pt x="6803" y="149224"/>
                    <a:pt x="10933" y="141837"/>
                  </a:cubicBezTo>
                  <a:cubicBezTo>
                    <a:pt x="13538" y="136701"/>
                    <a:pt x="16705" y="131872"/>
                    <a:pt x="20376" y="127437"/>
                  </a:cubicBezTo>
                  <a:cubicBezTo>
                    <a:pt x="25293" y="121241"/>
                    <a:pt x="31008" y="115724"/>
                    <a:pt x="37374" y="111029"/>
                  </a:cubicBezTo>
                  <a:cubicBezTo>
                    <a:pt x="50628" y="101100"/>
                    <a:pt x="66260" y="94831"/>
                    <a:pt x="82701" y="92851"/>
                  </a:cubicBezTo>
                  <a:cubicBezTo>
                    <a:pt x="57505" y="86136"/>
                    <a:pt x="42521" y="60266"/>
                    <a:pt x="49236" y="35070"/>
                  </a:cubicBezTo>
                  <a:cubicBezTo>
                    <a:pt x="55950" y="9872"/>
                    <a:pt x="81821" y="-5111"/>
                    <a:pt x="107017" y="1604"/>
                  </a:cubicBezTo>
                  <a:cubicBezTo>
                    <a:pt x="132214" y="8319"/>
                    <a:pt x="147198" y="34188"/>
                    <a:pt x="140483" y="59386"/>
                  </a:cubicBezTo>
                  <a:cubicBezTo>
                    <a:pt x="136127" y="75729"/>
                    <a:pt x="123361" y="88495"/>
                    <a:pt x="107017" y="92851"/>
                  </a:cubicBezTo>
                  <a:cubicBezTo>
                    <a:pt x="123335" y="94891"/>
                    <a:pt x="138838" y="101157"/>
                    <a:pt x="151990" y="111029"/>
                  </a:cubicBezTo>
                  <a:cubicBezTo>
                    <a:pt x="158356" y="115724"/>
                    <a:pt x="164072" y="121241"/>
                    <a:pt x="168988" y="127437"/>
                  </a:cubicBezTo>
                  <a:cubicBezTo>
                    <a:pt x="172534" y="131914"/>
                    <a:pt x="175620" y="136739"/>
                    <a:pt x="178195" y="141837"/>
                  </a:cubicBezTo>
                  <a:cubicBezTo>
                    <a:pt x="182237" y="149254"/>
                    <a:pt x="185217" y="157200"/>
                    <a:pt x="187048" y="165445"/>
                  </a:cubicBezTo>
                  <a:cubicBezTo>
                    <a:pt x="187917" y="168900"/>
                    <a:pt x="188547" y="172410"/>
                    <a:pt x="188937" y="175951"/>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32" name="Freeform: Shape 31">
              <a:extLst>
                <a:ext uri="{FF2B5EF4-FFF2-40B4-BE49-F238E27FC236}">
                  <a16:creationId xmlns:a16="http://schemas.microsoft.com/office/drawing/2014/main" id="{2358CCBE-7FEB-BF4A-AAE3-5D872379E5A5}"/>
                </a:ext>
              </a:extLst>
            </p:cNvPr>
            <p:cNvSpPr/>
            <p:nvPr/>
          </p:nvSpPr>
          <p:spPr>
            <a:xfrm>
              <a:off x="903005" y="3516078"/>
              <a:ext cx="53471" cy="23608"/>
            </a:xfrm>
            <a:custGeom>
              <a:avLst/>
              <a:gdLst>
                <a:gd name="connsiteX0" fmla="*/ 53472 w 53471"/>
                <a:gd name="connsiteY0" fmla="*/ 23608 h 23608"/>
                <a:gd name="connsiteX1" fmla="*/ 12394 w 53471"/>
                <a:gd name="connsiteY1" fmla="*/ 23608 h 23608"/>
                <a:gd name="connsiteX2" fmla="*/ 0 w 53471"/>
                <a:gd name="connsiteY2" fmla="*/ 3188 h 23608"/>
                <a:gd name="connsiteX3" fmla="*/ 15817 w 53471"/>
                <a:gd name="connsiteY3" fmla="*/ 0 h 23608"/>
                <a:gd name="connsiteX4" fmla="*/ 53472 w 53471"/>
                <a:gd name="connsiteY4" fmla="*/ 23608 h 23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71" h="23608">
                  <a:moveTo>
                    <a:pt x="53472" y="23608"/>
                  </a:moveTo>
                  <a:lnTo>
                    <a:pt x="12394" y="23608"/>
                  </a:lnTo>
                  <a:cubicBezTo>
                    <a:pt x="9162" y="16295"/>
                    <a:pt x="4997" y="9431"/>
                    <a:pt x="0" y="3188"/>
                  </a:cubicBezTo>
                  <a:cubicBezTo>
                    <a:pt x="5000" y="1059"/>
                    <a:pt x="10383" y="-26"/>
                    <a:pt x="15817" y="0"/>
                  </a:cubicBezTo>
                  <a:cubicBezTo>
                    <a:pt x="31868" y="-40"/>
                    <a:pt x="46515" y="9144"/>
                    <a:pt x="53472" y="23608"/>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33" name="Freeform: Shape 32">
              <a:extLst>
                <a:ext uri="{FF2B5EF4-FFF2-40B4-BE49-F238E27FC236}">
                  <a16:creationId xmlns:a16="http://schemas.microsoft.com/office/drawing/2014/main" id="{B418A65D-E7D7-F0AB-F478-1F8791947E38}"/>
                </a:ext>
              </a:extLst>
            </p:cNvPr>
            <p:cNvSpPr/>
            <p:nvPr/>
          </p:nvSpPr>
          <p:spPr>
            <a:xfrm>
              <a:off x="865086" y="3508878"/>
              <a:ext cx="27530" cy="27399"/>
            </a:xfrm>
            <a:custGeom>
              <a:avLst/>
              <a:gdLst>
                <a:gd name="connsiteX0" fmla="*/ 20684 w 27530"/>
                <a:gd name="connsiteY0" fmla="*/ 23372 h 27399"/>
                <a:gd name="connsiteX1" fmla="*/ 4028 w 27530"/>
                <a:gd name="connsiteY1" fmla="*/ 24475 h 27399"/>
                <a:gd name="connsiteX2" fmla="*/ 2034 w 27530"/>
                <a:gd name="connsiteY2" fmla="*/ 8971 h 27399"/>
                <a:gd name="connsiteX3" fmla="*/ 10533 w 27530"/>
                <a:gd name="connsiteY3" fmla="*/ 0 h 27399"/>
                <a:gd name="connsiteX4" fmla="*/ 27531 w 27530"/>
                <a:gd name="connsiteY4" fmla="*/ 16407 h 27399"/>
                <a:gd name="connsiteX5" fmla="*/ 20684 w 27530"/>
                <a:gd name="connsiteY5" fmla="*/ 23372 h 27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30" h="27399">
                  <a:moveTo>
                    <a:pt x="20684" y="23372"/>
                  </a:moveTo>
                  <a:cubicBezTo>
                    <a:pt x="16390" y="28276"/>
                    <a:pt x="8932" y="28771"/>
                    <a:pt x="4028" y="24475"/>
                  </a:cubicBezTo>
                  <a:cubicBezTo>
                    <a:pt x="-454" y="20551"/>
                    <a:pt x="-1309" y="13901"/>
                    <a:pt x="2034" y="8971"/>
                  </a:cubicBezTo>
                  <a:cubicBezTo>
                    <a:pt x="4559" y="5702"/>
                    <a:pt x="7406" y="2697"/>
                    <a:pt x="10533" y="0"/>
                  </a:cubicBezTo>
                  <a:cubicBezTo>
                    <a:pt x="16899" y="4694"/>
                    <a:pt x="22614" y="10212"/>
                    <a:pt x="27531" y="16407"/>
                  </a:cubicBezTo>
                  <a:cubicBezTo>
                    <a:pt x="24988" y="18458"/>
                    <a:pt x="22691" y="20795"/>
                    <a:pt x="20684" y="23372"/>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42" name="Freeform: Shape 41">
              <a:extLst>
                <a:ext uri="{FF2B5EF4-FFF2-40B4-BE49-F238E27FC236}">
                  <a16:creationId xmlns:a16="http://schemas.microsoft.com/office/drawing/2014/main" id="{AC66A9BF-C6B1-092A-8623-0A1E7A80DDCC}"/>
                </a:ext>
              </a:extLst>
            </p:cNvPr>
            <p:cNvSpPr/>
            <p:nvPr/>
          </p:nvSpPr>
          <p:spPr>
            <a:xfrm>
              <a:off x="882938" y="3539686"/>
              <a:ext cx="28093" cy="23607"/>
            </a:xfrm>
            <a:custGeom>
              <a:avLst/>
              <a:gdLst>
                <a:gd name="connsiteX0" fmla="*/ 19240 w 28093"/>
                <a:gd name="connsiteY0" fmla="*/ 0 h 23607"/>
                <a:gd name="connsiteX1" fmla="*/ 28093 w 28093"/>
                <a:gd name="connsiteY1" fmla="*/ 23608 h 23607"/>
                <a:gd name="connsiteX2" fmla="*/ 11804 w 28093"/>
                <a:gd name="connsiteY2" fmla="*/ 23608 h 23607"/>
                <a:gd name="connsiteX3" fmla="*/ 0 w 28093"/>
                <a:gd name="connsiteY3" fmla="*/ 11804 h 23607"/>
                <a:gd name="connsiteX4" fmla="*/ 11804 w 28093"/>
                <a:gd name="connsiteY4" fmla="*/ 0 h 23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93" h="23607">
                  <a:moveTo>
                    <a:pt x="19240" y="0"/>
                  </a:moveTo>
                  <a:cubicBezTo>
                    <a:pt x="23282" y="7416"/>
                    <a:pt x="26263" y="15363"/>
                    <a:pt x="28093" y="23608"/>
                  </a:cubicBezTo>
                  <a:lnTo>
                    <a:pt x="11804" y="23608"/>
                  </a:lnTo>
                  <a:cubicBezTo>
                    <a:pt x="5285" y="23608"/>
                    <a:pt x="0" y="18323"/>
                    <a:pt x="0" y="11804"/>
                  </a:cubicBezTo>
                  <a:cubicBezTo>
                    <a:pt x="0" y="5285"/>
                    <a:pt x="5285" y="0"/>
                    <a:pt x="11804" y="0"/>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44" name="Freeform: Shape 43">
              <a:extLst>
                <a:ext uri="{FF2B5EF4-FFF2-40B4-BE49-F238E27FC236}">
                  <a16:creationId xmlns:a16="http://schemas.microsoft.com/office/drawing/2014/main" id="{A67AEA1F-3152-7519-4110-F120EB9F0B96}"/>
                </a:ext>
              </a:extLst>
            </p:cNvPr>
            <p:cNvSpPr/>
            <p:nvPr/>
          </p:nvSpPr>
          <p:spPr>
            <a:xfrm>
              <a:off x="884175" y="3433231"/>
              <a:ext cx="99656" cy="130064"/>
            </a:xfrm>
            <a:custGeom>
              <a:avLst/>
              <a:gdLst>
                <a:gd name="connsiteX0" fmla="*/ 99569 w 99656"/>
                <a:gd name="connsiteY0" fmla="*/ 116961 h 130064"/>
                <a:gd name="connsiteX1" fmla="*/ 96736 w 99656"/>
                <a:gd name="connsiteY1" fmla="*/ 126168 h 130064"/>
                <a:gd name="connsiteX2" fmla="*/ 87765 w 99656"/>
                <a:gd name="connsiteY2" fmla="*/ 130063 h 130064"/>
                <a:gd name="connsiteX3" fmla="*/ 38896 w 99656"/>
                <a:gd name="connsiteY3" fmla="*/ 130063 h 130064"/>
                <a:gd name="connsiteX4" fmla="*/ 31224 w 99656"/>
                <a:gd name="connsiteY4" fmla="*/ 106455 h 130064"/>
                <a:gd name="connsiteX5" fmla="*/ 72302 w 99656"/>
                <a:gd name="connsiteY5" fmla="*/ 106455 h 130064"/>
                <a:gd name="connsiteX6" fmla="*/ 34647 w 99656"/>
                <a:gd name="connsiteY6" fmla="*/ 82847 h 130064"/>
                <a:gd name="connsiteX7" fmla="*/ 18830 w 99656"/>
                <a:gd name="connsiteY7" fmla="*/ 86034 h 130064"/>
                <a:gd name="connsiteX8" fmla="*/ 1478 w 99656"/>
                <a:gd name="connsiteY8" fmla="*/ 68328 h 130064"/>
                <a:gd name="connsiteX9" fmla="*/ 14226 w 99656"/>
                <a:gd name="connsiteY9" fmla="*/ 62544 h 130064"/>
                <a:gd name="connsiteX10" fmla="*/ 6632 w 99656"/>
                <a:gd name="connsiteY10" fmla="*/ 14226 h 130064"/>
                <a:gd name="connsiteX11" fmla="*/ 54950 w 99656"/>
                <a:gd name="connsiteY11" fmla="*/ 6632 h 130064"/>
                <a:gd name="connsiteX12" fmla="*/ 62544 w 99656"/>
                <a:gd name="connsiteY12" fmla="*/ 54950 h 130064"/>
                <a:gd name="connsiteX13" fmla="*/ 54950 w 99656"/>
                <a:gd name="connsiteY13" fmla="*/ 62544 h 130064"/>
                <a:gd name="connsiteX14" fmla="*/ 99569 w 99656"/>
                <a:gd name="connsiteY14" fmla="*/ 116961 h 13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656" h="130064">
                  <a:moveTo>
                    <a:pt x="99569" y="116961"/>
                  </a:moveTo>
                  <a:cubicBezTo>
                    <a:pt x="99977" y="120293"/>
                    <a:pt x="98947" y="123642"/>
                    <a:pt x="96736" y="126168"/>
                  </a:cubicBezTo>
                  <a:cubicBezTo>
                    <a:pt x="94449" y="128702"/>
                    <a:pt x="91177" y="130123"/>
                    <a:pt x="87765" y="130063"/>
                  </a:cubicBezTo>
                  <a:lnTo>
                    <a:pt x="38896" y="130063"/>
                  </a:lnTo>
                  <a:cubicBezTo>
                    <a:pt x="37378" y="121893"/>
                    <a:pt x="34799" y="113956"/>
                    <a:pt x="31224" y="106455"/>
                  </a:cubicBezTo>
                  <a:lnTo>
                    <a:pt x="72302" y="106455"/>
                  </a:lnTo>
                  <a:cubicBezTo>
                    <a:pt x="65344" y="91991"/>
                    <a:pt x="50698" y="82807"/>
                    <a:pt x="34647" y="82847"/>
                  </a:cubicBezTo>
                  <a:cubicBezTo>
                    <a:pt x="29212" y="82821"/>
                    <a:pt x="23830" y="83906"/>
                    <a:pt x="18830" y="86034"/>
                  </a:cubicBezTo>
                  <a:cubicBezTo>
                    <a:pt x="13782" y="79454"/>
                    <a:pt x="7956" y="73508"/>
                    <a:pt x="1478" y="68328"/>
                  </a:cubicBezTo>
                  <a:cubicBezTo>
                    <a:pt x="5496" y="65927"/>
                    <a:pt x="9773" y="63987"/>
                    <a:pt x="14226" y="62544"/>
                  </a:cubicBezTo>
                  <a:cubicBezTo>
                    <a:pt x="-1213" y="51299"/>
                    <a:pt x="-4614" y="29666"/>
                    <a:pt x="6632" y="14226"/>
                  </a:cubicBezTo>
                  <a:cubicBezTo>
                    <a:pt x="17877" y="-1213"/>
                    <a:pt x="39510" y="-4614"/>
                    <a:pt x="54950" y="6632"/>
                  </a:cubicBezTo>
                  <a:cubicBezTo>
                    <a:pt x="70389" y="17877"/>
                    <a:pt x="73790" y="39510"/>
                    <a:pt x="62544" y="54950"/>
                  </a:cubicBezTo>
                  <a:cubicBezTo>
                    <a:pt x="60423" y="57862"/>
                    <a:pt x="57862" y="60423"/>
                    <a:pt x="54950" y="62544"/>
                  </a:cubicBezTo>
                  <a:cubicBezTo>
                    <a:pt x="79269" y="70272"/>
                    <a:pt x="96756" y="91599"/>
                    <a:pt x="99569" y="116961"/>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45" name="Freeform: Shape 44">
              <a:extLst>
                <a:ext uri="{FF2B5EF4-FFF2-40B4-BE49-F238E27FC236}">
                  <a16:creationId xmlns:a16="http://schemas.microsoft.com/office/drawing/2014/main" id="{51D4A86F-F1BC-3EAB-2411-078FA544CDFB}"/>
                </a:ext>
              </a:extLst>
            </p:cNvPr>
            <p:cNvSpPr/>
            <p:nvPr/>
          </p:nvSpPr>
          <p:spPr>
            <a:xfrm>
              <a:off x="680500" y="3516078"/>
              <a:ext cx="53471" cy="23608"/>
            </a:xfrm>
            <a:custGeom>
              <a:avLst/>
              <a:gdLst>
                <a:gd name="connsiteX0" fmla="*/ 53472 w 53471"/>
                <a:gd name="connsiteY0" fmla="*/ 3188 h 23608"/>
                <a:gd name="connsiteX1" fmla="*/ 41078 w 53471"/>
                <a:gd name="connsiteY1" fmla="*/ 23608 h 23608"/>
                <a:gd name="connsiteX2" fmla="*/ 0 w 53471"/>
                <a:gd name="connsiteY2" fmla="*/ 23608 h 23608"/>
                <a:gd name="connsiteX3" fmla="*/ 37655 w 53471"/>
                <a:gd name="connsiteY3" fmla="*/ 0 h 23608"/>
                <a:gd name="connsiteX4" fmla="*/ 53472 w 53471"/>
                <a:gd name="connsiteY4" fmla="*/ 3188 h 23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71" h="23608">
                  <a:moveTo>
                    <a:pt x="53472" y="3188"/>
                  </a:moveTo>
                  <a:cubicBezTo>
                    <a:pt x="48476" y="9431"/>
                    <a:pt x="44310" y="16295"/>
                    <a:pt x="41078" y="23608"/>
                  </a:cubicBezTo>
                  <a:lnTo>
                    <a:pt x="0" y="23608"/>
                  </a:lnTo>
                  <a:cubicBezTo>
                    <a:pt x="6957" y="9144"/>
                    <a:pt x="21604" y="-40"/>
                    <a:pt x="37655" y="0"/>
                  </a:cubicBezTo>
                  <a:cubicBezTo>
                    <a:pt x="43089" y="-26"/>
                    <a:pt x="48471" y="1059"/>
                    <a:pt x="53472" y="3188"/>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46" name="Freeform: Shape 45">
              <a:extLst>
                <a:ext uri="{FF2B5EF4-FFF2-40B4-BE49-F238E27FC236}">
                  <a16:creationId xmlns:a16="http://schemas.microsoft.com/office/drawing/2014/main" id="{DF50B7BC-B516-790F-5D85-3E90ABC476FB}"/>
                </a:ext>
              </a:extLst>
            </p:cNvPr>
            <p:cNvSpPr/>
            <p:nvPr/>
          </p:nvSpPr>
          <p:spPr>
            <a:xfrm>
              <a:off x="725946" y="3539686"/>
              <a:ext cx="28093" cy="23607"/>
            </a:xfrm>
            <a:custGeom>
              <a:avLst/>
              <a:gdLst>
                <a:gd name="connsiteX0" fmla="*/ 28093 w 28093"/>
                <a:gd name="connsiteY0" fmla="*/ 11804 h 23607"/>
                <a:gd name="connsiteX1" fmla="*/ 16289 w 28093"/>
                <a:gd name="connsiteY1" fmla="*/ 23608 h 23607"/>
                <a:gd name="connsiteX2" fmla="*/ 0 w 28093"/>
                <a:gd name="connsiteY2" fmla="*/ 23608 h 23607"/>
                <a:gd name="connsiteX3" fmla="*/ 8971 w 28093"/>
                <a:gd name="connsiteY3" fmla="*/ 0 h 23607"/>
                <a:gd name="connsiteX4" fmla="*/ 16289 w 28093"/>
                <a:gd name="connsiteY4" fmla="*/ 0 h 23607"/>
                <a:gd name="connsiteX5" fmla="*/ 28093 w 28093"/>
                <a:gd name="connsiteY5" fmla="*/ 11804 h 23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93" h="23607">
                  <a:moveTo>
                    <a:pt x="28093" y="11804"/>
                  </a:moveTo>
                  <a:cubicBezTo>
                    <a:pt x="28093" y="18323"/>
                    <a:pt x="22809" y="23608"/>
                    <a:pt x="16289" y="23608"/>
                  </a:cubicBezTo>
                  <a:lnTo>
                    <a:pt x="0" y="23608"/>
                  </a:lnTo>
                  <a:cubicBezTo>
                    <a:pt x="1818" y="15342"/>
                    <a:pt x="4841" y="7387"/>
                    <a:pt x="8971" y="0"/>
                  </a:cubicBezTo>
                  <a:lnTo>
                    <a:pt x="16289" y="0"/>
                  </a:lnTo>
                  <a:cubicBezTo>
                    <a:pt x="22809" y="0"/>
                    <a:pt x="28093" y="5285"/>
                    <a:pt x="28093" y="11804"/>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47" name="Freeform: Shape 46">
              <a:extLst>
                <a:ext uri="{FF2B5EF4-FFF2-40B4-BE49-F238E27FC236}">
                  <a16:creationId xmlns:a16="http://schemas.microsoft.com/office/drawing/2014/main" id="{BECCF324-8387-F87B-C1E1-02F4F784B4E5}"/>
                </a:ext>
              </a:extLst>
            </p:cNvPr>
            <p:cNvSpPr/>
            <p:nvPr/>
          </p:nvSpPr>
          <p:spPr>
            <a:xfrm>
              <a:off x="653160" y="3433349"/>
              <a:ext cx="99524" cy="129945"/>
            </a:xfrm>
            <a:custGeom>
              <a:avLst/>
              <a:gdLst>
                <a:gd name="connsiteX0" fmla="*/ 27341 w 99524"/>
                <a:gd name="connsiteY0" fmla="*/ 106337 h 129945"/>
                <a:gd name="connsiteX1" fmla="*/ 68419 w 99524"/>
                <a:gd name="connsiteY1" fmla="*/ 106337 h 129945"/>
                <a:gd name="connsiteX2" fmla="*/ 60746 w 99524"/>
                <a:gd name="connsiteY2" fmla="*/ 129945 h 129945"/>
                <a:gd name="connsiteX3" fmla="*/ 11878 w 99524"/>
                <a:gd name="connsiteY3" fmla="*/ 129945 h 129945"/>
                <a:gd name="connsiteX4" fmla="*/ 3025 w 99524"/>
                <a:gd name="connsiteY4" fmla="*/ 126050 h 129945"/>
                <a:gd name="connsiteX5" fmla="*/ 74 w 99524"/>
                <a:gd name="connsiteY5" fmla="*/ 116843 h 129945"/>
                <a:gd name="connsiteX6" fmla="*/ 44575 w 99524"/>
                <a:gd name="connsiteY6" fmla="*/ 62544 h 129945"/>
                <a:gd name="connsiteX7" fmla="*/ 36980 w 99524"/>
                <a:gd name="connsiteY7" fmla="*/ 14226 h 129945"/>
                <a:gd name="connsiteX8" fmla="*/ 85298 w 99524"/>
                <a:gd name="connsiteY8" fmla="*/ 6632 h 129945"/>
                <a:gd name="connsiteX9" fmla="*/ 92893 w 99524"/>
                <a:gd name="connsiteY9" fmla="*/ 54950 h 129945"/>
                <a:gd name="connsiteX10" fmla="*/ 85298 w 99524"/>
                <a:gd name="connsiteY10" fmla="*/ 62544 h 129945"/>
                <a:gd name="connsiteX11" fmla="*/ 98046 w 99524"/>
                <a:gd name="connsiteY11" fmla="*/ 68328 h 129945"/>
                <a:gd name="connsiteX12" fmla="*/ 80695 w 99524"/>
                <a:gd name="connsiteY12" fmla="*/ 86034 h 129945"/>
                <a:gd name="connsiteX13" fmla="*/ 64995 w 99524"/>
                <a:gd name="connsiteY13" fmla="*/ 82729 h 129945"/>
                <a:gd name="connsiteX14" fmla="*/ 27341 w 99524"/>
                <a:gd name="connsiteY14" fmla="*/ 106337 h 129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524" h="129945">
                  <a:moveTo>
                    <a:pt x="27341" y="106337"/>
                  </a:moveTo>
                  <a:lnTo>
                    <a:pt x="68419" y="106337"/>
                  </a:lnTo>
                  <a:cubicBezTo>
                    <a:pt x="64843" y="113838"/>
                    <a:pt x="62264" y="121775"/>
                    <a:pt x="60746" y="129945"/>
                  </a:cubicBezTo>
                  <a:lnTo>
                    <a:pt x="11878" y="129945"/>
                  </a:lnTo>
                  <a:cubicBezTo>
                    <a:pt x="8506" y="129971"/>
                    <a:pt x="5284" y="128553"/>
                    <a:pt x="3025" y="126050"/>
                  </a:cubicBezTo>
                  <a:cubicBezTo>
                    <a:pt x="772" y="123542"/>
                    <a:pt x="-302" y="120192"/>
                    <a:pt x="74" y="116843"/>
                  </a:cubicBezTo>
                  <a:cubicBezTo>
                    <a:pt x="2912" y="91556"/>
                    <a:pt x="20338" y="70294"/>
                    <a:pt x="44575" y="62544"/>
                  </a:cubicBezTo>
                  <a:cubicBezTo>
                    <a:pt x="29135" y="51299"/>
                    <a:pt x="25735" y="29666"/>
                    <a:pt x="36980" y="14226"/>
                  </a:cubicBezTo>
                  <a:cubicBezTo>
                    <a:pt x="48226" y="-1213"/>
                    <a:pt x="69858" y="-4614"/>
                    <a:pt x="85298" y="6632"/>
                  </a:cubicBezTo>
                  <a:cubicBezTo>
                    <a:pt x="100738" y="17877"/>
                    <a:pt x="104138" y="39510"/>
                    <a:pt x="92893" y="54950"/>
                  </a:cubicBezTo>
                  <a:cubicBezTo>
                    <a:pt x="90772" y="57862"/>
                    <a:pt x="88210" y="60423"/>
                    <a:pt x="85298" y="62544"/>
                  </a:cubicBezTo>
                  <a:cubicBezTo>
                    <a:pt x="89752" y="63987"/>
                    <a:pt x="94028" y="65926"/>
                    <a:pt x="98046" y="68328"/>
                  </a:cubicBezTo>
                  <a:cubicBezTo>
                    <a:pt x="91569" y="73508"/>
                    <a:pt x="85742" y="79454"/>
                    <a:pt x="80695" y="86034"/>
                  </a:cubicBezTo>
                  <a:cubicBezTo>
                    <a:pt x="75739" y="83881"/>
                    <a:pt x="70398" y="82756"/>
                    <a:pt x="64995" y="82729"/>
                  </a:cubicBezTo>
                  <a:cubicBezTo>
                    <a:pt x="48945" y="82689"/>
                    <a:pt x="34298" y="91872"/>
                    <a:pt x="27341" y="106337"/>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48" name="Freeform: Shape 47">
              <a:extLst>
                <a:ext uri="{FF2B5EF4-FFF2-40B4-BE49-F238E27FC236}">
                  <a16:creationId xmlns:a16="http://schemas.microsoft.com/office/drawing/2014/main" id="{63D3FE8D-AA01-8B16-D16E-45AB368D219A}"/>
                </a:ext>
              </a:extLst>
            </p:cNvPr>
            <p:cNvSpPr/>
            <p:nvPr/>
          </p:nvSpPr>
          <p:spPr>
            <a:xfrm>
              <a:off x="744360" y="3508878"/>
              <a:ext cx="27944" cy="27944"/>
            </a:xfrm>
            <a:custGeom>
              <a:avLst/>
              <a:gdLst>
                <a:gd name="connsiteX0" fmla="*/ 23372 w 27944"/>
                <a:gd name="connsiteY0" fmla="*/ 25497 h 27944"/>
                <a:gd name="connsiteX1" fmla="*/ 6846 w 27944"/>
                <a:gd name="connsiteY1" fmla="*/ 23372 h 27944"/>
                <a:gd name="connsiteX2" fmla="*/ 0 w 27944"/>
                <a:gd name="connsiteY2" fmla="*/ 16407 h 27944"/>
                <a:gd name="connsiteX3" fmla="*/ 16998 w 27944"/>
                <a:gd name="connsiteY3" fmla="*/ 0 h 27944"/>
                <a:gd name="connsiteX4" fmla="*/ 25497 w 27944"/>
                <a:gd name="connsiteY4" fmla="*/ 8971 h 27944"/>
                <a:gd name="connsiteX5" fmla="*/ 23372 w 27944"/>
                <a:gd name="connsiteY5" fmla="*/ 25497 h 27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44" h="27944">
                  <a:moveTo>
                    <a:pt x="23372" y="25497"/>
                  </a:moveTo>
                  <a:cubicBezTo>
                    <a:pt x="18218" y="29460"/>
                    <a:pt x="10830" y="28510"/>
                    <a:pt x="6846" y="23372"/>
                  </a:cubicBezTo>
                  <a:cubicBezTo>
                    <a:pt x="4840" y="20795"/>
                    <a:pt x="2542" y="18458"/>
                    <a:pt x="0" y="16407"/>
                  </a:cubicBezTo>
                  <a:cubicBezTo>
                    <a:pt x="4916" y="10212"/>
                    <a:pt x="10632" y="4694"/>
                    <a:pt x="16998" y="0"/>
                  </a:cubicBezTo>
                  <a:cubicBezTo>
                    <a:pt x="20125" y="2697"/>
                    <a:pt x="22972" y="5702"/>
                    <a:pt x="25497" y="8971"/>
                  </a:cubicBezTo>
                  <a:cubicBezTo>
                    <a:pt x="29460" y="14125"/>
                    <a:pt x="28510" y="21513"/>
                    <a:pt x="23372" y="25497"/>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grpSp>
      <p:grpSp>
        <p:nvGrpSpPr>
          <p:cNvPr id="49" name="Graphic 369">
            <a:extLst>
              <a:ext uri="{FF2B5EF4-FFF2-40B4-BE49-F238E27FC236}">
                <a16:creationId xmlns:a16="http://schemas.microsoft.com/office/drawing/2014/main" id="{F5DF1EDF-5E77-2D16-4F5B-4115A8BB9274}"/>
              </a:ext>
            </a:extLst>
          </p:cNvPr>
          <p:cNvGrpSpPr/>
          <p:nvPr/>
        </p:nvGrpSpPr>
        <p:grpSpPr>
          <a:xfrm>
            <a:off x="11374435" y="4052443"/>
            <a:ext cx="283262" cy="283262"/>
            <a:chOff x="7141200" y="4474200"/>
            <a:chExt cx="609600" cy="609600"/>
          </a:xfrm>
          <a:solidFill>
            <a:schemeClr val="bg1">
              <a:lumMod val="75000"/>
            </a:schemeClr>
          </a:solidFill>
        </p:grpSpPr>
        <p:sp>
          <p:nvSpPr>
            <p:cNvPr id="50" name="Freeform: Shape 49">
              <a:extLst>
                <a:ext uri="{FF2B5EF4-FFF2-40B4-BE49-F238E27FC236}">
                  <a16:creationId xmlns:a16="http://schemas.microsoft.com/office/drawing/2014/main" id="{C7ECB642-9B18-6C5E-D30A-03A49B40511E}"/>
                </a:ext>
              </a:extLst>
            </p:cNvPr>
            <p:cNvSpPr/>
            <p:nvPr/>
          </p:nvSpPr>
          <p:spPr>
            <a:xfrm>
              <a:off x="7353569" y="4475000"/>
              <a:ext cx="180975" cy="114300"/>
            </a:xfrm>
            <a:custGeom>
              <a:avLst/>
              <a:gdLst>
                <a:gd name="connsiteX0" fmla="*/ 160449 w 180975"/>
                <a:gd name="connsiteY0" fmla="*/ 26299 h 114300"/>
                <a:gd name="connsiteX1" fmla="*/ 126387 w 180975"/>
                <a:gd name="connsiteY1" fmla="*/ 26299 h 114300"/>
                <a:gd name="connsiteX2" fmla="*/ 93374 w 180975"/>
                <a:gd name="connsiteY2" fmla="*/ 7144 h 114300"/>
                <a:gd name="connsiteX3" fmla="*/ 60369 w 180975"/>
                <a:gd name="connsiteY3" fmla="*/ 26299 h 114300"/>
                <a:gd name="connsiteX4" fmla="*/ 26308 w 180975"/>
                <a:gd name="connsiteY4" fmla="*/ 26299 h 114300"/>
                <a:gd name="connsiteX5" fmla="*/ 7144 w 180975"/>
                <a:gd name="connsiteY5" fmla="*/ 45463 h 114300"/>
                <a:gd name="connsiteX6" fmla="*/ 7144 w 180975"/>
                <a:gd name="connsiteY6" fmla="*/ 98288 h 114300"/>
                <a:gd name="connsiteX7" fmla="*/ 16726 w 180975"/>
                <a:gd name="connsiteY7" fmla="*/ 107871 h 114300"/>
                <a:gd name="connsiteX8" fmla="*/ 170021 w 180975"/>
                <a:gd name="connsiteY8" fmla="*/ 107871 h 114300"/>
                <a:gd name="connsiteX9" fmla="*/ 179603 w 180975"/>
                <a:gd name="connsiteY9" fmla="*/ 98288 h 114300"/>
                <a:gd name="connsiteX10" fmla="*/ 179603 w 180975"/>
                <a:gd name="connsiteY10" fmla="*/ 45463 h 114300"/>
                <a:gd name="connsiteX11" fmla="*/ 160449 w 180975"/>
                <a:gd name="connsiteY11" fmla="*/ 26299 h 114300"/>
                <a:gd name="connsiteX12" fmla="*/ 160449 w 180975"/>
                <a:gd name="connsiteY12" fmla="*/ 26299 h 114300"/>
                <a:gd name="connsiteX13" fmla="*/ 93383 w 180975"/>
                <a:gd name="connsiteY13" fmla="*/ 59836 h 114300"/>
                <a:gd name="connsiteX14" fmla="*/ 79019 w 180975"/>
                <a:gd name="connsiteY14" fmla="*/ 45463 h 114300"/>
                <a:gd name="connsiteX15" fmla="*/ 93383 w 180975"/>
                <a:gd name="connsiteY15" fmla="*/ 31090 h 114300"/>
                <a:gd name="connsiteX16" fmla="*/ 107756 w 180975"/>
                <a:gd name="connsiteY16" fmla="*/ 45463 h 114300"/>
                <a:gd name="connsiteX17" fmla="*/ 93383 w 180975"/>
                <a:gd name="connsiteY17" fmla="*/ 59836 h 114300"/>
                <a:gd name="connsiteX18" fmla="*/ 93383 w 180975"/>
                <a:gd name="connsiteY18" fmla="*/ 5983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0975" h="114300">
                  <a:moveTo>
                    <a:pt x="160449" y="26299"/>
                  </a:moveTo>
                  <a:lnTo>
                    <a:pt x="126387" y="26299"/>
                  </a:lnTo>
                  <a:cubicBezTo>
                    <a:pt x="119748" y="14897"/>
                    <a:pt x="107528" y="7144"/>
                    <a:pt x="93374" y="7144"/>
                  </a:cubicBezTo>
                  <a:cubicBezTo>
                    <a:pt x="79229" y="7144"/>
                    <a:pt x="67008" y="14897"/>
                    <a:pt x="60369" y="26299"/>
                  </a:cubicBezTo>
                  <a:lnTo>
                    <a:pt x="26308" y="26299"/>
                  </a:lnTo>
                  <a:cubicBezTo>
                    <a:pt x="15726" y="26299"/>
                    <a:pt x="7144" y="34881"/>
                    <a:pt x="7144" y="45463"/>
                  </a:cubicBezTo>
                  <a:lnTo>
                    <a:pt x="7144" y="98288"/>
                  </a:lnTo>
                  <a:cubicBezTo>
                    <a:pt x="7144" y="103584"/>
                    <a:pt x="11430" y="107871"/>
                    <a:pt x="16726" y="107871"/>
                  </a:cubicBezTo>
                  <a:lnTo>
                    <a:pt x="170021" y="107871"/>
                  </a:lnTo>
                  <a:cubicBezTo>
                    <a:pt x="175317" y="107871"/>
                    <a:pt x="179603" y="103584"/>
                    <a:pt x="179603" y="98288"/>
                  </a:cubicBezTo>
                  <a:lnTo>
                    <a:pt x="179603" y="45463"/>
                  </a:lnTo>
                  <a:cubicBezTo>
                    <a:pt x="179613" y="34881"/>
                    <a:pt x="171031" y="26299"/>
                    <a:pt x="160449" y="26299"/>
                  </a:cubicBezTo>
                  <a:lnTo>
                    <a:pt x="160449" y="26299"/>
                  </a:lnTo>
                  <a:close/>
                  <a:moveTo>
                    <a:pt x="93383" y="59836"/>
                  </a:moveTo>
                  <a:cubicBezTo>
                    <a:pt x="85449" y="59836"/>
                    <a:pt x="79019" y="53397"/>
                    <a:pt x="79019" y="45463"/>
                  </a:cubicBezTo>
                  <a:cubicBezTo>
                    <a:pt x="79019" y="37529"/>
                    <a:pt x="85449" y="31090"/>
                    <a:pt x="93383" y="31090"/>
                  </a:cubicBezTo>
                  <a:cubicBezTo>
                    <a:pt x="101317" y="31090"/>
                    <a:pt x="107756" y="37529"/>
                    <a:pt x="107756" y="45463"/>
                  </a:cubicBezTo>
                  <a:cubicBezTo>
                    <a:pt x="107756" y="53397"/>
                    <a:pt x="101327" y="59836"/>
                    <a:pt x="93383" y="59836"/>
                  </a:cubicBezTo>
                  <a:lnTo>
                    <a:pt x="93383" y="5983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51" name="Freeform: Shape 50">
              <a:extLst>
                <a:ext uri="{FF2B5EF4-FFF2-40B4-BE49-F238E27FC236}">
                  <a16:creationId xmlns:a16="http://schemas.microsoft.com/office/drawing/2014/main" id="{696378BB-866D-0D3F-0A3A-4A700E1E38AD}"/>
                </a:ext>
              </a:extLst>
            </p:cNvPr>
            <p:cNvSpPr/>
            <p:nvPr/>
          </p:nvSpPr>
          <p:spPr>
            <a:xfrm>
              <a:off x="7228068" y="4513024"/>
              <a:ext cx="428625" cy="561975"/>
            </a:xfrm>
            <a:custGeom>
              <a:avLst/>
              <a:gdLst>
                <a:gd name="connsiteX0" fmla="*/ 399964 w 428625"/>
                <a:gd name="connsiteY0" fmla="*/ 7144 h 561975"/>
                <a:gd name="connsiteX1" fmla="*/ 330489 w 428625"/>
                <a:gd name="connsiteY1" fmla="*/ 7144 h 561975"/>
                <a:gd name="connsiteX2" fmla="*/ 330498 w 428625"/>
                <a:gd name="connsiteY2" fmla="*/ 7429 h 561975"/>
                <a:gd name="connsiteX3" fmla="*/ 330498 w 428625"/>
                <a:gd name="connsiteY3" fmla="*/ 60255 h 561975"/>
                <a:gd name="connsiteX4" fmla="*/ 330479 w 428625"/>
                <a:gd name="connsiteY4" fmla="*/ 60827 h 561975"/>
                <a:gd name="connsiteX5" fmla="*/ 381762 w 428625"/>
                <a:gd name="connsiteY5" fmla="*/ 60827 h 561975"/>
                <a:gd name="connsiteX6" fmla="*/ 391344 w 428625"/>
                <a:gd name="connsiteY6" fmla="*/ 70409 h 561975"/>
                <a:gd name="connsiteX7" fmla="*/ 391344 w 428625"/>
                <a:gd name="connsiteY7" fmla="*/ 511131 h 561975"/>
                <a:gd name="connsiteX8" fmla="*/ 381762 w 428625"/>
                <a:gd name="connsiteY8" fmla="*/ 520713 h 561975"/>
                <a:gd name="connsiteX9" fmla="*/ 56007 w 428625"/>
                <a:gd name="connsiteY9" fmla="*/ 520713 h 561975"/>
                <a:gd name="connsiteX10" fmla="*/ 46425 w 428625"/>
                <a:gd name="connsiteY10" fmla="*/ 511131 h 561975"/>
                <a:gd name="connsiteX11" fmla="*/ 46425 w 428625"/>
                <a:gd name="connsiteY11" fmla="*/ 70409 h 561975"/>
                <a:gd name="connsiteX12" fmla="*/ 56007 w 428625"/>
                <a:gd name="connsiteY12" fmla="*/ 60827 h 561975"/>
                <a:gd name="connsiteX13" fmla="*/ 107290 w 428625"/>
                <a:gd name="connsiteY13" fmla="*/ 60827 h 561975"/>
                <a:gd name="connsiteX14" fmla="*/ 107271 w 428625"/>
                <a:gd name="connsiteY14" fmla="*/ 60255 h 561975"/>
                <a:gd name="connsiteX15" fmla="*/ 107271 w 428625"/>
                <a:gd name="connsiteY15" fmla="*/ 7439 h 561975"/>
                <a:gd name="connsiteX16" fmla="*/ 107280 w 428625"/>
                <a:gd name="connsiteY16" fmla="*/ 7153 h 561975"/>
                <a:gd name="connsiteX17" fmla="*/ 35890 w 428625"/>
                <a:gd name="connsiteY17" fmla="*/ 7153 h 561975"/>
                <a:gd name="connsiteX18" fmla="*/ 7144 w 428625"/>
                <a:gd name="connsiteY18" fmla="*/ 35900 h 561975"/>
                <a:gd name="connsiteX19" fmla="*/ 7144 w 428625"/>
                <a:gd name="connsiteY19" fmla="*/ 534105 h 561975"/>
                <a:gd name="connsiteX20" fmla="*/ 35890 w 428625"/>
                <a:gd name="connsiteY20" fmla="*/ 562842 h 561975"/>
                <a:gd name="connsiteX21" fmla="*/ 399964 w 428625"/>
                <a:gd name="connsiteY21" fmla="*/ 562842 h 561975"/>
                <a:gd name="connsiteX22" fmla="*/ 428711 w 428625"/>
                <a:gd name="connsiteY22" fmla="*/ 534105 h 561975"/>
                <a:gd name="connsiteX23" fmla="*/ 428711 w 428625"/>
                <a:gd name="connsiteY23" fmla="*/ 35890 h 561975"/>
                <a:gd name="connsiteX24" fmla="*/ 399964 w 428625"/>
                <a:gd name="connsiteY24" fmla="*/ 7144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8625" h="561975">
                  <a:moveTo>
                    <a:pt x="399964" y="7144"/>
                  </a:moveTo>
                  <a:lnTo>
                    <a:pt x="330489" y="7144"/>
                  </a:lnTo>
                  <a:cubicBezTo>
                    <a:pt x="330489" y="7239"/>
                    <a:pt x="330498" y="7334"/>
                    <a:pt x="330498" y="7429"/>
                  </a:cubicBezTo>
                  <a:lnTo>
                    <a:pt x="330498" y="60255"/>
                  </a:lnTo>
                  <a:cubicBezTo>
                    <a:pt x="330498" y="60446"/>
                    <a:pt x="330489" y="60636"/>
                    <a:pt x="330479" y="60827"/>
                  </a:cubicBezTo>
                  <a:lnTo>
                    <a:pt x="381762" y="60827"/>
                  </a:lnTo>
                  <a:cubicBezTo>
                    <a:pt x="387058" y="60827"/>
                    <a:pt x="391344" y="65113"/>
                    <a:pt x="391344" y="70409"/>
                  </a:cubicBezTo>
                  <a:lnTo>
                    <a:pt x="391344" y="511131"/>
                  </a:lnTo>
                  <a:cubicBezTo>
                    <a:pt x="391344" y="516426"/>
                    <a:pt x="387058" y="520713"/>
                    <a:pt x="381762" y="520713"/>
                  </a:cubicBezTo>
                  <a:lnTo>
                    <a:pt x="56007" y="520713"/>
                  </a:lnTo>
                  <a:cubicBezTo>
                    <a:pt x="50721" y="520713"/>
                    <a:pt x="46425" y="516426"/>
                    <a:pt x="46425" y="511131"/>
                  </a:cubicBezTo>
                  <a:lnTo>
                    <a:pt x="46425" y="70409"/>
                  </a:lnTo>
                  <a:cubicBezTo>
                    <a:pt x="46425" y="65113"/>
                    <a:pt x="50711" y="60827"/>
                    <a:pt x="56007" y="60827"/>
                  </a:cubicBezTo>
                  <a:lnTo>
                    <a:pt x="107290" y="60827"/>
                  </a:lnTo>
                  <a:cubicBezTo>
                    <a:pt x="107290" y="60636"/>
                    <a:pt x="107271" y="60446"/>
                    <a:pt x="107271" y="60255"/>
                  </a:cubicBezTo>
                  <a:lnTo>
                    <a:pt x="107271" y="7439"/>
                  </a:lnTo>
                  <a:cubicBezTo>
                    <a:pt x="107271" y="7344"/>
                    <a:pt x="107280" y="7249"/>
                    <a:pt x="107280" y="7153"/>
                  </a:cubicBezTo>
                  <a:lnTo>
                    <a:pt x="35890" y="7153"/>
                  </a:lnTo>
                  <a:cubicBezTo>
                    <a:pt x="20022" y="7153"/>
                    <a:pt x="7144" y="20022"/>
                    <a:pt x="7144" y="35900"/>
                  </a:cubicBezTo>
                  <a:lnTo>
                    <a:pt x="7144" y="534105"/>
                  </a:lnTo>
                  <a:cubicBezTo>
                    <a:pt x="7144" y="549974"/>
                    <a:pt x="20012" y="562842"/>
                    <a:pt x="35890" y="562842"/>
                  </a:cubicBezTo>
                  <a:lnTo>
                    <a:pt x="399964" y="562842"/>
                  </a:lnTo>
                  <a:cubicBezTo>
                    <a:pt x="415842" y="562842"/>
                    <a:pt x="428711" y="549974"/>
                    <a:pt x="428711" y="534105"/>
                  </a:cubicBezTo>
                  <a:lnTo>
                    <a:pt x="428711" y="35890"/>
                  </a:lnTo>
                  <a:cubicBezTo>
                    <a:pt x="428711" y="20022"/>
                    <a:pt x="415842" y="7144"/>
                    <a:pt x="399964" y="71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52" name="Freeform: Shape 51">
              <a:extLst>
                <a:ext uri="{FF2B5EF4-FFF2-40B4-BE49-F238E27FC236}">
                  <a16:creationId xmlns:a16="http://schemas.microsoft.com/office/drawing/2014/main" id="{7AAF1729-F81C-448D-11C5-80DA78DABC63}"/>
                </a:ext>
              </a:extLst>
            </p:cNvPr>
            <p:cNvSpPr/>
            <p:nvPr/>
          </p:nvSpPr>
          <p:spPr>
            <a:xfrm>
              <a:off x="7383316" y="4650955"/>
              <a:ext cx="114300" cy="28575"/>
            </a:xfrm>
            <a:custGeom>
              <a:avLst/>
              <a:gdLst>
                <a:gd name="connsiteX0" fmla="*/ 104708 w 114300"/>
                <a:gd name="connsiteY0" fmla="*/ 23374 h 28575"/>
                <a:gd name="connsiteX1" fmla="*/ 15250 w 114300"/>
                <a:gd name="connsiteY1" fmla="*/ 23374 h 28575"/>
                <a:gd name="connsiteX2" fmla="*/ 7144 w 114300"/>
                <a:gd name="connsiteY2" fmla="*/ 15259 h 28575"/>
                <a:gd name="connsiteX3" fmla="*/ 15250 w 114300"/>
                <a:gd name="connsiteY3" fmla="*/ 7144 h 28575"/>
                <a:gd name="connsiteX4" fmla="*/ 104718 w 114300"/>
                <a:gd name="connsiteY4" fmla="*/ 7144 h 28575"/>
                <a:gd name="connsiteX5" fmla="*/ 112833 w 114300"/>
                <a:gd name="connsiteY5" fmla="*/ 15259 h 28575"/>
                <a:gd name="connsiteX6" fmla="*/ 104708 w 114300"/>
                <a:gd name="connsiteY6" fmla="*/ 23374 h 28575"/>
                <a:gd name="connsiteX7" fmla="*/ 104708 w 114300"/>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28575">
                  <a:moveTo>
                    <a:pt x="104708" y="23374"/>
                  </a:moveTo>
                  <a:lnTo>
                    <a:pt x="15250" y="23374"/>
                  </a:lnTo>
                  <a:cubicBezTo>
                    <a:pt x="10773" y="23374"/>
                    <a:pt x="7144" y="19745"/>
                    <a:pt x="7144" y="15259"/>
                  </a:cubicBezTo>
                  <a:cubicBezTo>
                    <a:pt x="7144" y="10782"/>
                    <a:pt x="10773" y="7144"/>
                    <a:pt x="15250" y="7144"/>
                  </a:cubicBezTo>
                  <a:lnTo>
                    <a:pt x="104718" y="7144"/>
                  </a:lnTo>
                  <a:cubicBezTo>
                    <a:pt x="109195" y="7144"/>
                    <a:pt x="112833" y="10773"/>
                    <a:pt x="112833" y="15259"/>
                  </a:cubicBezTo>
                  <a:cubicBezTo>
                    <a:pt x="112824" y="19745"/>
                    <a:pt x="109195" y="23374"/>
                    <a:pt x="104708" y="23374"/>
                  </a:cubicBezTo>
                  <a:lnTo>
                    <a:pt x="104708"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53" name="Freeform: Shape 52">
              <a:extLst>
                <a:ext uri="{FF2B5EF4-FFF2-40B4-BE49-F238E27FC236}">
                  <a16:creationId xmlns:a16="http://schemas.microsoft.com/office/drawing/2014/main" id="{CAE39779-3DB9-C473-9392-B867091989DC}"/>
                </a:ext>
              </a:extLst>
            </p:cNvPr>
            <p:cNvSpPr/>
            <p:nvPr/>
          </p:nvSpPr>
          <p:spPr>
            <a:xfrm>
              <a:off x="7383316" y="4686760"/>
              <a:ext cx="200025" cy="28575"/>
            </a:xfrm>
            <a:custGeom>
              <a:avLst/>
              <a:gdLst>
                <a:gd name="connsiteX0" fmla="*/ 194177 w 200025"/>
                <a:gd name="connsiteY0" fmla="*/ 23374 h 28575"/>
                <a:gd name="connsiteX1" fmla="*/ 15250 w 200025"/>
                <a:gd name="connsiteY1" fmla="*/ 23374 h 28575"/>
                <a:gd name="connsiteX2" fmla="*/ 7144 w 200025"/>
                <a:gd name="connsiteY2" fmla="*/ 15259 h 28575"/>
                <a:gd name="connsiteX3" fmla="*/ 15250 w 200025"/>
                <a:gd name="connsiteY3" fmla="*/ 7144 h 28575"/>
                <a:gd name="connsiteX4" fmla="*/ 194177 w 200025"/>
                <a:gd name="connsiteY4" fmla="*/ 7144 h 28575"/>
                <a:gd name="connsiteX5" fmla="*/ 202282 w 200025"/>
                <a:gd name="connsiteY5" fmla="*/ 15259 h 28575"/>
                <a:gd name="connsiteX6" fmla="*/ 194177 w 200025"/>
                <a:gd name="connsiteY6" fmla="*/ 23374 h 28575"/>
                <a:gd name="connsiteX7" fmla="*/ 194177 w 200025"/>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28575">
                  <a:moveTo>
                    <a:pt x="194177" y="23374"/>
                  </a:moveTo>
                  <a:lnTo>
                    <a:pt x="15250" y="23374"/>
                  </a:lnTo>
                  <a:cubicBezTo>
                    <a:pt x="10773" y="23374"/>
                    <a:pt x="7144" y="19745"/>
                    <a:pt x="7144" y="15259"/>
                  </a:cubicBezTo>
                  <a:cubicBezTo>
                    <a:pt x="7144" y="10773"/>
                    <a:pt x="10773" y="7144"/>
                    <a:pt x="15250" y="7144"/>
                  </a:cubicBezTo>
                  <a:lnTo>
                    <a:pt x="194177" y="7144"/>
                  </a:lnTo>
                  <a:cubicBezTo>
                    <a:pt x="198663" y="7144"/>
                    <a:pt x="202282" y="10773"/>
                    <a:pt x="202282" y="15259"/>
                  </a:cubicBezTo>
                  <a:cubicBezTo>
                    <a:pt x="202292" y="19745"/>
                    <a:pt x="198653" y="23374"/>
                    <a:pt x="194177" y="23374"/>
                  </a:cubicBezTo>
                  <a:lnTo>
                    <a:pt x="194177"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54" name="Freeform: Shape 53">
              <a:extLst>
                <a:ext uri="{FF2B5EF4-FFF2-40B4-BE49-F238E27FC236}">
                  <a16:creationId xmlns:a16="http://schemas.microsoft.com/office/drawing/2014/main" id="{FF6DA14A-B259-98D6-2F32-C695655C663F}"/>
                </a:ext>
              </a:extLst>
            </p:cNvPr>
            <p:cNvSpPr/>
            <p:nvPr/>
          </p:nvSpPr>
          <p:spPr>
            <a:xfrm>
              <a:off x="7383316" y="4774028"/>
              <a:ext cx="114300" cy="28575"/>
            </a:xfrm>
            <a:custGeom>
              <a:avLst/>
              <a:gdLst>
                <a:gd name="connsiteX0" fmla="*/ 104708 w 114300"/>
                <a:gd name="connsiteY0" fmla="*/ 23374 h 28575"/>
                <a:gd name="connsiteX1" fmla="*/ 15250 w 114300"/>
                <a:gd name="connsiteY1" fmla="*/ 23374 h 28575"/>
                <a:gd name="connsiteX2" fmla="*/ 7144 w 114300"/>
                <a:gd name="connsiteY2" fmla="*/ 15259 h 28575"/>
                <a:gd name="connsiteX3" fmla="*/ 15250 w 114300"/>
                <a:gd name="connsiteY3" fmla="*/ 7144 h 28575"/>
                <a:gd name="connsiteX4" fmla="*/ 104718 w 114300"/>
                <a:gd name="connsiteY4" fmla="*/ 7144 h 28575"/>
                <a:gd name="connsiteX5" fmla="*/ 112833 w 114300"/>
                <a:gd name="connsiteY5" fmla="*/ 15259 h 28575"/>
                <a:gd name="connsiteX6" fmla="*/ 104708 w 114300"/>
                <a:gd name="connsiteY6" fmla="*/ 23374 h 28575"/>
                <a:gd name="connsiteX7" fmla="*/ 104708 w 114300"/>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28575">
                  <a:moveTo>
                    <a:pt x="104708" y="23374"/>
                  </a:moveTo>
                  <a:lnTo>
                    <a:pt x="15250" y="23374"/>
                  </a:lnTo>
                  <a:cubicBezTo>
                    <a:pt x="10773" y="23374"/>
                    <a:pt x="7144" y="19745"/>
                    <a:pt x="7144" y="15259"/>
                  </a:cubicBezTo>
                  <a:cubicBezTo>
                    <a:pt x="7144" y="10773"/>
                    <a:pt x="10773" y="7144"/>
                    <a:pt x="15250" y="7144"/>
                  </a:cubicBezTo>
                  <a:lnTo>
                    <a:pt x="104718" y="7144"/>
                  </a:lnTo>
                  <a:cubicBezTo>
                    <a:pt x="109195" y="7144"/>
                    <a:pt x="112833" y="10773"/>
                    <a:pt x="112833" y="15259"/>
                  </a:cubicBezTo>
                  <a:cubicBezTo>
                    <a:pt x="112824" y="19745"/>
                    <a:pt x="109195" y="23374"/>
                    <a:pt x="104708" y="23374"/>
                  </a:cubicBezTo>
                  <a:lnTo>
                    <a:pt x="104708"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55" name="Freeform: Shape 54">
              <a:extLst>
                <a:ext uri="{FF2B5EF4-FFF2-40B4-BE49-F238E27FC236}">
                  <a16:creationId xmlns:a16="http://schemas.microsoft.com/office/drawing/2014/main" id="{0A99F847-0437-9834-4564-82EC17B51FCE}"/>
                </a:ext>
              </a:extLst>
            </p:cNvPr>
            <p:cNvSpPr/>
            <p:nvPr/>
          </p:nvSpPr>
          <p:spPr>
            <a:xfrm>
              <a:off x="7383316" y="4809832"/>
              <a:ext cx="200025" cy="28575"/>
            </a:xfrm>
            <a:custGeom>
              <a:avLst/>
              <a:gdLst>
                <a:gd name="connsiteX0" fmla="*/ 192214 w 200025"/>
                <a:gd name="connsiteY0" fmla="*/ 23374 h 28575"/>
                <a:gd name="connsiteX1" fmla="*/ 15250 w 200025"/>
                <a:gd name="connsiteY1" fmla="*/ 23374 h 28575"/>
                <a:gd name="connsiteX2" fmla="*/ 7144 w 200025"/>
                <a:gd name="connsiteY2" fmla="*/ 15259 h 28575"/>
                <a:gd name="connsiteX3" fmla="*/ 15250 w 200025"/>
                <a:gd name="connsiteY3" fmla="*/ 7144 h 28575"/>
                <a:gd name="connsiteX4" fmla="*/ 192214 w 200025"/>
                <a:gd name="connsiteY4" fmla="*/ 7144 h 28575"/>
                <a:gd name="connsiteX5" fmla="*/ 200320 w 200025"/>
                <a:gd name="connsiteY5" fmla="*/ 15259 h 28575"/>
                <a:gd name="connsiteX6" fmla="*/ 192214 w 200025"/>
                <a:gd name="connsiteY6" fmla="*/ 23374 h 28575"/>
                <a:gd name="connsiteX7" fmla="*/ 192214 w 200025"/>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28575">
                  <a:moveTo>
                    <a:pt x="192214" y="23374"/>
                  </a:moveTo>
                  <a:lnTo>
                    <a:pt x="15250" y="23374"/>
                  </a:lnTo>
                  <a:cubicBezTo>
                    <a:pt x="10773" y="23374"/>
                    <a:pt x="7144" y="19745"/>
                    <a:pt x="7144" y="15259"/>
                  </a:cubicBezTo>
                  <a:cubicBezTo>
                    <a:pt x="7144" y="10773"/>
                    <a:pt x="10773" y="7144"/>
                    <a:pt x="15250" y="7144"/>
                  </a:cubicBezTo>
                  <a:lnTo>
                    <a:pt x="192214" y="7144"/>
                  </a:lnTo>
                  <a:cubicBezTo>
                    <a:pt x="196691" y="7144"/>
                    <a:pt x="200320" y="10773"/>
                    <a:pt x="200320" y="15259"/>
                  </a:cubicBezTo>
                  <a:cubicBezTo>
                    <a:pt x="200320" y="19745"/>
                    <a:pt x="196691" y="23374"/>
                    <a:pt x="192214" y="23374"/>
                  </a:cubicBezTo>
                  <a:lnTo>
                    <a:pt x="192214"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56" name="Freeform: Shape 55">
              <a:extLst>
                <a:ext uri="{FF2B5EF4-FFF2-40B4-BE49-F238E27FC236}">
                  <a16:creationId xmlns:a16="http://schemas.microsoft.com/office/drawing/2014/main" id="{969B7667-E5AF-E251-BF38-A5FBF73C7F0F}"/>
                </a:ext>
              </a:extLst>
            </p:cNvPr>
            <p:cNvSpPr/>
            <p:nvPr/>
          </p:nvSpPr>
          <p:spPr>
            <a:xfrm>
              <a:off x="7383316" y="4897100"/>
              <a:ext cx="114300" cy="28575"/>
            </a:xfrm>
            <a:custGeom>
              <a:avLst/>
              <a:gdLst>
                <a:gd name="connsiteX0" fmla="*/ 104708 w 114300"/>
                <a:gd name="connsiteY0" fmla="*/ 23374 h 28575"/>
                <a:gd name="connsiteX1" fmla="*/ 15250 w 114300"/>
                <a:gd name="connsiteY1" fmla="*/ 23374 h 28575"/>
                <a:gd name="connsiteX2" fmla="*/ 7144 w 114300"/>
                <a:gd name="connsiteY2" fmla="*/ 15259 h 28575"/>
                <a:gd name="connsiteX3" fmla="*/ 15250 w 114300"/>
                <a:gd name="connsiteY3" fmla="*/ 7144 h 28575"/>
                <a:gd name="connsiteX4" fmla="*/ 104718 w 114300"/>
                <a:gd name="connsiteY4" fmla="*/ 7144 h 28575"/>
                <a:gd name="connsiteX5" fmla="*/ 112833 w 114300"/>
                <a:gd name="connsiteY5" fmla="*/ 15259 h 28575"/>
                <a:gd name="connsiteX6" fmla="*/ 104708 w 114300"/>
                <a:gd name="connsiteY6" fmla="*/ 23374 h 28575"/>
                <a:gd name="connsiteX7" fmla="*/ 104708 w 114300"/>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28575">
                  <a:moveTo>
                    <a:pt x="104708" y="23374"/>
                  </a:moveTo>
                  <a:lnTo>
                    <a:pt x="15250" y="23374"/>
                  </a:lnTo>
                  <a:cubicBezTo>
                    <a:pt x="10773" y="23374"/>
                    <a:pt x="7144" y="19745"/>
                    <a:pt x="7144" y="15259"/>
                  </a:cubicBezTo>
                  <a:cubicBezTo>
                    <a:pt x="7144" y="10773"/>
                    <a:pt x="10773" y="7144"/>
                    <a:pt x="15250" y="7144"/>
                  </a:cubicBezTo>
                  <a:lnTo>
                    <a:pt x="104718" y="7144"/>
                  </a:lnTo>
                  <a:cubicBezTo>
                    <a:pt x="109195" y="7144"/>
                    <a:pt x="112833" y="10773"/>
                    <a:pt x="112833" y="15259"/>
                  </a:cubicBezTo>
                  <a:cubicBezTo>
                    <a:pt x="112824" y="19736"/>
                    <a:pt x="109195" y="23374"/>
                    <a:pt x="104708" y="23374"/>
                  </a:cubicBezTo>
                  <a:lnTo>
                    <a:pt x="104708"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57" name="Freeform: Shape 56">
              <a:extLst>
                <a:ext uri="{FF2B5EF4-FFF2-40B4-BE49-F238E27FC236}">
                  <a16:creationId xmlns:a16="http://schemas.microsoft.com/office/drawing/2014/main" id="{C40A57B0-590E-F137-9446-5929806B177B}"/>
                </a:ext>
              </a:extLst>
            </p:cNvPr>
            <p:cNvSpPr/>
            <p:nvPr/>
          </p:nvSpPr>
          <p:spPr>
            <a:xfrm>
              <a:off x="7383316" y="4932905"/>
              <a:ext cx="200025" cy="28575"/>
            </a:xfrm>
            <a:custGeom>
              <a:avLst/>
              <a:gdLst>
                <a:gd name="connsiteX0" fmla="*/ 190938 w 200025"/>
                <a:gd name="connsiteY0" fmla="*/ 23374 h 28575"/>
                <a:gd name="connsiteX1" fmla="*/ 15250 w 200025"/>
                <a:gd name="connsiteY1" fmla="*/ 23374 h 28575"/>
                <a:gd name="connsiteX2" fmla="*/ 7144 w 200025"/>
                <a:gd name="connsiteY2" fmla="*/ 15259 h 28575"/>
                <a:gd name="connsiteX3" fmla="*/ 15250 w 200025"/>
                <a:gd name="connsiteY3" fmla="*/ 7144 h 28575"/>
                <a:gd name="connsiteX4" fmla="*/ 190938 w 200025"/>
                <a:gd name="connsiteY4" fmla="*/ 7144 h 28575"/>
                <a:gd name="connsiteX5" fmla="*/ 199044 w 200025"/>
                <a:gd name="connsiteY5" fmla="*/ 15259 h 28575"/>
                <a:gd name="connsiteX6" fmla="*/ 190938 w 200025"/>
                <a:gd name="connsiteY6" fmla="*/ 23374 h 28575"/>
                <a:gd name="connsiteX7" fmla="*/ 190938 w 200025"/>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28575">
                  <a:moveTo>
                    <a:pt x="190938" y="23374"/>
                  </a:moveTo>
                  <a:lnTo>
                    <a:pt x="15250" y="23374"/>
                  </a:lnTo>
                  <a:cubicBezTo>
                    <a:pt x="10773" y="23374"/>
                    <a:pt x="7144" y="19745"/>
                    <a:pt x="7144" y="15259"/>
                  </a:cubicBezTo>
                  <a:cubicBezTo>
                    <a:pt x="7144" y="10773"/>
                    <a:pt x="10773" y="7144"/>
                    <a:pt x="15250" y="7144"/>
                  </a:cubicBezTo>
                  <a:lnTo>
                    <a:pt x="190938" y="7144"/>
                  </a:lnTo>
                  <a:cubicBezTo>
                    <a:pt x="195415" y="7144"/>
                    <a:pt x="199044" y="10773"/>
                    <a:pt x="199044" y="15259"/>
                  </a:cubicBezTo>
                  <a:cubicBezTo>
                    <a:pt x="199053" y="19736"/>
                    <a:pt x="195415" y="23374"/>
                    <a:pt x="190938" y="23374"/>
                  </a:cubicBezTo>
                  <a:lnTo>
                    <a:pt x="190938"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FFFFFF"/>
                </a:solidFill>
                <a:effectLst/>
                <a:uLnTx/>
                <a:uFillTx/>
                <a:latin typeface="Neue Haas Grotesk Text Pro"/>
                <a:ea typeface="+mn-ea"/>
                <a:cs typeface="+mn-cs"/>
              </a:endParaRPr>
            </a:p>
          </p:txBody>
        </p:sp>
        <p:sp>
          <p:nvSpPr>
            <p:cNvPr id="58" name="Freeform: Shape 57">
              <a:extLst>
                <a:ext uri="{FF2B5EF4-FFF2-40B4-BE49-F238E27FC236}">
                  <a16:creationId xmlns:a16="http://schemas.microsoft.com/office/drawing/2014/main" id="{5C6D1D70-810B-3624-9093-851A54A150AE}"/>
                </a:ext>
              </a:extLst>
            </p:cNvPr>
            <p:cNvSpPr/>
            <p:nvPr/>
          </p:nvSpPr>
          <p:spPr>
            <a:xfrm>
              <a:off x="7299256" y="4641976"/>
              <a:ext cx="76200" cy="57150"/>
            </a:xfrm>
            <a:custGeom>
              <a:avLst/>
              <a:gdLst>
                <a:gd name="connsiteX0" fmla="*/ 29481 w 76200"/>
                <a:gd name="connsiteY0" fmla="*/ 58310 h 57150"/>
                <a:gd name="connsiteX1" fmla="*/ 29434 w 76200"/>
                <a:gd name="connsiteY1" fmla="*/ 58310 h 57150"/>
                <a:gd name="connsiteX2" fmla="*/ 23509 w 76200"/>
                <a:gd name="connsiteY2" fmla="*/ 55681 h 57150"/>
                <a:gd name="connsiteX3" fmla="*/ 9279 w 76200"/>
                <a:gd name="connsiteY3" fmla="*/ 40184 h 57150"/>
                <a:gd name="connsiteX4" fmla="*/ 9774 w 76200"/>
                <a:gd name="connsiteY4" fmla="*/ 28725 h 57150"/>
                <a:gd name="connsiteX5" fmla="*/ 21233 w 76200"/>
                <a:gd name="connsiteY5" fmla="*/ 29211 h 57150"/>
                <a:gd name="connsiteX6" fmla="*/ 29558 w 76200"/>
                <a:gd name="connsiteY6" fmla="*/ 38279 h 57150"/>
                <a:gd name="connsiteX7" fmla="*/ 56504 w 76200"/>
                <a:gd name="connsiteY7" fmla="*/ 9694 h 57150"/>
                <a:gd name="connsiteX8" fmla="*/ 67972 w 76200"/>
                <a:gd name="connsiteY8" fmla="*/ 9351 h 57150"/>
                <a:gd name="connsiteX9" fmla="*/ 68315 w 76200"/>
                <a:gd name="connsiteY9" fmla="*/ 20819 h 57150"/>
                <a:gd name="connsiteX10" fmla="*/ 35387 w 76200"/>
                <a:gd name="connsiteY10" fmla="*/ 55757 h 57150"/>
                <a:gd name="connsiteX11" fmla="*/ 29481 w 76200"/>
                <a:gd name="connsiteY11" fmla="*/ 58310 h 57150"/>
                <a:gd name="connsiteX12" fmla="*/ 29481 w 76200"/>
                <a:gd name="connsiteY12" fmla="*/ 5831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200" h="57150">
                  <a:moveTo>
                    <a:pt x="29481" y="58310"/>
                  </a:moveTo>
                  <a:lnTo>
                    <a:pt x="29434" y="58310"/>
                  </a:lnTo>
                  <a:cubicBezTo>
                    <a:pt x="27176" y="58300"/>
                    <a:pt x="25033" y="57338"/>
                    <a:pt x="23509" y="55681"/>
                  </a:cubicBezTo>
                  <a:lnTo>
                    <a:pt x="9279" y="40184"/>
                  </a:lnTo>
                  <a:cubicBezTo>
                    <a:pt x="6250" y="36878"/>
                    <a:pt x="6469" y="31754"/>
                    <a:pt x="9774" y="28725"/>
                  </a:cubicBezTo>
                  <a:cubicBezTo>
                    <a:pt x="13070" y="25696"/>
                    <a:pt x="18204" y="25906"/>
                    <a:pt x="21233" y="29211"/>
                  </a:cubicBezTo>
                  <a:lnTo>
                    <a:pt x="29558" y="38279"/>
                  </a:lnTo>
                  <a:lnTo>
                    <a:pt x="56504" y="9694"/>
                  </a:lnTo>
                  <a:cubicBezTo>
                    <a:pt x="59571" y="6427"/>
                    <a:pt x="64714" y="6284"/>
                    <a:pt x="67972" y="9351"/>
                  </a:cubicBezTo>
                  <a:cubicBezTo>
                    <a:pt x="71230" y="12428"/>
                    <a:pt x="71382" y="17562"/>
                    <a:pt x="68315" y="20819"/>
                  </a:cubicBezTo>
                  <a:lnTo>
                    <a:pt x="35387" y="55757"/>
                  </a:lnTo>
                  <a:cubicBezTo>
                    <a:pt x="33853" y="57395"/>
                    <a:pt x="31710" y="58310"/>
                    <a:pt x="29481" y="58310"/>
                  </a:cubicBezTo>
                  <a:lnTo>
                    <a:pt x="29481" y="5831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59" name="Freeform: Shape 58">
              <a:extLst>
                <a:ext uri="{FF2B5EF4-FFF2-40B4-BE49-F238E27FC236}">
                  <a16:creationId xmlns:a16="http://schemas.microsoft.com/office/drawing/2014/main" id="{6D2B3730-0C35-E7BE-6FCA-BB4611B5812E}"/>
                </a:ext>
              </a:extLst>
            </p:cNvPr>
            <p:cNvSpPr/>
            <p:nvPr/>
          </p:nvSpPr>
          <p:spPr>
            <a:xfrm>
              <a:off x="7299256" y="4765053"/>
              <a:ext cx="76200" cy="57150"/>
            </a:xfrm>
            <a:custGeom>
              <a:avLst/>
              <a:gdLst>
                <a:gd name="connsiteX0" fmla="*/ 29481 w 76200"/>
                <a:gd name="connsiteY0" fmla="*/ 58305 h 57150"/>
                <a:gd name="connsiteX1" fmla="*/ 29434 w 76200"/>
                <a:gd name="connsiteY1" fmla="*/ 58305 h 57150"/>
                <a:gd name="connsiteX2" fmla="*/ 23509 w 76200"/>
                <a:gd name="connsiteY2" fmla="*/ 55676 h 57150"/>
                <a:gd name="connsiteX3" fmla="*/ 9279 w 76200"/>
                <a:gd name="connsiteY3" fmla="*/ 40179 h 57150"/>
                <a:gd name="connsiteX4" fmla="*/ 9774 w 76200"/>
                <a:gd name="connsiteY4" fmla="*/ 28720 h 57150"/>
                <a:gd name="connsiteX5" fmla="*/ 21233 w 76200"/>
                <a:gd name="connsiteY5" fmla="*/ 29215 h 57150"/>
                <a:gd name="connsiteX6" fmla="*/ 29558 w 76200"/>
                <a:gd name="connsiteY6" fmla="*/ 38283 h 57150"/>
                <a:gd name="connsiteX7" fmla="*/ 56504 w 76200"/>
                <a:gd name="connsiteY7" fmla="*/ 9689 h 57150"/>
                <a:gd name="connsiteX8" fmla="*/ 67972 w 76200"/>
                <a:gd name="connsiteY8" fmla="*/ 9356 h 57150"/>
                <a:gd name="connsiteX9" fmla="*/ 68315 w 76200"/>
                <a:gd name="connsiteY9" fmla="*/ 20824 h 57150"/>
                <a:gd name="connsiteX10" fmla="*/ 35387 w 76200"/>
                <a:gd name="connsiteY10" fmla="*/ 55762 h 57150"/>
                <a:gd name="connsiteX11" fmla="*/ 29481 w 76200"/>
                <a:gd name="connsiteY11" fmla="*/ 58305 h 57150"/>
                <a:gd name="connsiteX12" fmla="*/ 29481 w 76200"/>
                <a:gd name="connsiteY12" fmla="*/ 5830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200" h="57150">
                  <a:moveTo>
                    <a:pt x="29481" y="58305"/>
                  </a:moveTo>
                  <a:lnTo>
                    <a:pt x="29434" y="58305"/>
                  </a:lnTo>
                  <a:cubicBezTo>
                    <a:pt x="27176" y="58295"/>
                    <a:pt x="25033" y="57333"/>
                    <a:pt x="23509" y="55676"/>
                  </a:cubicBezTo>
                  <a:lnTo>
                    <a:pt x="9279" y="40179"/>
                  </a:lnTo>
                  <a:cubicBezTo>
                    <a:pt x="6250" y="36883"/>
                    <a:pt x="6469" y="31749"/>
                    <a:pt x="9774" y="28720"/>
                  </a:cubicBezTo>
                  <a:cubicBezTo>
                    <a:pt x="13070" y="25691"/>
                    <a:pt x="18204" y="25910"/>
                    <a:pt x="21233" y="29215"/>
                  </a:cubicBezTo>
                  <a:lnTo>
                    <a:pt x="29558" y="38283"/>
                  </a:lnTo>
                  <a:lnTo>
                    <a:pt x="56504" y="9689"/>
                  </a:lnTo>
                  <a:cubicBezTo>
                    <a:pt x="59571" y="6432"/>
                    <a:pt x="64714" y="6279"/>
                    <a:pt x="67972" y="9356"/>
                  </a:cubicBezTo>
                  <a:cubicBezTo>
                    <a:pt x="71230" y="12432"/>
                    <a:pt x="71382" y="17566"/>
                    <a:pt x="68315" y="20824"/>
                  </a:cubicBezTo>
                  <a:lnTo>
                    <a:pt x="35387" y="55762"/>
                  </a:lnTo>
                  <a:cubicBezTo>
                    <a:pt x="33853" y="57390"/>
                    <a:pt x="31710" y="58305"/>
                    <a:pt x="29481" y="58305"/>
                  </a:cubicBezTo>
                  <a:lnTo>
                    <a:pt x="29481" y="583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60" name="Freeform: Shape 59">
              <a:extLst>
                <a:ext uri="{FF2B5EF4-FFF2-40B4-BE49-F238E27FC236}">
                  <a16:creationId xmlns:a16="http://schemas.microsoft.com/office/drawing/2014/main" id="{87FB2E34-1E40-11F4-80CB-8A389FE00179}"/>
                </a:ext>
              </a:extLst>
            </p:cNvPr>
            <p:cNvSpPr/>
            <p:nvPr/>
          </p:nvSpPr>
          <p:spPr>
            <a:xfrm>
              <a:off x="7299248" y="4890176"/>
              <a:ext cx="76200" cy="76200"/>
            </a:xfrm>
            <a:custGeom>
              <a:avLst/>
              <a:gdLst>
                <a:gd name="connsiteX0" fmla="*/ 70523 w 76200"/>
                <a:gd name="connsiteY0" fmla="*/ 38833 h 76200"/>
                <a:gd name="connsiteX1" fmla="*/ 38833 w 76200"/>
                <a:gd name="connsiteY1" fmla="*/ 70523 h 76200"/>
                <a:gd name="connsiteX2" fmla="*/ 7144 w 76200"/>
                <a:gd name="connsiteY2" fmla="*/ 38833 h 76200"/>
                <a:gd name="connsiteX3" fmla="*/ 38833 w 76200"/>
                <a:gd name="connsiteY3" fmla="*/ 7144 h 76200"/>
                <a:gd name="connsiteX4" fmla="*/ 70523 w 76200"/>
                <a:gd name="connsiteY4" fmla="*/ 38833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0523" y="38833"/>
                  </a:moveTo>
                  <a:cubicBezTo>
                    <a:pt x="70523" y="56335"/>
                    <a:pt x="56335" y="70523"/>
                    <a:pt x="38833" y="70523"/>
                  </a:cubicBezTo>
                  <a:cubicBezTo>
                    <a:pt x="21332" y="70523"/>
                    <a:pt x="7144" y="56335"/>
                    <a:pt x="7144" y="38833"/>
                  </a:cubicBezTo>
                  <a:cubicBezTo>
                    <a:pt x="7144" y="21332"/>
                    <a:pt x="21332" y="7144"/>
                    <a:pt x="38833" y="7144"/>
                  </a:cubicBezTo>
                  <a:cubicBezTo>
                    <a:pt x="56335" y="7144"/>
                    <a:pt x="70523" y="21332"/>
                    <a:pt x="70523" y="3883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grpSp>
      <p:pic>
        <p:nvPicPr>
          <p:cNvPr id="61" name="Graphic 60">
            <a:extLst>
              <a:ext uri="{FF2B5EF4-FFF2-40B4-BE49-F238E27FC236}">
                <a16:creationId xmlns:a16="http://schemas.microsoft.com/office/drawing/2014/main" id="{E37E7737-93E0-5A27-CA51-8C032DB3AC1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332589" y="4695765"/>
            <a:ext cx="366954" cy="366954"/>
          </a:xfrm>
          <a:prstGeom prst="rect">
            <a:avLst/>
          </a:prstGeom>
        </p:spPr>
      </p:pic>
      <p:cxnSp>
        <p:nvCxnSpPr>
          <p:cNvPr id="34" name="Straight Connector 33">
            <a:extLst>
              <a:ext uri="{FF2B5EF4-FFF2-40B4-BE49-F238E27FC236}">
                <a16:creationId xmlns:a16="http://schemas.microsoft.com/office/drawing/2014/main" id="{C1B2A171-8FA0-1EBE-1723-422DDC698E11}"/>
              </a:ext>
            </a:extLst>
          </p:cNvPr>
          <p:cNvCxnSpPr/>
          <p:nvPr/>
        </p:nvCxnSpPr>
        <p:spPr>
          <a:xfrm>
            <a:off x="685800" y="2344719"/>
            <a:ext cx="11262758" cy="0"/>
          </a:xfrm>
          <a:prstGeom prst="line">
            <a:avLst/>
          </a:prstGeom>
          <a:ln w="6350">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725B769-B9DC-C0A3-9D81-F31E08EBF234}"/>
              </a:ext>
            </a:extLst>
          </p:cNvPr>
          <p:cNvCxnSpPr/>
          <p:nvPr/>
        </p:nvCxnSpPr>
        <p:spPr>
          <a:xfrm>
            <a:off x="685800" y="3070256"/>
            <a:ext cx="11262758" cy="0"/>
          </a:xfrm>
          <a:prstGeom prst="line">
            <a:avLst/>
          </a:prstGeom>
          <a:ln w="6350">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85A25BD-0126-5D29-EDFC-F762B1F159E1}"/>
              </a:ext>
            </a:extLst>
          </p:cNvPr>
          <p:cNvCxnSpPr/>
          <p:nvPr/>
        </p:nvCxnSpPr>
        <p:spPr>
          <a:xfrm>
            <a:off x="685800" y="3795794"/>
            <a:ext cx="11262758" cy="0"/>
          </a:xfrm>
          <a:prstGeom prst="line">
            <a:avLst/>
          </a:prstGeom>
          <a:ln w="6350">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D2756322-53FE-FF4E-B0D8-F5C388590C0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29" name="Picture 28">
            <a:extLst>
              <a:ext uri="{FF2B5EF4-FFF2-40B4-BE49-F238E27FC236}">
                <a16:creationId xmlns:a16="http://schemas.microsoft.com/office/drawing/2014/main" id="{FBB66E5C-005D-DDA5-F2B2-FBA03938D1C2}"/>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 name="Rectangle 1">
            <a:extLst>
              <a:ext uri="{FF2B5EF4-FFF2-40B4-BE49-F238E27FC236}">
                <a16:creationId xmlns:a16="http://schemas.microsoft.com/office/drawing/2014/main" id="{10DD020E-4CDA-ACC9-4466-FF590848DEA5}"/>
              </a:ext>
            </a:extLst>
          </p:cNvPr>
          <p:cNvSpPr/>
          <p:nvPr/>
        </p:nvSpPr>
        <p:spPr>
          <a:xfrm>
            <a:off x="243444" y="4549281"/>
            <a:ext cx="342896" cy="653537"/>
          </a:xfrm>
          <a:prstGeom prst="rect">
            <a:avLst/>
          </a:prstGeom>
          <a:solidFill>
            <a:srgbClr val="14527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FFFFFF"/>
                </a:solidFill>
                <a:latin typeface="Poppins"/>
                <a:cs typeface="Poppins"/>
              </a:rPr>
              <a:t>5</a:t>
            </a:r>
            <a:endParaRPr lang="en-GB" sz="2000" b="1" i="0" u="none" strike="noStrike" kern="1200" cap="none" spc="0" normalizeH="0" baseline="0" noProof="0" dirty="0">
              <a:ln>
                <a:noFill/>
              </a:ln>
              <a:solidFill>
                <a:srgbClr val="FFFFFF"/>
              </a:solidFill>
              <a:effectLst/>
              <a:uLnTx/>
              <a:uFillTx/>
              <a:latin typeface="Poppins" panose="00000500000000000000" pitchFamily="2" charset="0"/>
              <a:cs typeface="Poppins" panose="00000500000000000000" pitchFamily="2" charset="0"/>
            </a:endParaRPr>
          </a:p>
        </p:txBody>
      </p:sp>
      <p:sp>
        <p:nvSpPr>
          <p:cNvPr id="4" name="Rectangle 3">
            <a:extLst>
              <a:ext uri="{FF2B5EF4-FFF2-40B4-BE49-F238E27FC236}">
                <a16:creationId xmlns:a16="http://schemas.microsoft.com/office/drawing/2014/main" id="{E7D477A7-8A5A-3BD3-E7E1-C77E9BDFBF1F}"/>
              </a:ext>
            </a:extLst>
          </p:cNvPr>
          <p:cNvSpPr/>
          <p:nvPr/>
        </p:nvSpPr>
        <p:spPr>
          <a:xfrm>
            <a:off x="685800" y="4558084"/>
            <a:ext cx="11262758" cy="653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lumMod val="10000"/>
                  </a:prstClr>
                </a:solidFill>
                <a:effectLst/>
                <a:uLnTx/>
                <a:uFillTx/>
                <a:latin typeface="Poppins" panose="00000500000000000000" pitchFamily="2" charset="0"/>
                <a:ea typeface="+mn-ea"/>
                <a:cs typeface="Poppins" panose="00000500000000000000" pitchFamily="2" charset="0"/>
              </a:rPr>
              <a:t>How to get help</a:t>
            </a:r>
          </a:p>
        </p:txBody>
      </p:sp>
      <p:cxnSp>
        <p:nvCxnSpPr>
          <p:cNvPr id="6" name="Straight Connector 5">
            <a:extLst>
              <a:ext uri="{FF2B5EF4-FFF2-40B4-BE49-F238E27FC236}">
                <a16:creationId xmlns:a16="http://schemas.microsoft.com/office/drawing/2014/main" id="{28D6D95B-C566-A7FD-6ECE-3CED4ADFB995}"/>
              </a:ext>
            </a:extLst>
          </p:cNvPr>
          <p:cNvCxnSpPr/>
          <p:nvPr/>
        </p:nvCxnSpPr>
        <p:spPr>
          <a:xfrm>
            <a:off x="685800" y="4485331"/>
            <a:ext cx="11262758" cy="0"/>
          </a:xfrm>
          <a:prstGeom prst="line">
            <a:avLst/>
          </a:prstGeom>
          <a:ln w="6350">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52E57C3-306D-9608-4F0A-6D7C0FF36ECF}"/>
              </a:ext>
            </a:extLst>
          </p:cNvPr>
          <p:cNvCxnSpPr/>
          <p:nvPr/>
        </p:nvCxnSpPr>
        <p:spPr>
          <a:xfrm>
            <a:off x="685800" y="5202818"/>
            <a:ext cx="11262758" cy="0"/>
          </a:xfrm>
          <a:prstGeom prst="line">
            <a:avLst/>
          </a:prstGeom>
          <a:ln w="6350">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grpSp>
        <p:nvGrpSpPr>
          <p:cNvPr id="9" name="Graphic 43">
            <a:extLst>
              <a:ext uri="{FF2B5EF4-FFF2-40B4-BE49-F238E27FC236}">
                <a16:creationId xmlns:a16="http://schemas.microsoft.com/office/drawing/2014/main" id="{9DDC89BD-6516-BC26-497E-6FC99A7610FE}"/>
              </a:ext>
            </a:extLst>
          </p:cNvPr>
          <p:cNvGrpSpPr/>
          <p:nvPr/>
        </p:nvGrpSpPr>
        <p:grpSpPr>
          <a:xfrm>
            <a:off x="11363918" y="1976225"/>
            <a:ext cx="330671" cy="189054"/>
            <a:chOff x="653160" y="3397849"/>
            <a:chExt cx="330671" cy="189054"/>
          </a:xfrm>
          <a:solidFill>
            <a:schemeClr val="bg1">
              <a:lumMod val="75000"/>
            </a:schemeClr>
          </a:solidFill>
        </p:grpSpPr>
        <p:sp>
          <p:nvSpPr>
            <p:cNvPr id="10" name="Freeform: Shape 9">
              <a:extLst>
                <a:ext uri="{FF2B5EF4-FFF2-40B4-BE49-F238E27FC236}">
                  <a16:creationId xmlns:a16="http://schemas.microsoft.com/office/drawing/2014/main" id="{1D455357-A0BA-11E7-F06C-51B36187BAEF}"/>
                </a:ext>
              </a:extLst>
            </p:cNvPr>
            <p:cNvSpPr/>
            <p:nvPr/>
          </p:nvSpPr>
          <p:spPr>
            <a:xfrm>
              <a:off x="723983" y="3397849"/>
              <a:ext cx="189024" cy="189054"/>
            </a:xfrm>
            <a:custGeom>
              <a:avLst/>
              <a:gdLst>
                <a:gd name="connsiteX0" fmla="*/ 188937 w 189024"/>
                <a:gd name="connsiteY0" fmla="*/ 175951 h 189054"/>
                <a:gd name="connsiteX1" fmla="*/ 186104 w 189024"/>
                <a:gd name="connsiteY1" fmla="*/ 185158 h 189054"/>
                <a:gd name="connsiteX2" fmla="*/ 177133 w 189024"/>
                <a:gd name="connsiteY2" fmla="*/ 189053 h 189054"/>
                <a:gd name="connsiteX3" fmla="*/ 11878 w 189024"/>
                <a:gd name="connsiteY3" fmla="*/ 189053 h 189054"/>
                <a:gd name="connsiteX4" fmla="*/ 3025 w 189024"/>
                <a:gd name="connsiteY4" fmla="*/ 185158 h 189054"/>
                <a:gd name="connsiteX5" fmla="*/ 74 w 189024"/>
                <a:gd name="connsiteY5" fmla="*/ 175951 h 189054"/>
                <a:gd name="connsiteX6" fmla="*/ 1962 w 189024"/>
                <a:gd name="connsiteY6" fmla="*/ 165445 h 189054"/>
                <a:gd name="connsiteX7" fmla="*/ 10933 w 189024"/>
                <a:gd name="connsiteY7" fmla="*/ 141837 h 189054"/>
                <a:gd name="connsiteX8" fmla="*/ 20376 w 189024"/>
                <a:gd name="connsiteY8" fmla="*/ 127437 h 189054"/>
                <a:gd name="connsiteX9" fmla="*/ 37374 w 189024"/>
                <a:gd name="connsiteY9" fmla="*/ 111029 h 189054"/>
                <a:gd name="connsiteX10" fmla="*/ 82701 w 189024"/>
                <a:gd name="connsiteY10" fmla="*/ 92851 h 189054"/>
                <a:gd name="connsiteX11" fmla="*/ 49236 w 189024"/>
                <a:gd name="connsiteY11" fmla="*/ 35070 h 189054"/>
                <a:gd name="connsiteX12" fmla="*/ 107017 w 189024"/>
                <a:gd name="connsiteY12" fmla="*/ 1604 h 189054"/>
                <a:gd name="connsiteX13" fmla="*/ 140483 w 189024"/>
                <a:gd name="connsiteY13" fmla="*/ 59386 h 189054"/>
                <a:gd name="connsiteX14" fmla="*/ 107017 w 189024"/>
                <a:gd name="connsiteY14" fmla="*/ 92851 h 189054"/>
                <a:gd name="connsiteX15" fmla="*/ 151990 w 189024"/>
                <a:gd name="connsiteY15" fmla="*/ 111029 h 189054"/>
                <a:gd name="connsiteX16" fmla="*/ 168988 w 189024"/>
                <a:gd name="connsiteY16" fmla="*/ 127437 h 189054"/>
                <a:gd name="connsiteX17" fmla="*/ 178195 w 189024"/>
                <a:gd name="connsiteY17" fmla="*/ 141837 h 189054"/>
                <a:gd name="connsiteX18" fmla="*/ 187048 w 189024"/>
                <a:gd name="connsiteY18" fmla="*/ 165445 h 189054"/>
                <a:gd name="connsiteX19" fmla="*/ 188937 w 189024"/>
                <a:gd name="connsiteY19" fmla="*/ 175951 h 18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9024" h="189054">
                  <a:moveTo>
                    <a:pt x="188937" y="175951"/>
                  </a:moveTo>
                  <a:cubicBezTo>
                    <a:pt x="189345" y="179283"/>
                    <a:pt x="188315" y="182632"/>
                    <a:pt x="186104" y="185158"/>
                  </a:cubicBezTo>
                  <a:cubicBezTo>
                    <a:pt x="183817" y="187692"/>
                    <a:pt x="180545" y="189113"/>
                    <a:pt x="177133" y="189053"/>
                  </a:cubicBezTo>
                  <a:lnTo>
                    <a:pt x="11878" y="189053"/>
                  </a:lnTo>
                  <a:cubicBezTo>
                    <a:pt x="8506" y="189079"/>
                    <a:pt x="5284" y="187661"/>
                    <a:pt x="3025" y="185158"/>
                  </a:cubicBezTo>
                  <a:cubicBezTo>
                    <a:pt x="772" y="182651"/>
                    <a:pt x="-302" y="179301"/>
                    <a:pt x="74" y="175951"/>
                  </a:cubicBezTo>
                  <a:cubicBezTo>
                    <a:pt x="463" y="172410"/>
                    <a:pt x="1094" y="168900"/>
                    <a:pt x="1962" y="165445"/>
                  </a:cubicBezTo>
                  <a:cubicBezTo>
                    <a:pt x="3780" y="157179"/>
                    <a:pt x="6803" y="149224"/>
                    <a:pt x="10933" y="141837"/>
                  </a:cubicBezTo>
                  <a:cubicBezTo>
                    <a:pt x="13538" y="136701"/>
                    <a:pt x="16705" y="131872"/>
                    <a:pt x="20376" y="127437"/>
                  </a:cubicBezTo>
                  <a:cubicBezTo>
                    <a:pt x="25293" y="121241"/>
                    <a:pt x="31008" y="115724"/>
                    <a:pt x="37374" y="111029"/>
                  </a:cubicBezTo>
                  <a:cubicBezTo>
                    <a:pt x="50628" y="101100"/>
                    <a:pt x="66260" y="94831"/>
                    <a:pt x="82701" y="92851"/>
                  </a:cubicBezTo>
                  <a:cubicBezTo>
                    <a:pt x="57505" y="86136"/>
                    <a:pt x="42521" y="60266"/>
                    <a:pt x="49236" y="35070"/>
                  </a:cubicBezTo>
                  <a:cubicBezTo>
                    <a:pt x="55950" y="9872"/>
                    <a:pt x="81821" y="-5111"/>
                    <a:pt x="107017" y="1604"/>
                  </a:cubicBezTo>
                  <a:cubicBezTo>
                    <a:pt x="132214" y="8319"/>
                    <a:pt x="147198" y="34188"/>
                    <a:pt x="140483" y="59386"/>
                  </a:cubicBezTo>
                  <a:cubicBezTo>
                    <a:pt x="136127" y="75729"/>
                    <a:pt x="123361" y="88495"/>
                    <a:pt x="107017" y="92851"/>
                  </a:cubicBezTo>
                  <a:cubicBezTo>
                    <a:pt x="123335" y="94891"/>
                    <a:pt x="138838" y="101157"/>
                    <a:pt x="151990" y="111029"/>
                  </a:cubicBezTo>
                  <a:cubicBezTo>
                    <a:pt x="158356" y="115724"/>
                    <a:pt x="164072" y="121241"/>
                    <a:pt x="168988" y="127437"/>
                  </a:cubicBezTo>
                  <a:cubicBezTo>
                    <a:pt x="172534" y="131914"/>
                    <a:pt x="175620" y="136739"/>
                    <a:pt x="178195" y="141837"/>
                  </a:cubicBezTo>
                  <a:cubicBezTo>
                    <a:pt x="182237" y="149254"/>
                    <a:pt x="185217" y="157200"/>
                    <a:pt x="187048" y="165445"/>
                  </a:cubicBezTo>
                  <a:cubicBezTo>
                    <a:pt x="187917" y="168900"/>
                    <a:pt x="188547" y="172410"/>
                    <a:pt x="188937" y="175951"/>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11" name="Freeform: Shape 10">
              <a:extLst>
                <a:ext uri="{FF2B5EF4-FFF2-40B4-BE49-F238E27FC236}">
                  <a16:creationId xmlns:a16="http://schemas.microsoft.com/office/drawing/2014/main" id="{9DF1A958-5FFC-B809-A0E1-A123BE696604}"/>
                </a:ext>
              </a:extLst>
            </p:cNvPr>
            <p:cNvSpPr/>
            <p:nvPr/>
          </p:nvSpPr>
          <p:spPr>
            <a:xfrm>
              <a:off x="903005" y="3516078"/>
              <a:ext cx="53471" cy="23608"/>
            </a:xfrm>
            <a:custGeom>
              <a:avLst/>
              <a:gdLst>
                <a:gd name="connsiteX0" fmla="*/ 53472 w 53471"/>
                <a:gd name="connsiteY0" fmla="*/ 23608 h 23608"/>
                <a:gd name="connsiteX1" fmla="*/ 12394 w 53471"/>
                <a:gd name="connsiteY1" fmla="*/ 23608 h 23608"/>
                <a:gd name="connsiteX2" fmla="*/ 0 w 53471"/>
                <a:gd name="connsiteY2" fmla="*/ 3188 h 23608"/>
                <a:gd name="connsiteX3" fmla="*/ 15817 w 53471"/>
                <a:gd name="connsiteY3" fmla="*/ 0 h 23608"/>
                <a:gd name="connsiteX4" fmla="*/ 53472 w 53471"/>
                <a:gd name="connsiteY4" fmla="*/ 23608 h 23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71" h="23608">
                  <a:moveTo>
                    <a:pt x="53472" y="23608"/>
                  </a:moveTo>
                  <a:lnTo>
                    <a:pt x="12394" y="23608"/>
                  </a:lnTo>
                  <a:cubicBezTo>
                    <a:pt x="9162" y="16295"/>
                    <a:pt x="4997" y="9431"/>
                    <a:pt x="0" y="3188"/>
                  </a:cubicBezTo>
                  <a:cubicBezTo>
                    <a:pt x="5000" y="1059"/>
                    <a:pt x="10383" y="-26"/>
                    <a:pt x="15817" y="0"/>
                  </a:cubicBezTo>
                  <a:cubicBezTo>
                    <a:pt x="31868" y="-40"/>
                    <a:pt x="46515" y="9144"/>
                    <a:pt x="53472" y="23608"/>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12" name="Freeform: Shape 11">
              <a:extLst>
                <a:ext uri="{FF2B5EF4-FFF2-40B4-BE49-F238E27FC236}">
                  <a16:creationId xmlns:a16="http://schemas.microsoft.com/office/drawing/2014/main" id="{5C2A7513-CF92-0912-5FD1-E1507E0F5849}"/>
                </a:ext>
              </a:extLst>
            </p:cNvPr>
            <p:cNvSpPr/>
            <p:nvPr/>
          </p:nvSpPr>
          <p:spPr>
            <a:xfrm>
              <a:off x="865086" y="3508878"/>
              <a:ext cx="27530" cy="27399"/>
            </a:xfrm>
            <a:custGeom>
              <a:avLst/>
              <a:gdLst>
                <a:gd name="connsiteX0" fmla="*/ 20684 w 27530"/>
                <a:gd name="connsiteY0" fmla="*/ 23372 h 27399"/>
                <a:gd name="connsiteX1" fmla="*/ 4028 w 27530"/>
                <a:gd name="connsiteY1" fmla="*/ 24475 h 27399"/>
                <a:gd name="connsiteX2" fmla="*/ 2034 w 27530"/>
                <a:gd name="connsiteY2" fmla="*/ 8971 h 27399"/>
                <a:gd name="connsiteX3" fmla="*/ 10533 w 27530"/>
                <a:gd name="connsiteY3" fmla="*/ 0 h 27399"/>
                <a:gd name="connsiteX4" fmla="*/ 27531 w 27530"/>
                <a:gd name="connsiteY4" fmla="*/ 16407 h 27399"/>
                <a:gd name="connsiteX5" fmla="*/ 20684 w 27530"/>
                <a:gd name="connsiteY5" fmla="*/ 23372 h 27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30" h="27399">
                  <a:moveTo>
                    <a:pt x="20684" y="23372"/>
                  </a:moveTo>
                  <a:cubicBezTo>
                    <a:pt x="16390" y="28276"/>
                    <a:pt x="8932" y="28771"/>
                    <a:pt x="4028" y="24475"/>
                  </a:cubicBezTo>
                  <a:cubicBezTo>
                    <a:pt x="-454" y="20551"/>
                    <a:pt x="-1309" y="13901"/>
                    <a:pt x="2034" y="8971"/>
                  </a:cubicBezTo>
                  <a:cubicBezTo>
                    <a:pt x="4559" y="5702"/>
                    <a:pt x="7406" y="2697"/>
                    <a:pt x="10533" y="0"/>
                  </a:cubicBezTo>
                  <a:cubicBezTo>
                    <a:pt x="16899" y="4694"/>
                    <a:pt x="22614" y="10212"/>
                    <a:pt x="27531" y="16407"/>
                  </a:cubicBezTo>
                  <a:cubicBezTo>
                    <a:pt x="24988" y="18458"/>
                    <a:pt x="22691" y="20795"/>
                    <a:pt x="20684" y="23372"/>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17" name="Freeform: Shape 16">
              <a:extLst>
                <a:ext uri="{FF2B5EF4-FFF2-40B4-BE49-F238E27FC236}">
                  <a16:creationId xmlns:a16="http://schemas.microsoft.com/office/drawing/2014/main" id="{27503F61-3A77-1CF3-2AC0-FEDAC5BE0F2D}"/>
                </a:ext>
              </a:extLst>
            </p:cNvPr>
            <p:cNvSpPr/>
            <p:nvPr/>
          </p:nvSpPr>
          <p:spPr>
            <a:xfrm>
              <a:off x="882938" y="3539686"/>
              <a:ext cx="28093" cy="23607"/>
            </a:xfrm>
            <a:custGeom>
              <a:avLst/>
              <a:gdLst>
                <a:gd name="connsiteX0" fmla="*/ 19240 w 28093"/>
                <a:gd name="connsiteY0" fmla="*/ 0 h 23607"/>
                <a:gd name="connsiteX1" fmla="*/ 28093 w 28093"/>
                <a:gd name="connsiteY1" fmla="*/ 23608 h 23607"/>
                <a:gd name="connsiteX2" fmla="*/ 11804 w 28093"/>
                <a:gd name="connsiteY2" fmla="*/ 23608 h 23607"/>
                <a:gd name="connsiteX3" fmla="*/ 0 w 28093"/>
                <a:gd name="connsiteY3" fmla="*/ 11804 h 23607"/>
                <a:gd name="connsiteX4" fmla="*/ 11804 w 28093"/>
                <a:gd name="connsiteY4" fmla="*/ 0 h 23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93" h="23607">
                  <a:moveTo>
                    <a:pt x="19240" y="0"/>
                  </a:moveTo>
                  <a:cubicBezTo>
                    <a:pt x="23282" y="7416"/>
                    <a:pt x="26263" y="15363"/>
                    <a:pt x="28093" y="23608"/>
                  </a:cubicBezTo>
                  <a:lnTo>
                    <a:pt x="11804" y="23608"/>
                  </a:lnTo>
                  <a:cubicBezTo>
                    <a:pt x="5285" y="23608"/>
                    <a:pt x="0" y="18323"/>
                    <a:pt x="0" y="11804"/>
                  </a:cubicBezTo>
                  <a:cubicBezTo>
                    <a:pt x="0" y="5285"/>
                    <a:pt x="5285" y="0"/>
                    <a:pt x="11804" y="0"/>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18" name="Freeform: Shape 17">
              <a:extLst>
                <a:ext uri="{FF2B5EF4-FFF2-40B4-BE49-F238E27FC236}">
                  <a16:creationId xmlns:a16="http://schemas.microsoft.com/office/drawing/2014/main" id="{4FE2F87E-761B-0CB2-ACB1-5EE34F66EB93}"/>
                </a:ext>
              </a:extLst>
            </p:cNvPr>
            <p:cNvSpPr/>
            <p:nvPr/>
          </p:nvSpPr>
          <p:spPr>
            <a:xfrm>
              <a:off x="884175" y="3433231"/>
              <a:ext cx="99656" cy="130064"/>
            </a:xfrm>
            <a:custGeom>
              <a:avLst/>
              <a:gdLst>
                <a:gd name="connsiteX0" fmla="*/ 99569 w 99656"/>
                <a:gd name="connsiteY0" fmla="*/ 116961 h 130064"/>
                <a:gd name="connsiteX1" fmla="*/ 96736 w 99656"/>
                <a:gd name="connsiteY1" fmla="*/ 126168 h 130064"/>
                <a:gd name="connsiteX2" fmla="*/ 87765 w 99656"/>
                <a:gd name="connsiteY2" fmla="*/ 130063 h 130064"/>
                <a:gd name="connsiteX3" fmla="*/ 38896 w 99656"/>
                <a:gd name="connsiteY3" fmla="*/ 130063 h 130064"/>
                <a:gd name="connsiteX4" fmla="*/ 31224 w 99656"/>
                <a:gd name="connsiteY4" fmla="*/ 106455 h 130064"/>
                <a:gd name="connsiteX5" fmla="*/ 72302 w 99656"/>
                <a:gd name="connsiteY5" fmla="*/ 106455 h 130064"/>
                <a:gd name="connsiteX6" fmla="*/ 34647 w 99656"/>
                <a:gd name="connsiteY6" fmla="*/ 82847 h 130064"/>
                <a:gd name="connsiteX7" fmla="*/ 18830 w 99656"/>
                <a:gd name="connsiteY7" fmla="*/ 86034 h 130064"/>
                <a:gd name="connsiteX8" fmla="*/ 1478 w 99656"/>
                <a:gd name="connsiteY8" fmla="*/ 68328 h 130064"/>
                <a:gd name="connsiteX9" fmla="*/ 14226 w 99656"/>
                <a:gd name="connsiteY9" fmla="*/ 62544 h 130064"/>
                <a:gd name="connsiteX10" fmla="*/ 6632 w 99656"/>
                <a:gd name="connsiteY10" fmla="*/ 14226 h 130064"/>
                <a:gd name="connsiteX11" fmla="*/ 54950 w 99656"/>
                <a:gd name="connsiteY11" fmla="*/ 6632 h 130064"/>
                <a:gd name="connsiteX12" fmla="*/ 62544 w 99656"/>
                <a:gd name="connsiteY12" fmla="*/ 54950 h 130064"/>
                <a:gd name="connsiteX13" fmla="*/ 54950 w 99656"/>
                <a:gd name="connsiteY13" fmla="*/ 62544 h 130064"/>
                <a:gd name="connsiteX14" fmla="*/ 99569 w 99656"/>
                <a:gd name="connsiteY14" fmla="*/ 116961 h 13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656" h="130064">
                  <a:moveTo>
                    <a:pt x="99569" y="116961"/>
                  </a:moveTo>
                  <a:cubicBezTo>
                    <a:pt x="99977" y="120293"/>
                    <a:pt x="98947" y="123642"/>
                    <a:pt x="96736" y="126168"/>
                  </a:cubicBezTo>
                  <a:cubicBezTo>
                    <a:pt x="94449" y="128702"/>
                    <a:pt x="91177" y="130123"/>
                    <a:pt x="87765" y="130063"/>
                  </a:cubicBezTo>
                  <a:lnTo>
                    <a:pt x="38896" y="130063"/>
                  </a:lnTo>
                  <a:cubicBezTo>
                    <a:pt x="37378" y="121893"/>
                    <a:pt x="34799" y="113956"/>
                    <a:pt x="31224" y="106455"/>
                  </a:cubicBezTo>
                  <a:lnTo>
                    <a:pt x="72302" y="106455"/>
                  </a:lnTo>
                  <a:cubicBezTo>
                    <a:pt x="65344" y="91991"/>
                    <a:pt x="50698" y="82807"/>
                    <a:pt x="34647" y="82847"/>
                  </a:cubicBezTo>
                  <a:cubicBezTo>
                    <a:pt x="29212" y="82821"/>
                    <a:pt x="23830" y="83906"/>
                    <a:pt x="18830" y="86034"/>
                  </a:cubicBezTo>
                  <a:cubicBezTo>
                    <a:pt x="13782" y="79454"/>
                    <a:pt x="7956" y="73508"/>
                    <a:pt x="1478" y="68328"/>
                  </a:cubicBezTo>
                  <a:cubicBezTo>
                    <a:pt x="5496" y="65927"/>
                    <a:pt x="9773" y="63987"/>
                    <a:pt x="14226" y="62544"/>
                  </a:cubicBezTo>
                  <a:cubicBezTo>
                    <a:pt x="-1213" y="51299"/>
                    <a:pt x="-4614" y="29666"/>
                    <a:pt x="6632" y="14226"/>
                  </a:cubicBezTo>
                  <a:cubicBezTo>
                    <a:pt x="17877" y="-1213"/>
                    <a:pt x="39510" y="-4614"/>
                    <a:pt x="54950" y="6632"/>
                  </a:cubicBezTo>
                  <a:cubicBezTo>
                    <a:pt x="70389" y="17877"/>
                    <a:pt x="73790" y="39510"/>
                    <a:pt x="62544" y="54950"/>
                  </a:cubicBezTo>
                  <a:cubicBezTo>
                    <a:pt x="60423" y="57862"/>
                    <a:pt x="57862" y="60423"/>
                    <a:pt x="54950" y="62544"/>
                  </a:cubicBezTo>
                  <a:cubicBezTo>
                    <a:pt x="79269" y="70272"/>
                    <a:pt x="96756" y="91599"/>
                    <a:pt x="99569" y="116961"/>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23" name="Freeform: Shape 22">
              <a:extLst>
                <a:ext uri="{FF2B5EF4-FFF2-40B4-BE49-F238E27FC236}">
                  <a16:creationId xmlns:a16="http://schemas.microsoft.com/office/drawing/2014/main" id="{1DD945CC-5AC7-80D8-3E10-CF8AC36D1D08}"/>
                </a:ext>
              </a:extLst>
            </p:cNvPr>
            <p:cNvSpPr/>
            <p:nvPr/>
          </p:nvSpPr>
          <p:spPr>
            <a:xfrm>
              <a:off x="680500" y="3516078"/>
              <a:ext cx="53471" cy="23608"/>
            </a:xfrm>
            <a:custGeom>
              <a:avLst/>
              <a:gdLst>
                <a:gd name="connsiteX0" fmla="*/ 53472 w 53471"/>
                <a:gd name="connsiteY0" fmla="*/ 3188 h 23608"/>
                <a:gd name="connsiteX1" fmla="*/ 41078 w 53471"/>
                <a:gd name="connsiteY1" fmla="*/ 23608 h 23608"/>
                <a:gd name="connsiteX2" fmla="*/ 0 w 53471"/>
                <a:gd name="connsiteY2" fmla="*/ 23608 h 23608"/>
                <a:gd name="connsiteX3" fmla="*/ 37655 w 53471"/>
                <a:gd name="connsiteY3" fmla="*/ 0 h 23608"/>
                <a:gd name="connsiteX4" fmla="*/ 53472 w 53471"/>
                <a:gd name="connsiteY4" fmla="*/ 3188 h 23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71" h="23608">
                  <a:moveTo>
                    <a:pt x="53472" y="3188"/>
                  </a:moveTo>
                  <a:cubicBezTo>
                    <a:pt x="48476" y="9431"/>
                    <a:pt x="44310" y="16295"/>
                    <a:pt x="41078" y="23608"/>
                  </a:cubicBezTo>
                  <a:lnTo>
                    <a:pt x="0" y="23608"/>
                  </a:lnTo>
                  <a:cubicBezTo>
                    <a:pt x="6957" y="9144"/>
                    <a:pt x="21604" y="-40"/>
                    <a:pt x="37655" y="0"/>
                  </a:cubicBezTo>
                  <a:cubicBezTo>
                    <a:pt x="43089" y="-26"/>
                    <a:pt x="48471" y="1059"/>
                    <a:pt x="53472" y="3188"/>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24" name="Freeform: Shape 23">
              <a:extLst>
                <a:ext uri="{FF2B5EF4-FFF2-40B4-BE49-F238E27FC236}">
                  <a16:creationId xmlns:a16="http://schemas.microsoft.com/office/drawing/2014/main" id="{3BA27B42-6238-8E4A-2582-50D628FA0377}"/>
                </a:ext>
              </a:extLst>
            </p:cNvPr>
            <p:cNvSpPr/>
            <p:nvPr/>
          </p:nvSpPr>
          <p:spPr>
            <a:xfrm>
              <a:off x="725946" y="3539686"/>
              <a:ext cx="28093" cy="23607"/>
            </a:xfrm>
            <a:custGeom>
              <a:avLst/>
              <a:gdLst>
                <a:gd name="connsiteX0" fmla="*/ 28093 w 28093"/>
                <a:gd name="connsiteY0" fmla="*/ 11804 h 23607"/>
                <a:gd name="connsiteX1" fmla="*/ 16289 w 28093"/>
                <a:gd name="connsiteY1" fmla="*/ 23608 h 23607"/>
                <a:gd name="connsiteX2" fmla="*/ 0 w 28093"/>
                <a:gd name="connsiteY2" fmla="*/ 23608 h 23607"/>
                <a:gd name="connsiteX3" fmla="*/ 8971 w 28093"/>
                <a:gd name="connsiteY3" fmla="*/ 0 h 23607"/>
                <a:gd name="connsiteX4" fmla="*/ 16289 w 28093"/>
                <a:gd name="connsiteY4" fmla="*/ 0 h 23607"/>
                <a:gd name="connsiteX5" fmla="*/ 28093 w 28093"/>
                <a:gd name="connsiteY5" fmla="*/ 11804 h 23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93" h="23607">
                  <a:moveTo>
                    <a:pt x="28093" y="11804"/>
                  </a:moveTo>
                  <a:cubicBezTo>
                    <a:pt x="28093" y="18323"/>
                    <a:pt x="22809" y="23608"/>
                    <a:pt x="16289" y="23608"/>
                  </a:cubicBezTo>
                  <a:lnTo>
                    <a:pt x="0" y="23608"/>
                  </a:lnTo>
                  <a:cubicBezTo>
                    <a:pt x="1818" y="15342"/>
                    <a:pt x="4841" y="7387"/>
                    <a:pt x="8971" y="0"/>
                  </a:cubicBezTo>
                  <a:lnTo>
                    <a:pt x="16289" y="0"/>
                  </a:lnTo>
                  <a:cubicBezTo>
                    <a:pt x="22809" y="0"/>
                    <a:pt x="28093" y="5285"/>
                    <a:pt x="28093" y="11804"/>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25" name="Freeform: Shape 24">
              <a:extLst>
                <a:ext uri="{FF2B5EF4-FFF2-40B4-BE49-F238E27FC236}">
                  <a16:creationId xmlns:a16="http://schemas.microsoft.com/office/drawing/2014/main" id="{C86D7790-4AB1-0606-2BDA-CA2BE108BD4E}"/>
                </a:ext>
              </a:extLst>
            </p:cNvPr>
            <p:cNvSpPr/>
            <p:nvPr/>
          </p:nvSpPr>
          <p:spPr>
            <a:xfrm>
              <a:off x="653160" y="3433349"/>
              <a:ext cx="99524" cy="129945"/>
            </a:xfrm>
            <a:custGeom>
              <a:avLst/>
              <a:gdLst>
                <a:gd name="connsiteX0" fmla="*/ 27341 w 99524"/>
                <a:gd name="connsiteY0" fmla="*/ 106337 h 129945"/>
                <a:gd name="connsiteX1" fmla="*/ 68419 w 99524"/>
                <a:gd name="connsiteY1" fmla="*/ 106337 h 129945"/>
                <a:gd name="connsiteX2" fmla="*/ 60746 w 99524"/>
                <a:gd name="connsiteY2" fmla="*/ 129945 h 129945"/>
                <a:gd name="connsiteX3" fmla="*/ 11878 w 99524"/>
                <a:gd name="connsiteY3" fmla="*/ 129945 h 129945"/>
                <a:gd name="connsiteX4" fmla="*/ 3025 w 99524"/>
                <a:gd name="connsiteY4" fmla="*/ 126050 h 129945"/>
                <a:gd name="connsiteX5" fmla="*/ 74 w 99524"/>
                <a:gd name="connsiteY5" fmla="*/ 116843 h 129945"/>
                <a:gd name="connsiteX6" fmla="*/ 44575 w 99524"/>
                <a:gd name="connsiteY6" fmla="*/ 62544 h 129945"/>
                <a:gd name="connsiteX7" fmla="*/ 36980 w 99524"/>
                <a:gd name="connsiteY7" fmla="*/ 14226 h 129945"/>
                <a:gd name="connsiteX8" fmla="*/ 85298 w 99524"/>
                <a:gd name="connsiteY8" fmla="*/ 6632 h 129945"/>
                <a:gd name="connsiteX9" fmla="*/ 92893 w 99524"/>
                <a:gd name="connsiteY9" fmla="*/ 54950 h 129945"/>
                <a:gd name="connsiteX10" fmla="*/ 85298 w 99524"/>
                <a:gd name="connsiteY10" fmla="*/ 62544 h 129945"/>
                <a:gd name="connsiteX11" fmla="*/ 98046 w 99524"/>
                <a:gd name="connsiteY11" fmla="*/ 68328 h 129945"/>
                <a:gd name="connsiteX12" fmla="*/ 80695 w 99524"/>
                <a:gd name="connsiteY12" fmla="*/ 86034 h 129945"/>
                <a:gd name="connsiteX13" fmla="*/ 64995 w 99524"/>
                <a:gd name="connsiteY13" fmla="*/ 82729 h 129945"/>
                <a:gd name="connsiteX14" fmla="*/ 27341 w 99524"/>
                <a:gd name="connsiteY14" fmla="*/ 106337 h 129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524" h="129945">
                  <a:moveTo>
                    <a:pt x="27341" y="106337"/>
                  </a:moveTo>
                  <a:lnTo>
                    <a:pt x="68419" y="106337"/>
                  </a:lnTo>
                  <a:cubicBezTo>
                    <a:pt x="64843" y="113838"/>
                    <a:pt x="62264" y="121775"/>
                    <a:pt x="60746" y="129945"/>
                  </a:cubicBezTo>
                  <a:lnTo>
                    <a:pt x="11878" y="129945"/>
                  </a:lnTo>
                  <a:cubicBezTo>
                    <a:pt x="8506" y="129971"/>
                    <a:pt x="5284" y="128553"/>
                    <a:pt x="3025" y="126050"/>
                  </a:cubicBezTo>
                  <a:cubicBezTo>
                    <a:pt x="772" y="123542"/>
                    <a:pt x="-302" y="120192"/>
                    <a:pt x="74" y="116843"/>
                  </a:cubicBezTo>
                  <a:cubicBezTo>
                    <a:pt x="2912" y="91556"/>
                    <a:pt x="20338" y="70294"/>
                    <a:pt x="44575" y="62544"/>
                  </a:cubicBezTo>
                  <a:cubicBezTo>
                    <a:pt x="29135" y="51299"/>
                    <a:pt x="25735" y="29666"/>
                    <a:pt x="36980" y="14226"/>
                  </a:cubicBezTo>
                  <a:cubicBezTo>
                    <a:pt x="48226" y="-1213"/>
                    <a:pt x="69858" y="-4614"/>
                    <a:pt x="85298" y="6632"/>
                  </a:cubicBezTo>
                  <a:cubicBezTo>
                    <a:pt x="100738" y="17877"/>
                    <a:pt x="104138" y="39510"/>
                    <a:pt x="92893" y="54950"/>
                  </a:cubicBezTo>
                  <a:cubicBezTo>
                    <a:pt x="90772" y="57862"/>
                    <a:pt x="88210" y="60423"/>
                    <a:pt x="85298" y="62544"/>
                  </a:cubicBezTo>
                  <a:cubicBezTo>
                    <a:pt x="89752" y="63987"/>
                    <a:pt x="94028" y="65926"/>
                    <a:pt x="98046" y="68328"/>
                  </a:cubicBezTo>
                  <a:cubicBezTo>
                    <a:pt x="91569" y="73508"/>
                    <a:pt x="85742" y="79454"/>
                    <a:pt x="80695" y="86034"/>
                  </a:cubicBezTo>
                  <a:cubicBezTo>
                    <a:pt x="75739" y="83881"/>
                    <a:pt x="70398" y="82756"/>
                    <a:pt x="64995" y="82729"/>
                  </a:cubicBezTo>
                  <a:cubicBezTo>
                    <a:pt x="48945" y="82689"/>
                    <a:pt x="34298" y="91872"/>
                    <a:pt x="27341" y="106337"/>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26" name="Freeform: Shape 25">
              <a:extLst>
                <a:ext uri="{FF2B5EF4-FFF2-40B4-BE49-F238E27FC236}">
                  <a16:creationId xmlns:a16="http://schemas.microsoft.com/office/drawing/2014/main" id="{368A9AED-FA70-FD10-C935-769547B3FF8A}"/>
                </a:ext>
              </a:extLst>
            </p:cNvPr>
            <p:cNvSpPr/>
            <p:nvPr/>
          </p:nvSpPr>
          <p:spPr>
            <a:xfrm>
              <a:off x="744360" y="3508878"/>
              <a:ext cx="27944" cy="27944"/>
            </a:xfrm>
            <a:custGeom>
              <a:avLst/>
              <a:gdLst>
                <a:gd name="connsiteX0" fmla="*/ 23372 w 27944"/>
                <a:gd name="connsiteY0" fmla="*/ 25497 h 27944"/>
                <a:gd name="connsiteX1" fmla="*/ 6846 w 27944"/>
                <a:gd name="connsiteY1" fmla="*/ 23372 h 27944"/>
                <a:gd name="connsiteX2" fmla="*/ 0 w 27944"/>
                <a:gd name="connsiteY2" fmla="*/ 16407 h 27944"/>
                <a:gd name="connsiteX3" fmla="*/ 16998 w 27944"/>
                <a:gd name="connsiteY3" fmla="*/ 0 h 27944"/>
                <a:gd name="connsiteX4" fmla="*/ 25497 w 27944"/>
                <a:gd name="connsiteY4" fmla="*/ 8971 h 27944"/>
                <a:gd name="connsiteX5" fmla="*/ 23372 w 27944"/>
                <a:gd name="connsiteY5" fmla="*/ 25497 h 27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44" h="27944">
                  <a:moveTo>
                    <a:pt x="23372" y="25497"/>
                  </a:moveTo>
                  <a:cubicBezTo>
                    <a:pt x="18218" y="29460"/>
                    <a:pt x="10830" y="28510"/>
                    <a:pt x="6846" y="23372"/>
                  </a:cubicBezTo>
                  <a:cubicBezTo>
                    <a:pt x="4840" y="20795"/>
                    <a:pt x="2542" y="18458"/>
                    <a:pt x="0" y="16407"/>
                  </a:cubicBezTo>
                  <a:cubicBezTo>
                    <a:pt x="4916" y="10212"/>
                    <a:pt x="10632" y="4694"/>
                    <a:pt x="16998" y="0"/>
                  </a:cubicBezTo>
                  <a:cubicBezTo>
                    <a:pt x="20125" y="2697"/>
                    <a:pt x="22972" y="5702"/>
                    <a:pt x="25497" y="8971"/>
                  </a:cubicBezTo>
                  <a:cubicBezTo>
                    <a:pt x="29460" y="14125"/>
                    <a:pt x="28510" y="21513"/>
                    <a:pt x="23372" y="25497"/>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grpSp>
      <p:grpSp>
        <p:nvGrpSpPr>
          <p:cNvPr id="27" name="Graphic 369">
            <a:extLst>
              <a:ext uri="{FF2B5EF4-FFF2-40B4-BE49-F238E27FC236}">
                <a16:creationId xmlns:a16="http://schemas.microsoft.com/office/drawing/2014/main" id="{77C6CDE0-B4A0-94BC-6B9D-233B84940008}"/>
              </a:ext>
            </a:extLst>
          </p:cNvPr>
          <p:cNvGrpSpPr/>
          <p:nvPr/>
        </p:nvGrpSpPr>
        <p:grpSpPr>
          <a:xfrm>
            <a:off x="11398420" y="3330043"/>
            <a:ext cx="283262" cy="283262"/>
            <a:chOff x="7141200" y="4474200"/>
            <a:chExt cx="609600" cy="609600"/>
          </a:xfrm>
          <a:solidFill>
            <a:schemeClr val="bg1">
              <a:lumMod val="75000"/>
            </a:schemeClr>
          </a:solidFill>
        </p:grpSpPr>
        <p:sp>
          <p:nvSpPr>
            <p:cNvPr id="37" name="Freeform: Shape 36">
              <a:extLst>
                <a:ext uri="{FF2B5EF4-FFF2-40B4-BE49-F238E27FC236}">
                  <a16:creationId xmlns:a16="http://schemas.microsoft.com/office/drawing/2014/main" id="{C956E58E-6151-C829-3F17-AB6882FABCB4}"/>
                </a:ext>
              </a:extLst>
            </p:cNvPr>
            <p:cNvSpPr/>
            <p:nvPr/>
          </p:nvSpPr>
          <p:spPr>
            <a:xfrm>
              <a:off x="7353569" y="4475000"/>
              <a:ext cx="180975" cy="114300"/>
            </a:xfrm>
            <a:custGeom>
              <a:avLst/>
              <a:gdLst>
                <a:gd name="connsiteX0" fmla="*/ 160449 w 180975"/>
                <a:gd name="connsiteY0" fmla="*/ 26299 h 114300"/>
                <a:gd name="connsiteX1" fmla="*/ 126387 w 180975"/>
                <a:gd name="connsiteY1" fmla="*/ 26299 h 114300"/>
                <a:gd name="connsiteX2" fmla="*/ 93374 w 180975"/>
                <a:gd name="connsiteY2" fmla="*/ 7144 h 114300"/>
                <a:gd name="connsiteX3" fmla="*/ 60369 w 180975"/>
                <a:gd name="connsiteY3" fmla="*/ 26299 h 114300"/>
                <a:gd name="connsiteX4" fmla="*/ 26308 w 180975"/>
                <a:gd name="connsiteY4" fmla="*/ 26299 h 114300"/>
                <a:gd name="connsiteX5" fmla="*/ 7144 w 180975"/>
                <a:gd name="connsiteY5" fmla="*/ 45463 h 114300"/>
                <a:gd name="connsiteX6" fmla="*/ 7144 w 180975"/>
                <a:gd name="connsiteY6" fmla="*/ 98288 h 114300"/>
                <a:gd name="connsiteX7" fmla="*/ 16726 w 180975"/>
                <a:gd name="connsiteY7" fmla="*/ 107871 h 114300"/>
                <a:gd name="connsiteX8" fmla="*/ 170021 w 180975"/>
                <a:gd name="connsiteY8" fmla="*/ 107871 h 114300"/>
                <a:gd name="connsiteX9" fmla="*/ 179603 w 180975"/>
                <a:gd name="connsiteY9" fmla="*/ 98288 h 114300"/>
                <a:gd name="connsiteX10" fmla="*/ 179603 w 180975"/>
                <a:gd name="connsiteY10" fmla="*/ 45463 h 114300"/>
                <a:gd name="connsiteX11" fmla="*/ 160449 w 180975"/>
                <a:gd name="connsiteY11" fmla="*/ 26299 h 114300"/>
                <a:gd name="connsiteX12" fmla="*/ 160449 w 180975"/>
                <a:gd name="connsiteY12" fmla="*/ 26299 h 114300"/>
                <a:gd name="connsiteX13" fmla="*/ 93383 w 180975"/>
                <a:gd name="connsiteY13" fmla="*/ 59836 h 114300"/>
                <a:gd name="connsiteX14" fmla="*/ 79019 w 180975"/>
                <a:gd name="connsiteY14" fmla="*/ 45463 h 114300"/>
                <a:gd name="connsiteX15" fmla="*/ 93383 w 180975"/>
                <a:gd name="connsiteY15" fmla="*/ 31090 h 114300"/>
                <a:gd name="connsiteX16" fmla="*/ 107756 w 180975"/>
                <a:gd name="connsiteY16" fmla="*/ 45463 h 114300"/>
                <a:gd name="connsiteX17" fmla="*/ 93383 w 180975"/>
                <a:gd name="connsiteY17" fmla="*/ 59836 h 114300"/>
                <a:gd name="connsiteX18" fmla="*/ 93383 w 180975"/>
                <a:gd name="connsiteY18" fmla="*/ 5983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0975" h="114300">
                  <a:moveTo>
                    <a:pt x="160449" y="26299"/>
                  </a:moveTo>
                  <a:lnTo>
                    <a:pt x="126387" y="26299"/>
                  </a:lnTo>
                  <a:cubicBezTo>
                    <a:pt x="119748" y="14897"/>
                    <a:pt x="107528" y="7144"/>
                    <a:pt x="93374" y="7144"/>
                  </a:cubicBezTo>
                  <a:cubicBezTo>
                    <a:pt x="79229" y="7144"/>
                    <a:pt x="67008" y="14897"/>
                    <a:pt x="60369" y="26299"/>
                  </a:cubicBezTo>
                  <a:lnTo>
                    <a:pt x="26308" y="26299"/>
                  </a:lnTo>
                  <a:cubicBezTo>
                    <a:pt x="15726" y="26299"/>
                    <a:pt x="7144" y="34881"/>
                    <a:pt x="7144" y="45463"/>
                  </a:cubicBezTo>
                  <a:lnTo>
                    <a:pt x="7144" y="98288"/>
                  </a:lnTo>
                  <a:cubicBezTo>
                    <a:pt x="7144" y="103584"/>
                    <a:pt x="11430" y="107871"/>
                    <a:pt x="16726" y="107871"/>
                  </a:cubicBezTo>
                  <a:lnTo>
                    <a:pt x="170021" y="107871"/>
                  </a:lnTo>
                  <a:cubicBezTo>
                    <a:pt x="175317" y="107871"/>
                    <a:pt x="179603" y="103584"/>
                    <a:pt x="179603" y="98288"/>
                  </a:cubicBezTo>
                  <a:lnTo>
                    <a:pt x="179603" y="45463"/>
                  </a:lnTo>
                  <a:cubicBezTo>
                    <a:pt x="179613" y="34881"/>
                    <a:pt x="171031" y="26299"/>
                    <a:pt x="160449" y="26299"/>
                  </a:cubicBezTo>
                  <a:lnTo>
                    <a:pt x="160449" y="26299"/>
                  </a:lnTo>
                  <a:close/>
                  <a:moveTo>
                    <a:pt x="93383" y="59836"/>
                  </a:moveTo>
                  <a:cubicBezTo>
                    <a:pt x="85449" y="59836"/>
                    <a:pt x="79019" y="53397"/>
                    <a:pt x="79019" y="45463"/>
                  </a:cubicBezTo>
                  <a:cubicBezTo>
                    <a:pt x="79019" y="37529"/>
                    <a:pt x="85449" y="31090"/>
                    <a:pt x="93383" y="31090"/>
                  </a:cubicBezTo>
                  <a:cubicBezTo>
                    <a:pt x="101317" y="31090"/>
                    <a:pt x="107756" y="37529"/>
                    <a:pt x="107756" y="45463"/>
                  </a:cubicBezTo>
                  <a:cubicBezTo>
                    <a:pt x="107756" y="53397"/>
                    <a:pt x="101327" y="59836"/>
                    <a:pt x="93383" y="59836"/>
                  </a:cubicBezTo>
                  <a:lnTo>
                    <a:pt x="93383" y="5983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38" name="Freeform: Shape 37">
              <a:extLst>
                <a:ext uri="{FF2B5EF4-FFF2-40B4-BE49-F238E27FC236}">
                  <a16:creationId xmlns:a16="http://schemas.microsoft.com/office/drawing/2014/main" id="{8AAE4E89-CD3D-1CA9-98DE-E163370EEEC5}"/>
                </a:ext>
              </a:extLst>
            </p:cNvPr>
            <p:cNvSpPr/>
            <p:nvPr/>
          </p:nvSpPr>
          <p:spPr>
            <a:xfrm>
              <a:off x="7228068" y="4513024"/>
              <a:ext cx="428625" cy="561975"/>
            </a:xfrm>
            <a:custGeom>
              <a:avLst/>
              <a:gdLst>
                <a:gd name="connsiteX0" fmla="*/ 399964 w 428625"/>
                <a:gd name="connsiteY0" fmla="*/ 7144 h 561975"/>
                <a:gd name="connsiteX1" fmla="*/ 330489 w 428625"/>
                <a:gd name="connsiteY1" fmla="*/ 7144 h 561975"/>
                <a:gd name="connsiteX2" fmla="*/ 330498 w 428625"/>
                <a:gd name="connsiteY2" fmla="*/ 7429 h 561975"/>
                <a:gd name="connsiteX3" fmla="*/ 330498 w 428625"/>
                <a:gd name="connsiteY3" fmla="*/ 60255 h 561975"/>
                <a:gd name="connsiteX4" fmla="*/ 330479 w 428625"/>
                <a:gd name="connsiteY4" fmla="*/ 60827 h 561975"/>
                <a:gd name="connsiteX5" fmla="*/ 381762 w 428625"/>
                <a:gd name="connsiteY5" fmla="*/ 60827 h 561975"/>
                <a:gd name="connsiteX6" fmla="*/ 391344 w 428625"/>
                <a:gd name="connsiteY6" fmla="*/ 70409 h 561975"/>
                <a:gd name="connsiteX7" fmla="*/ 391344 w 428625"/>
                <a:gd name="connsiteY7" fmla="*/ 511131 h 561975"/>
                <a:gd name="connsiteX8" fmla="*/ 381762 w 428625"/>
                <a:gd name="connsiteY8" fmla="*/ 520713 h 561975"/>
                <a:gd name="connsiteX9" fmla="*/ 56007 w 428625"/>
                <a:gd name="connsiteY9" fmla="*/ 520713 h 561975"/>
                <a:gd name="connsiteX10" fmla="*/ 46425 w 428625"/>
                <a:gd name="connsiteY10" fmla="*/ 511131 h 561975"/>
                <a:gd name="connsiteX11" fmla="*/ 46425 w 428625"/>
                <a:gd name="connsiteY11" fmla="*/ 70409 h 561975"/>
                <a:gd name="connsiteX12" fmla="*/ 56007 w 428625"/>
                <a:gd name="connsiteY12" fmla="*/ 60827 h 561975"/>
                <a:gd name="connsiteX13" fmla="*/ 107290 w 428625"/>
                <a:gd name="connsiteY13" fmla="*/ 60827 h 561975"/>
                <a:gd name="connsiteX14" fmla="*/ 107271 w 428625"/>
                <a:gd name="connsiteY14" fmla="*/ 60255 h 561975"/>
                <a:gd name="connsiteX15" fmla="*/ 107271 w 428625"/>
                <a:gd name="connsiteY15" fmla="*/ 7439 h 561975"/>
                <a:gd name="connsiteX16" fmla="*/ 107280 w 428625"/>
                <a:gd name="connsiteY16" fmla="*/ 7153 h 561975"/>
                <a:gd name="connsiteX17" fmla="*/ 35890 w 428625"/>
                <a:gd name="connsiteY17" fmla="*/ 7153 h 561975"/>
                <a:gd name="connsiteX18" fmla="*/ 7144 w 428625"/>
                <a:gd name="connsiteY18" fmla="*/ 35900 h 561975"/>
                <a:gd name="connsiteX19" fmla="*/ 7144 w 428625"/>
                <a:gd name="connsiteY19" fmla="*/ 534105 h 561975"/>
                <a:gd name="connsiteX20" fmla="*/ 35890 w 428625"/>
                <a:gd name="connsiteY20" fmla="*/ 562842 h 561975"/>
                <a:gd name="connsiteX21" fmla="*/ 399964 w 428625"/>
                <a:gd name="connsiteY21" fmla="*/ 562842 h 561975"/>
                <a:gd name="connsiteX22" fmla="*/ 428711 w 428625"/>
                <a:gd name="connsiteY22" fmla="*/ 534105 h 561975"/>
                <a:gd name="connsiteX23" fmla="*/ 428711 w 428625"/>
                <a:gd name="connsiteY23" fmla="*/ 35890 h 561975"/>
                <a:gd name="connsiteX24" fmla="*/ 399964 w 428625"/>
                <a:gd name="connsiteY24" fmla="*/ 7144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8625" h="561975">
                  <a:moveTo>
                    <a:pt x="399964" y="7144"/>
                  </a:moveTo>
                  <a:lnTo>
                    <a:pt x="330489" y="7144"/>
                  </a:lnTo>
                  <a:cubicBezTo>
                    <a:pt x="330489" y="7239"/>
                    <a:pt x="330498" y="7334"/>
                    <a:pt x="330498" y="7429"/>
                  </a:cubicBezTo>
                  <a:lnTo>
                    <a:pt x="330498" y="60255"/>
                  </a:lnTo>
                  <a:cubicBezTo>
                    <a:pt x="330498" y="60446"/>
                    <a:pt x="330489" y="60636"/>
                    <a:pt x="330479" y="60827"/>
                  </a:cubicBezTo>
                  <a:lnTo>
                    <a:pt x="381762" y="60827"/>
                  </a:lnTo>
                  <a:cubicBezTo>
                    <a:pt x="387058" y="60827"/>
                    <a:pt x="391344" y="65113"/>
                    <a:pt x="391344" y="70409"/>
                  </a:cubicBezTo>
                  <a:lnTo>
                    <a:pt x="391344" y="511131"/>
                  </a:lnTo>
                  <a:cubicBezTo>
                    <a:pt x="391344" y="516426"/>
                    <a:pt x="387058" y="520713"/>
                    <a:pt x="381762" y="520713"/>
                  </a:cubicBezTo>
                  <a:lnTo>
                    <a:pt x="56007" y="520713"/>
                  </a:lnTo>
                  <a:cubicBezTo>
                    <a:pt x="50721" y="520713"/>
                    <a:pt x="46425" y="516426"/>
                    <a:pt x="46425" y="511131"/>
                  </a:cubicBezTo>
                  <a:lnTo>
                    <a:pt x="46425" y="70409"/>
                  </a:lnTo>
                  <a:cubicBezTo>
                    <a:pt x="46425" y="65113"/>
                    <a:pt x="50711" y="60827"/>
                    <a:pt x="56007" y="60827"/>
                  </a:cubicBezTo>
                  <a:lnTo>
                    <a:pt x="107290" y="60827"/>
                  </a:lnTo>
                  <a:cubicBezTo>
                    <a:pt x="107290" y="60636"/>
                    <a:pt x="107271" y="60446"/>
                    <a:pt x="107271" y="60255"/>
                  </a:cubicBezTo>
                  <a:lnTo>
                    <a:pt x="107271" y="7439"/>
                  </a:lnTo>
                  <a:cubicBezTo>
                    <a:pt x="107271" y="7344"/>
                    <a:pt x="107280" y="7249"/>
                    <a:pt x="107280" y="7153"/>
                  </a:cubicBezTo>
                  <a:lnTo>
                    <a:pt x="35890" y="7153"/>
                  </a:lnTo>
                  <a:cubicBezTo>
                    <a:pt x="20022" y="7153"/>
                    <a:pt x="7144" y="20022"/>
                    <a:pt x="7144" y="35900"/>
                  </a:cubicBezTo>
                  <a:lnTo>
                    <a:pt x="7144" y="534105"/>
                  </a:lnTo>
                  <a:cubicBezTo>
                    <a:pt x="7144" y="549974"/>
                    <a:pt x="20012" y="562842"/>
                    <a:pt x="35890" y="562842"/>
                  </a:cubicBezTo>
                  <a:lnTo>
                    <a:pt x="399964" y="562842"/>
                  </a:lnTo>
                  <a:cubicBezTo>
                    <a:pt x="415842" y="562842"/>
                    <a:pt x="428711" y="549974"/>
                    <a:pt x="428711" y="534105"/>
                  </a:cubicBezTo>
                  <a:lnTo>
                    <a:pt x="428711" y="35890"/>
                  </a:lnTo>
                  <a:cubicBezTo>
                    <a:pt x="428711" y="20022"/>
                    <a:pt x="415842" y="7144"/>
                    <a:pt x="399964" y="71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39" name="Freeform: Shape 38">
              <a:extLst>
                <a:ext uri="{FF2B5EF4-FFF2-40B4-BE49-F238E27FC236}">
                  <a16:creationId xmlns:a16="http://schemas.microsoft.com/office/drawing/2014/main" id="{7145829A-279A-537C-6033-F70987C9B310}"/>
                </a:ext>
              </a:extLst>
            </p:cNvPr>
            <p:cNvSpPr/>
            <p:nvPr/>
          </p:nvSpPr>
          <p:spPr>
            <a:xfrm>
              <a:off x="7383316" y="4650955"/>
              <a:ext cx="114300" cy="28575"/>
            </a:xfrm>
            <a:custGeom>
              <a:avLst/>
              <a:gdLst>
                <a:gd name="connsiteX0" fmla="*/ 104708 w 114300"/>
                <a:gd name="connsiteY0" fmla="*/ 23374 h 28575"/>
                <a:gd name="connsiteX1" fmla="*/ 15250 w 114300"/>
                <a:gd name="connsiteY1" fmla="*/ 23374 h 28575"/>
                <a:gd name="connsiteX2" fmla="*/ 7144 w 114300"/>
                <a:gd name="connsiteY2" fmla="*/ 15259 h 28575"/>
                <a:gd name="connsiteX3" fmla="*/ 15250 w 114300"/>
                <a:gd name="connsiteY3" fmla="*/ 7144 h 28575"/>
                <a:gd name="connsiteX4" fmla="*/ 104718 w 114300"/>
                <a:gd name="connsiteY4" fmla="*/ 7144 h 28575"/>
                <a:gd name="connsiteX5" fmla="*/ 112833 w 114300"/>
                <a:gd name="connsiteY5" fmla="*/ 15259 h 28575"/>
                <a:gd name="connsiteX6" fmla="*/ 104708 w 114300"/>
                <a:gd name="connsiteY6" fmla="*/ 23374 h 28575"/>
                <a:gd name="connsiteX7" fmla="*/ 104708 w 114300"/>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28575">
                  <a:moveTo>
                    <a:pt x="104708" y="23374"/>
                  </a:moveTo>
                  <a:lnTo>
                    <a:pt x="15250" y="23374"/>
                  </a:lnTo>
                  <a:cubicBezTo>
                    <a:pt x="10773" y="23374"/>
                    <a:pt x="7144" y="19745"/>
                    <a:pt x="7144" y="15259"/>
                  </a:cubicBezTo>
                  <a:cubicBezTo>
                    <a:pt x="7144" y="10782"/>
                    <a:pt x="10773" y="7144"/>
                    <a:pt x="15250" y="7144"/>
                  </a:cubicBezTo>
                  <a:lnTo>
                    <a:pt x="104718" y="7144"/>
                  </a:lnTo>
                  <a:cubicBezTo>
                    <a:pt x="109195" y="7144"/>
                    <a:pt x="112833" y="10773"/>
                    <a:pt x="112833" y="15259"/>
                  </a:cubicBezTo>
                  <a:cubicBezTo>
                    <a:pt x="112824" y="19745"/>
                    <a:pt x="109195" y="23374"/>
                    <a:pt x="104708" y="23374"/>
                  </a:cubicBezTo>
                  <a:lnTo>
                    <a:pt x="104708"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40" name="Freeform: Shape 39">
              <a:extLst>
                <a:ext uri="{FF2B5EF4-FFF2-40B4-BE49-F238E27FC236}">
                  <a16:creationId xmlns:a16="http://schemas.microsoft.com/office/drawing/2014/main" id="{6AB91DC9-EE40-1590-1877-AA819EB9A4A9}"/>
                </a:ext>
              </a:extLst>
            </p:cNvPr>
            <p:cNvSpPr/>
            <p:nvPr/>
          </p:nvSpPr>
          <p:spPr>
            <a:xfrm>
              <a:off x="7383316" y="4686760"/>
              <a:ext cx="200025" cy="28575"/>
            </a:xfrm>
            <a:custGeom>
              <a:avLst/>
              <a:gdLst>
                <a:gd name="connsiteX0" fmla="*/ 194177 w 200025"/>
                <a:gd name="connsiteY0" fmla="*/ 23374 h 28575"/>
                <a:gd name="connsiteX1" fmla="*/ 15250 w 200025"/>
                <a:gd name="connsiteY1" fmla="*/ 23374 h 28575"/>
                <a:gd name="connsiteX2" fmla="*/ 7144 w 200025"/>
                <a:gd name="connsiteY2" fmla="*/ 15259 h 28575"/>
                <a:gd name="connsiteX3" fmla="*/ 15250 w 200025"/>
                <a:gd name="connsiteY3" fmla="*/ 7144 h 28575"/>
                <a:gd name="connsiteX4" fmla="*/ 194177 w 200025"/>
                <a:gd name="connsiteY4" fmla="*/ 7144 h 28575"/>
                <a:gd name="connsiteX5" fmla="*/ 202282 w 200025"/>
                <a:gd name="connsiteY5" fmla="*/ 15259 h 28575"/>
                <a:gd name="connsiteX6" fmla="*/ 194177 w 200025"/>
                <a:gd name="connsiteY6" fmla="*/ 23374 h 28575"/>
                <a:gd name="connsiteX7" fmla="*/ 194177 w 200025"/>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28575">
                  <a:moveTo>
                    <a:pt x="194177" y="23374"/>
                  </a:moveTo>
                  <a:lnTo>
                    <a:pt x="15250" y="23374"/>
                  </a:lnTo>
                  <a:cubicBezTo>
                    <a:pt x="10773" y="23374"/>
                    <a:pt x="7144" y="19745"/>
                    <a:pt x="7144" y="15259"/>
                  </a:cubicBezTo>
                  <a:cubicBezTo>
                    <a:pt x="7144" y="10773"/>
                    <a:pt x="10773" y="7144"/>
                    <a:pt x="15250" y="7144"/>
                  </a:cubicBezTo>
                  <a:lnTo>
                    <a:pt x="194177" y="7144"/>
                  </a:lnTo>
                  <a:cubicBezTo>
                    <a:pt x="198663" y="7144"/>
                    <a:pt x="202282" y="10773"/>
                    <a:pt x="202282" y="15259"/>
                  </a:cubicBezTo>
                  <a:cubicBezTo>
                    <a:pt x="202292" y="19745"/>
                    <a:pt x="198653" y="23374"/>
                    <a:pt x="194177" y="23374"/>
                  </a:cubicBezTo>
                  <a:lnTo>
                    <a:pt x="194177"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41" name="Freeform: Shape 40">
              <a:extLst>
                <a:ext uri="{FF2B5EF4-FFF2-40B4-BE49-F238E27FC236}">
                  <a16:creationId xmlns:a16="http://schemas.microsoft.com/office/drawing/2014/main" id="{4D063A08-2CCC-533F-A572-071337A53B3C}"/>
                </a:ext>
              </a:extLst>
            </p:cNvPr>
            <p:cNvSpPr/>
            <p:nvPr/>
          </p:nvSpPr>
          <p:spPr>
            <a:xfrm>
              <a:off x="7383316" y="4774028"/>
              <a:ext cx="114300" cy="28575"/>
            </a:xfrm>
            <a:custGeom>
              <a:avLst/>
              <a:gdLst>
                <a:gd name="connsiteX0" fmla="*/ 104708 w 114300"/>
                <a:gd name="connsiteY0" fmla="*/ 23374 h 28575"/>
                <a:gd name="connsiteX1" fmla="*/ 15250 w 114300"/>
                <a:gd name="connsiteY1" fmla="*/ 23374 h 28575"/>
                <a:gd name="connsiteX2" fmla="*/ 7144 w 114300"/>
                <a:gd name="connsiteY2" fmla="*/ 15259 h 28575"/>
                <a:gd name="connsiteX3" fmla="*/ 15250 w 114300"/>
                <a:gd name="connsiteY3" fmla="*/ 7144 h 28575"/>
                <a:gd name="connsiteX4" fmla="*/ 104718 w 114300"/>
                <a:gd name="connsiteY4" fmla="*/ 7144 h 28575"/>
                <a:gd name="connsiteX5" fmla="*/ 112833 w 114300"/>
                <a:gd name="connsiteY5" fmla="*/ 15259 h 28575"/>
                <a:gd name="connsiteX6" fmla="*/ 104708 w 114300"/>
                <a:gd name="connsiteY6" fmla="*/ 23374 h 28575"/>
                <a:gd name="connsiteX7" fmla="*/ 104708 w 114300"/>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28575">
                  <a:moveTo>
                    <a:pt x="104708" y="23374"/>
                  </a:moveTo>
                  <a:lnTo>
                    <a:pt x="15250" y="23374"/>
                  </a:lnTo>
                  <a:cubicBezTo>
                    <a:pt x="10773" y="23374"/>
                    <a:pt x="7144" y="19745"/>
                    <a:pt x="7144" y="15259"/>
                  </a:cubicBezTo>
                  <a:cubicBezTo>
                    <a:pt x="7144" y="10773"/>
                    <a:pt x="10773" y="7144"/>
                    <a:pt x="15250" y="7144"/>
                  </a:cubicBezTo>
                  <a:lnTo>
                    <a:pt x="104718" y="7144"/>
                  </a:lnTo>
                  <a:cubicBezTo>
                    <a:pt x="109195" y="7144"/>
                    <a:pt x="112833" y="10773"/>
                    <a:pt x="112833" y="15259"/>
                  </a:cubicBezTo>
                  <a:cubicBezTo>
                    <a:pt x="112824" y="19745"/>
                    <a:pt x="109195" y="23374"/>
                    <a:pt x="104708" y="23374"/>
                  </a:cubicBezTo>
                  <a:lnTo>
                    <a:pt x="104708"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43" name="Freeform: Shape 42">
              <a:extLst>
                <a:ext uri="{FF2B5EF4-FFF2-40B4-BE49-F238E27FC236}">
                  <a16:creationId xmlns:a16="http://schemas.microsoft.com/office/drawing/2014/main" id="{775E4AFE-EFD6-9E8A-ED07-15A41D20F5B0}"/>
                </a:ext>
              </a:extLst>
            </p:cNvPr>
            <p:cNvSpPr/>
            <p:nvPr/>
          </p:nvSpPr>
          <p:spPr>
            <a:xfrm>
              <a:off x="7383316" y="4809832"/>
              <a:ext cx="200025" cy="28575"/>
            </a:xfrm>
            <a:custGeom>
              <a:avLst/>
              <a:gdLst>
                <a:gd name="connsiteX0" fmla="*/ 192214 w 200025"/>
                <a:gd name="connsiteY0" fmla="*/ 23374 h 28575"/>
                <a:gd name="connsiteX1" fmla="*/ 15250 w 200025"/>
                <a:gd name="connsiteY1" fmla="*/ 23374 h 28575"/>
                <a:gd name="connsiteX2" fmla="*/ 7144 w 200025"/>
                <a:gd name="connsiteY2" fmla="*/ 15259 h 28575"/>
                <a:gd name="connsiteX3" fmla="*/ 15250 w 200025"/>
                <a:gd name="connsiteY3" fmla="*/ 7144 h 28575"/>
                <a:gd name="connsiteX4" fmla="*/ 192214 w 200025"/>
                <a:gd name="connsiteY4" fmla="*/ 7144 h 28575"/>
                <a:gd name="connsiteX5" fmla="*/ 200320 w 200025"/>
                <a:gd name="connsiteY5" fmla="*/ 15259 h 28575"/>
                <a:gd name="connsiteX6" fmla="*/ 192214 w 200025"/>
                <a:gd name="connsiteY6" fmla="*/ 23374 h 28575"/>
                <a:gd name="connsiteX7" fmla="*/ 192214 w 200025"/>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28575">
                  <a:moveTo>
                    <a:pt x="192214" y="23374"/>
                  </a:moveTo>
                  <a:lnTo>
                    <a:pt x="15250" y="23374"/>
                  </a:lnTo>
                  <a:cubicBezTo>
                    <a:pt x="10773" y="23374"/>
                    <a:pt x="7144" y="19745"/>
                    <a:pt x="7144" y="15259"/>
                  </a:cubicBezTo>
                  <a:cubicBezTo>
                    <a:pt x="7144" y="10773"/>
                    <a:pt x="10773" y="7144"/>
                    <a:pt x="15250" y="7144"/>
                  </a:cubicBezTo>
                  <a:lnTo>
                    <a:pt x="192214" y="7144"/>
                  </a:lnTo>
                  <a:cubicBezTo>
                    <a:pt x="196691" y="7144"/>
                    <a:pt x="200320" y="10773"/>
                    <a:pt x="200320" y="15259"/>
                  </a:cubicBezTo>
                  <a:cubicBezTo>
                    <a:pt x="200320" y="19745"/>
                    <a:pt x="196691" y="23374"/>
                    <a:pt x="192214" y="23374"/>
                  </a:cubicBezTo>
                  <a:lnTo>
                    <a:pt x="192214"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63" name="Freeform: Shape 62">
              <a:extLst>
                <a:ext uri="{FF2B5EF4-FFF2-40B4-BE49-F238E27FC236}">
                  <a16:creationId xmlns:a16="http://schemas.microsoft.com/office/drawing/2014/main" id="{16A8AFCF-2AD8-0D63-D065-7CC8CF61F561}"/>
                </a:ext>
              </a:extLst>
            </p:cNvPr>
            <p:cNvSpPr/>
            <p:nvPr/>
          </p:nvSpPr>
          <p:spPr>
            <a:xfrm>
              <a:off x="7383316" y="4897100"/>
              <a:ext cx="114300" cy="28575"/>
            </a:xfrm>
            <a:custGeom>
              <a:avLst/>
              <a:gdLst>
                <a:gd name="connsiteX0" fmla="*/ 104708 w 114300"/>
                <a:gd name="connsiteY0" fmla="*/ 23374 h 28575"/>
                <a:gd name="connsiteX1" fmla="*/ 15250 w 114300"/>
                <a:gd name="connsiteY1" fmla="*/ 23374 h 28575"/>
                <a:gd name="connsiteX2" fmla="*/ 7144 w 114300"/>
                <a:gd name="connsiteY2" fmla="*/ 15259 h 28575"/>
                <a:gd name="connsiteX3" fmla="*/ 15250 w 114300"/>
                <a:gd name="connsiteY3" fmla="*/ 7144 h 28575"/>
                <a:gd name="connsiteX4" fmla="*/ 104718 w 114300"/>
                <a:gd name="connsiteY4" fmla="*/ 7144 h 28575"/>
                <a:gd name="connsiteX5" fmla="*/ 112833 w 114300"/>
                <a:gd name="connsiteY5" fmla="*/ 15259 h 28575"/>
                <a:gd name="connsiteX6" fmla="*/ 104708 w 114300"/>
                <a:gd name="connsiteY6" fmla="*/ 23374 h 28575"/>
                <a:gd name="connsiteX7" fmla="*/ 104708 w 114300"/>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28575">
                  <a:moveTo>
                    <a:pt x="104708" y="23374"/>
                  </a:moveTo>
                  <a:lnTo>
                    <a:pt x="15250" y="23374"/>
                  </a:lnTo>
                  <a:cubicBezTo>
                    <a:pt x="10773" y="23374"/>
                    <a:pt x="7144" y="19745"/>
                    <a:pt x="7144" y="15259"/>
                  </a:cubicBezTo>
                  <a:cubicBezTo>
                    <a:pt x="7144" y="10773"/>
                    <a:pt x="10773" y="7144"/>
                    <a:pt x="15250" y="7144"/>
                  </a:cubicBezTo>
                  <a:lnTo>
                    <a:pt x="104718" y="7144"/>
                  </a:lnTo>
                  <a:cubicBezTo>
                    <a:pt x="109195" y="7144"/>
                    <a:pt x="112833" y="10773"/>
                    <a:pt x="112833" y="15259"/>
                  </a:cubicBezTo>
                  <a:cubicBezTo>
                    <a:pt x="112824" y="19736"/>
                    <a:pt x="109195" y="23374"/>
                    <a:pt x="104708" y="23374"/>
                  </a:cubicBezTo>
                  <a:lnTo>
                    <a:pt x="104708"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64" name="Freeform: Shape 63">
              <a:extLst>
                <a:ext uri="{FF2B5EF4-FFF2-40B4-BE49-F238E27FC236}">
                  <a16:creationId xmlns:a16="http://schemas.microsoft.com/office/drawing/2014/main" id="{C970FA29-ABF5-ACAA-9C0B-5DBB134E373E}"/>
                </a:ext>
              </a:extLst>
            </p:cNvPr>
            <p:cNvSpPr/>
            <p:nvPr/>
          </p:nvSpPr>
          <p:spPr>
            <a:xfrm>
              <a:off x="7383316" y="4932905"/>
              <a:ext cx="200025" cy="28575"/>
            </a:xfrm>
            <a:custGeom>
              <a:avLst/>
              <a:gdLst>
                <a:gd name="connsiteX0" fmla="*/ 190938 w 200025"/>
                <a:gd name="connsiteY0" fmla="*/ 23374 h 28575"/>
                <a:gd name="connsiteX1" fmla="*/ 15250 w 200025"/>
                <a:gd name="connsiteY1" fmla="*/ 23374 h 28575"/>
                <a:gd name="connsiteX2" fmla="*/ 7144 w 200025"/>
                <a:gd name="connsiteY2" fmla="*/ 15259 h 28575"/>
                <a:gd name="connsiteX3" fmla="*/ 15250 w 200025"/>
                <a:gd name="connsiteY3" fmla="*/ 7144 h 28575"/>
                <a:gd name="connsiteX4" fmla="*/ 190938 w 200025"/>
                <a:gd name="connsiteY4" fmla="*/ 7144 h 28575"/>
                <a:gd name="connsiteX5" fmla="*/ 199044 w 200025"/>
                <a:gd name="connsiteY5" fmla="*/ 15259 h 28575"/>
                <a:gd name="connsiteX6" fmla="*/ 190938 w 200025"/>
                <a:gd name="connsiteY6" fmla="*/ 23374 h 28575"/>
                <a:gd name="connsiteX7" fmla="*/ 190938 w 200025"/>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28575">
                  <a:moveTo>
                    <a:pt x="190938" y="23374"/>
                  </a:moveTo>
                  <a:lnTo>
                    <a:pt x="15250" y="23374"/>
                  </a:lnTo>
                  <a:cubicBezTo>
                    <a:pt x="10773" y="23374"/>
                    <a:pt x="7144" y="19745"/>
                    <a:pt x="7144" y="15259"/>
                  </a:cubicBezTo>
                  <a:cubicBezTo>
                    <a:pt x="7144" y="10773"/>
                    <a:pt x="10773" y="7144"/>
                    <a:pt x="15250" y="7144"/>
                  </a:cubicBezTo>
                  <a:lnTo>
                    <a:pt x="190938" y="7144"/>
                  </a:lnTo>
                  <a:cubicBezTo>
                    <a:pt x="195415" y="7144"/>
                    <a:pt x="199044" y="10773"/>
                    <a:pt x="199044" y="15259"/>
                  </a:cubicBezTo>
                  <a:cubicBezTo>
                    <a:pt x="199053" y="19736"/>
                    <a:pt x="195415" y="23374"/>
                    <a:pt x="190938" y="23374"/>
                  </a:cubicBezTo>
                  <a:lnTo>
                    <a:pt x="190938"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FFFFFF"/>
                </a:solidFill>
                <a:effectLst/>
                <a:uLnTx/>
                <a:uFillTx/>
                <a:latin typeface="Neue Haas Grotesk Text Pro"/>
                <a:ea typeface="+mn-ea"/>
                <a:cs typeface="+mn-cs"/>
              </a:endParaRPr>
            </a:p>
          </p:txBody>
        </p:sp>
        <p:sp>
          <p:nvSpPr>
            <p:cNvPr id="65" name="Freeform: Shape 64">
              <a:extLst>
                <a:ext uri="{FF2B5EF4-FFF2-40B4-BE49-F238E27FC236}">
                  <a16:creationId xmlns:a16="http://schemas.microsoft.com/office/drawing/2014/main" id="{7B408E6E-C9E8-81FE-ADC4-7842066B370E}"/>
                </a:ext>
              </a:extLst>
            </p:cNvPr>
            <p:cNvSpPr/>
            <p:nvPr/>
          </p:nvSpPr>
          <p:spPr>
            <a:xfrm>
              <a:off x="7299256" y="4641976"/>
              <a:ext cx="76200" cy="57150"/>
            </a:xfrm>
            <a:custGeom>
              <a:avLst/>
              <a:gdLst>
                <a:gd name="connsiteX0" fmla="*/ 29481 w 76200"/>
                <a:gd name="connsiteY0" fmla="*/ 58310 h 57150"/>
                <a:gd name="connsiteX1" fmla="*/ 29434 w 76200"/>
                <a:gd name="connsiteY1" fmla="*/ 58310 h 57150"/>
                <a:gd name="connsiteX2" fmla="*/ 23509 w 76200"/>
                <a:gd name="connsiteY2" fmla="*/ 55681 h 57150"/>
                <a:gd name="connsiteX3" fmla="*/ 9279 w 76200"/>
                <a:gd name="connsiteY3" fmla="*/ 40184 h 57150"/>
                <a:gd name="connsiteX4" fmla="*/ 9774 w 76200"/>
                <a:gd name="connsiteY4" fmla="*/ 28725 h 57150"/>
                <a:gd name="connsiteX5" fmla="*/ 21233 w 76200"/>
                <a:gd name="connsiteY5" fmla="*/ 29211 h 57150"/>
                <a:gd name="connsiteX6" fmla="*/ 29558 w 76200"/>
                <a:gd name="connsiteY6" fmla="*/ 38279 h 57150"/>
                <a:gd name="connsiteX7" fmla="*/ 56504 w 76200"/>
                <a:gd name="connsiteY7" fmla="*/ 9694 h 57150"/>
                <a:gd name="connsiteX8" fmla="*/ 67972 w 76200"/>
                <a:gd name="connsiteY8" fmla="*/ 9351 h 57150"/>
                <a:gd name="connsiteX9" fmla="*/ 68315 w 76200"/>
                <a:gd name="connsiteY9" fmla="*/ 20819 h 57150"/>
                <a:gd name="connsiteX10" fmla="*/ 35387 w 76200"/>
                <a:gd name="connsiteY10" fmla="*/ 55757 h 57150"/>
                <a:gd name="connsiteX11" fmla="*/ 29481 w 76200"/>
                <a:gd name="connsiteY11" fmla="*/ 58310 h 57150"/>
                <a:gd name="connsiteX12" fmla="*/ 29481 w 76200"/>
                <a:gd name="connsiteY12" fmla="*/ 5831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200" h="57150">
                  <a:moveTo>
                    <a:pt x="29481" y="58310"/>
                  </a:moveTo>
                  <a:lnTo>
                    <a:pt x="29434" y="58310"/>
                  </a:lnTo>
                  <a:cubicBezTo>
                    <a:pt x="27176" y="58300"/>
                    <a:pt x="25033" y="57338"/>
                    <a:pt x="23509" y="55681"/>
                  </a:cubicBezTo>
                  <a:lnTo>
                    <a:pt x="9279" y="40184"/>
                  </a:lnTo>
                  <a:cubicBezTo>
                    <a:pt x="6250" y="36878"/>
                    <a:pt x="6469" y="31754"/>
                    <a:pt x="9774" y="28725"/>
                  </a:cubicBezTo>
                  <a:cubicBezTo>
                    <a:pt x="13070" y="25696"/>
                    <a:pt x="18204" y="25906"/>
                    <a:pt x="21233" y="29211"/>
                  </a:cubicBezTo>
                  <a:lnTo>
                    <a:pt x="29558" y="38279"/>
                  </a:lnTo>
                  <a:lnTo>
                    <a:pt x="56504" y="9694"/>
                  </a:lnTo>
                  <a:cubicBezTo>
                    <a:pt x="59571" y="6427"/>
                    <a:pt x="64714" y="6284"/>
                    <a:pt x="67972" y="9351"/>
                  </a:cubicBezTo>
                  <a:cubicBezTo>
                    <a:pt x="71230" y="12428"/>
                    <a:pt x="71382" y="17562"/>
                    <a:pt x="68315" y="20819"/>
                  </a:cubicBezTo>
                  <a:lnTo>
                    <a:pt x="35387" y="55757"/>
                  </a:lnTo>
                  <a:cubicBezTo>
                    <a:pt x="33853" y="57395"/>
                    <a:pt x="31710" y="58310"/>
                    <a:pt x="29481" y="58310"/>
                  </a:cubicBezTo>
                  <a:lnTo>
                    <a:pt x="29481" y="5831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66" name="Freeform: Shape 65">
              <a:extLst>
                <a:ext uri="{FF2B5EF4-FFF2-40B4-BE49-F238E27FC236}">
                  <a16:creationId xmlns:a16="http://schemas.microsoft.com/office/drawing/2014/main" id="{462B2F29-1421-0A1A-D3B3-63091FFFB694}"/>
                </a:ext>
              </a:extLst>
            </p:cNvPr>
            <p:cNvSpPr/>
            <p:nvPr/>
          </p:nvSpPr>
          <p:spPr>
            <a:xfrm>
              <a:off x="7299256" y="4765053"/>
              <a:ext cx="76200" cy="57150"/>
            </a:xfrm>
            <a:custGeom>
              <a:avLst/>
              <a:gdLst>
                <a:gd name="connsiteX0" fmla="*/ 29481 w 76200"/>
                <a:gd name="connsiteY0" fmla="*/ 58305 h 57150"/>
                <a:gd name="connsiteX1" fmla="*/ 29434 w 76200"/>
                <a:gd name="connsiteY1" fmla="*/ 58305 h 57150"/>
                <a:gd name="connsiteX2" fmla="*/ 23509 w 76200"/>
                <a:gd name="connsiteY2" fmla="*/ 55676 h 57150"/>
                <a:gd name="connsiteX3" fmla="*/ 9279 w 76200"/>
                <a:gd name="connsiteY3" fmla="*/ 40179 h 57150"/>
                <a:gd name="connsiteX4" fmla="*/ 9774 w 76200"/>
                <a:gd name="connsiteY4" fmla="*/ 28720 h 57150"/>
                <a:gd name="connsiteX5" fmla="*/ 21233 w 76200"/>
                <a:gd name="connsiteY5" fmla="*/ 29215 h 57150"/>
                <a:gd name="connsiteX6" fmla="*/ 29558 w 76200"/>
                <a:gd name="connsiteY6" fmla="*/ 38283 h 57150"/>
                <a:gd name="connsiteX7" fmla="*/ 56504 w 76200"/>
                <a:gd name="connsiteY7" fmla="*/ 9689 h 57150"/>
                <a:gd name="connsiteX8" fmla="*/ 67972 w 76200"/>
                <a:gd name="connsiteY8" fmla="*/ 9356 h 57150"/>
                <a:gd name="connsiteX9" fmla="*/ 68315 w 76200"/>
                <a:gd name="connsiteY9" fmla="*/ 20824 h 57150"/>
                <a:gd name="connsiteX10" fmla="*/ 35387 w 76200"/>
                <a:gd name="connsiteY10" fmla="*/ 55762 h 57150"/>
                <a:gd name="connsiteX11" fmla="*/ 29481 w 76200"/>
                <a:gd name="connsiteY11" fmla="*/ 58305 h 57150"/>
                <a:gd name="connsiteX12" fmla="*/ 29481 w 76200"/>
                <a:gd name="connsiteY12" fmla="*/ 5830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200" h="57150">
                  <a:moveTo>
                    <a:pt x="29481" y="58305"/>
                  </a:moveTo>
                  <a:lnTo>
                    <a:pt x="29434" y="58305"/>
                  </a:lnTo>
                  <a:cubicBezTo>
                    <a:pt x="27176" y="58295"/>
                    <a:pt x="25033" y="57333"/>
                    <a:pt x="23509" y="55676"/>
                  </a:cubicBezTo>
                  <a:lnTo>
                    <a:pt x="9279" y="40179"/>
                  </a:lnTo>
                  <a:cubicBezTo>
                    <a:pt x="6250" y="36883"/>
                    <a:pt x="6469" y="31749"/>
                    <a:pt x="9774" y="28720"/>
                  </a:cubicBezTo>
                  <a:cubicBezTo>
                    <a:pt x="13070" y="25691"/>
                    <a:pt x="18204" y="25910"/>
                    <a:pt x="21233" y="29215"/>
                  </a:cubicBezTo>
                  <a:lnTo>
                    <a:pt x="29558" y="38283"/>
                  </a:lnTo>
                  <a:lnTo>
                    <a:pt x="56504" y="9689"/>
                  </a:lnTo>
                  <a:cubicBezTo>
                    <a:pt x="59571" y="6432"/>
                    <a:pt x="64714" y="6279"/>
                    <a:pt x="67972" y="9356"/>
                  </a:cubicBezTo>
                  <a:cubicBezTo>
                    <a:pt x="71230" y="12432"/>
                    <a:pt x="71382" y="17566"/>
                    <a:pt x="68315" y="20824"/>
                  </a:cubicBezTo>
                  <a:lnTo>
                    <a:pt x="35387" y="55762"/>
                  </a:lnTo>
                  <a:cubicBezTo>
                    <a:pt x="33853" y="57390"/>
                    <a:pt x="31710" y="58305"/>
                    <a:pt x="29481" y="58305"/>
                  </a:cubicBezTo>
                  <a:lnTo>
                    <a:pt x="29481" y="583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67" name="Freeform: Shape 66">
              <a:extLst>
                <a:ext uri="{FF2B5EF4-FFF2-40B4-BE49-F238E27FC236}">
                  <a16:creationId xmlns:a16="http://schemas.microsoft.com/office/drawing/2014/main" id="{4727799B-AE51-5E72-F2BC-FFCEBD5FDEEC}"/>
                </a:ext>
              </a:extLst>
            </p:cNvPr>
            <p:cNvSpPr/>
            <p:nvPr/>
          </p:nvSpPr>
          <p:spPr>
            <a:xfrm>
              <a:off x="7299248" y="4890176"/>
              <a:ext cx="76200" cy="76200"/>
            </a:xfrm>
            <a:custGeom>
              <a:avLst/>
              <a:gdLst>
                <a:gd name="connsiteX0" fmla="*/ 70523 w 76200"/>
                <a:gd name="connsiteY0" fmla="*/ 38833 h 76200"/>
                <a:gd name="connsiteX1" fmla="*/ 38833 w 76200"/>
                <a:gd name="connsiteY1" fmla="*/ 70523 h 76200"/>
                <a:gd name="connsiteX2" fmla="*/ 7144 w 76200"/>
                <a:gd name="connsiteY2" fmla="*/ 38833 h 76200"/>
                <a:gd name="connsiteX3" fmla="*/ 38833 w 76200"/>
                <a:gd name="connsiteY3" fmla="*/ 7144 h 76200"/>
                <a:gd name="connsiteX4" fmla="*/ 70523 w 76200"/>
                <a:gd name="connsiteY4" fmla="*/ 38833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0523" y="38833"/>
                  </a:moveTo>
                  <a:cubicBezTo>
                    <a:pt x="70523" y="56335"/>
                    <a:pt x="56335" y="70523"/>
                    <a:pt x="38833" y="70523"/>
                  </a:cubicBezTo>
                  <a:cubicBezTo>
                    <a:pt x="21332" y="70523"/>
                    <a:pt x="7144" y="56335"/>
                    <a:pt x="7144" y="38833"/>
                  </a:cubicBezTo>
                  <a:cubicBezTo>
                    <a:pt x="7144" y="21332"/>
                    <a:pt x="21332" y="7144"/>
                    <a:pt x="38833" y="7144"/>
                  </a:cubicBezTo>
                  <a:cubicBezTo>
                    <a:pt x="56335" y="7144"/>
                    <a:pt x="70523" y="21332"/>
                    <a:pt x="70523" y="3883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grpSp>
    </p:spTree>
    <p:extLst>
      <p:ext uri="{BB962C8B-B14F-4D97-AF65-F5344CB8AC3E}">
        <p14:creationId xmlns:p14="http://schemas.microsoft.com/office/powerpoint/2010/main" val="27572931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nl-NL"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3</a:t>
            </a:fld>
            <a:endParaRPr kumimoji="0" lang="nl-NL"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187539" y="135148"/>
            <a:ext cx="11705119" cy="677262"/>
          </a:xfrm>
        </p:spPr>
        <p:txBody>
          <a:bodyPr vert="horz" tIns="0" bIns="0" anchor="t"/>
          <a:lstStyle/>
          <a:p>
            <a:pPr algn="ctr"/>
            <a:r>
              <a:rPr lang="en-US" dirty="0">
                <a:solidFill>
                  <a:srgbClr val="145275"/>
                </a:solidFill>
                <a:latin typeface="+mn-lt"/>
                <a:cs typeface="Poppins" panose="00000500000000000000" pitchFamily="2" charset="0"/>
              </a:rPr>
              <a:t>The Scrum Team</a:t>
            </a:r>
          </a:p>
        </p:txBody>
      </p:sp>
      <p:pic>
        <p:nvPicPr>
          <p:cNvPr id="17" name="Picture 16">
            <a:extLst>
              <a:ext uri="{FF2B5EF4-FFF2-40B4-BE49-F238E27FC236}">
                <a16:creationId xmlns:a16="http://schemas.microsoft.com/office/drawing/2014/main" id="{3EE3682B-36DD-8122-AD41-A50E944C57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18" name="Picture 17">
            <a:extLst>
              <a:ext uri="{FF2B5EF4-FFF2-40B4-BE49-F238E27FC236}">
                <a16:creationId xmlns:a16="http://schemas.microsoft.com/office/drawing/2014/main" id="{56445B68-8578-CEF1-BEC4-5F4CFBBB43EB}"/>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4" name="Content Placeholder 2">
            <a:extLst>
              <a:ext uri="{FF2B5EF4-FFF2-40B4-BE49-F238E27FC236}">
                <a16:creationId xmlns:a16="http://schemas.microsoft.com/office/drawing/2014/main" id="{4F6C6FDA-A230-2EDD-8BC8-9249877DE41B}"/>
              </a:ext>
            </a:extLst>
          </p:cNvPr>
          <p:cNvSpPr txBox="1">
            <a:spLocks/>
          </p:cNvSpPr>
          <p:nvPr/>
        </p:nvSpPr>
        <p:spPr>
          <a:xfrm>
            <a:off x="243444" y="1339027"/>
            <a:ext cx="11705115" cy="4281224"/>
          </a:xfrm>
          <a:prstGeom prst="rect">
            <a:avLst/>
          </a:prstGeom>
        </p:spPr>
        <p:txBody>
          <a:bodyPr vert="horz" lIns="0" tIns="0" rIns="0" bIns="0" rtlCol="0" anchor="t">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230400" marR="0" lvl="0" indent="-230400" algn="l" defTabSz="914400" rtl="0" eaLnBrk="1" fontAlgn="auto" latinLnBrk="0" hangingPunct="1">
              <a:lnSpc>
                <a:spcPct val="100000"/>
              </a:lnSpc>
              <a:spcBef>
                <a:spcPts val="0"/>
              </a:spcBef>
              <a:spcAft>
                <a:spcPts val="1200"/>
              </a:spcAft>
              <a:buClr>
                <a:srgbClr val="145275"/>
              </a:buClr>
              <a:buSzTx/>
              <a:buFont typeface="Arial" panose="020B0604020202020204" pitchFamily="34" charset="0"/>
              <a:buChar char="•"/>
              <a:tabLst/>
              <a:defRPr/>
            </a:pPr>
            <a:endParaRPr lang="en-US" sz="2400" kern="0" dirty="0">
              <a:solidFill>
                <a:srgbClr val="145275"/>
              </a:solidFill>
              <a:latin typeface="+mn-lt"/>
              <a:cs typeface="Poppins" panose="00000500000000000000" pitchFamily="2" charset="0"/>
            </a:endParaRPr>
          </a:p>
        </p:txBody>
      </p:sp>
      <p:pic>
        <p:nvPicPr>
          <p:cNvPr id="4" name="Picture 3">
            <a:extLst>
              <a:ext uri="{FF2B5EF4-FFF2-40B4-BE49-F238E27FC236}">
                <a16:creationId xmlns:a16="http://schemas.microsoft.com/office/drawing/2014/main" id="{631EFEA2-A202-8A74-21B5-85A74922DE27}"/>
              </a:ext>
            </a:extLst>
          </p:cNvPr>
          <p:cNvPicPr>
            <a:picLocks noChangeAspect="1"/>
          </p:cNvPicPr>
          <p:nvPr/>
        </p:nvPicPr>
        <p:blipFill>
          <a:blip r:embed="rId8"/>
          <a:stretch>
            <a:fillRect/>
          </a:stretch>
        </p:blipFill>
        <p:spPr>
          <a:xfrm>
            <a:off x="3061210" y="812410"/>
            <a:ext cx="6456415" cy="5397814"/>
          </a:xfrm>
          <a:prstGeom prst="rect">
            <a:avLst/>
          </a:prstGeom>
        </p:spPr>
      </p:pic>
    </p:spTree>
    <p:extLst>
      <p:ext uri="{BB962C8B-B14F-4D97-AF65-F5344CB8AC3E}">
        <p14:creationId xmlns:p14="http://schemas.microsoft.com/office/powerpoint/2010/main" val="32846166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nl-NL"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4</a:t>
            </a:fld>
            <a:endParaRPr kumimoji="0" lang="nl-NL"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243440" y="336182"/>
            <a:ext cx="11705119" cy="661345"/>
          </a:xfrm>
        </p:spPr>
        <p:txBody>
          <a:bodyPr vert="horz" tIns="0" bIns="0" anchor="t"/>
          <a:lstStyle/>
          <a:p>
            <a:pPr algn="ctr"/>
            <a:r>
              <a:rPr lang="en-US" dirty="0">
                <a:solidFill>
                  <a:srgbClr val="145275"/>
                </a:solidFill>
                <a:latin typeface="+mn-lt"/>
                <a:cs typeface="Poppins" panose="00000500000000000000" pitchFamily="2" charset="0"/>
              </a:rPr>
              <a:t>Scrum in Career Accelerator</a:t>
            </a:r>
          </a:p>
        </p:txBody>
      </p:sp>
      <p:pic>
        <p:nvPicPr>
          <p:cNvPr id="17" name="Picture 16">
            <a:extLst>
              <a:ext uri="{FF2B5EF4-FFF2-40B4-BE49-F238E27FC236}">
                <a16:creationId xmlns:a16="http://schemas.microsoft.com/office/drawing/2014/main" id="{3EE3682B-36DD-8122-AD41-A50E944C57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18" name="Picture 17">
            <a:extLst>
              <a:ext uri="{FF2B5EF4-FFF2-40B4-BE49-F238E27FC236}">
                <a16:creationId xmlns:a16="http://schemas.microsoft.com/office/drawing/2014/main" id="{56445B68-8578-CEF1-BEC4-5F4CFBBB43EB}"/>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4" name="Content Placeholder 2">
            <a:extLst>
              <a:ext uri="{FF2B5EF4-FFF2-40B4-BE49-F238E27FC236}">
                <a16:creationId xmlns:a16="http://schemas.microsoft.com/office/drawing/2014/main" id="{4F6C6FDA-A230-2EDD-8BC8-9249877DE41B}"/>
              </a:ext>
            </a:extLst>
          </p:cNvPr>
          <p:cNvSpPr txBox="1">
            <a:spLocks/>
          </p:cNvSpPr>
          <p:nvPr/>
        </p:nvSpPr>
        <p:spPr>
          <a:xfrm>
            <a:off x="883227" y="1339027"/>
            <a:ext cx="10472212" cy="4281224"/>
          </a:xfrm>
          <a:prstGeom prst="rect">
            <a:avLst/>
          </a:prstGeom>
        </p:spPr>
        <p:txBody>
          <a:bodyPr vert="horz" lIns="0" tIns="0" rIns="0" bIns="0" rtlCol="0" anchor="t">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R="0" lvl="0" defTabSz="914400" rtl="0" eaLnBrk="1" fontAlgn="auto" latinLnBrk="0" hangingPunct="1">
              <a:lnSpc>
                <a:spcPct val="150000"/>
              </a:lnSpc>
              <a:spcBef>
                <a:spcPts val="0"/>
              </a:spcBef>
              <a:spcAft>
                <a:spcPts val="1200"/>
              </a:spcAft>
              <a:buClr>
                <a:srgbClr val="145275"/>
              </a:buClr>
              <a:buSzTx/>
              <a:tabLst/>
              <a:defRPr/>
            </a:pPr>
            <a:r>
              <a:rPr lang="en-US" sz="2400" b="1" kern="0" dirty="0">
                <a:solidFill>
                  <a:schemeClr val="accent1">
                    <a:lumMod val="75000"/>
                  </a:schemeClr>
                </a:solidFill>
                <a:latin typeface="Poppins" panose="00000500000000000000" pitchFamily="2" charset="0"/>
                <a:cs typeface="Poppins" panose="00000500000000000000" pitchFamily="2" charset="0"/>
              </a:rPr>
              <a:t>To foster Scrum during every Sprint</a:t>
            </a:r>
          </a:p>
          <a:p>
            <a:pPr marL="457200" indent="-457200" defTabSz="914400">
              <a:lnSpc>
                <a:spcPct val="150000"/>
              </a:lnSpc>
              <a:spcAft>
                <a:spcPts val="1200"/>
              </a:spcAft>
              <a:buClr>
                <a:srgbClr val="145275"/>
              </a:buClr>
              <a:buFont typeface="Arial" panose="020B0604020202020204" pitchFamily="34" charset="0"/>
              <a:buChar char="•"/>
              <a:defRPr/>
            </a:pPr>
            <a:r>
              <a:rPr lang="en-US" sz="2400" kern="0" dirty="0">
                <a:solidFill>
                  <a:schemeClr val="tx1"/>
                </a:solidFill>
                <a:latin typeface="Poppins" panose="00000500000000000000" pitchFamily="2" charset="0"/>
                <a:cs typeface="Poppins" panose="00000500000000000000" pitchFamily="2" charset="0"/>
              </a:rPr>
              <a:t>Team members will have a weekly </a:t>
            </a:r>
            <a:r>
              <a:rPr lang="en-US" sz="2400" b="1" i="1" kern="0" dirty="0">
                <a:solidFill>
                  <a:schemeClr val="accent1">
                    <a:lumMod val="75000"/>
                  </a:schemeClr>
                </a:solidFill>
                <a:latin typeface="Poppins" panose="00000500000000000000" pitchFamily="2" charset="0"/>
                <a:cs typeface="Poppins" panose="00000500000000000000" pitchFamily="2" charset="0"/>
              </a:rPr>
              <a:t>Team Sync (Scrum Habits) </a:t>
            </a:r>
            <a:r>
              <a:rPr lang="en-US" sz="2400" i="1" kern="0" dirty="0">
                <a:solidFill>
                  <a:schemeClr val="tx1"/>
                </a:solidFill>
                <a:latin typeface="Poppins" panose="00000500000000000000" pitchFamily="2" charset="0"/>
                <a:cs typeface="Poppins" panose="00000500000000000000" pitchFamily="2" charset="0"/>
              </a:rPr>
              <a:t>meeting</a:t>
            </a:r>
            <a:r>
              <a:rPr lang="en-US" sz="2400" b="1" i="1" kern="0" dirty="0">
                <a:solidFill>
                  <a:schemeClr val="accent1">
                    <a:lumMod val="75000"/>
                  </a:schemeClr>
                </a:solidFill>
                <a:latin typeface="Poppins" panose="00000500000000000000" pitchFamily="2" charset="0"/>
                <a:cs typeface="Poppins" panose="00000500000000000000" pitchFamily="2" charset="0"/>
              </a:rPr>
              <a:t> </a:t>
            </a:r>
            <a:r>
              <a:rPr lang="en-US" sz="2400" kern="0" dirty="0">
                <a:solidFill>
                  <a:schemeClr val="tx1"/>
                </a:solidFill>
                <a:latin typeface="Poppins" panose="00000500000000000000" pitchFamily="2" charset="0"/>
                <a:cs typeface="Poppins" panose="00000500000000000000" pitchFamily="2" charset="0"/>
              </a:rPr>
              <a:t>with scrum masters to assess the progression of the team.</a:t>
            </a:r>
          </a:p>
          <a:p>
            <a:pPr marR="0" lvl="0" defTabSz="914400" rtl="0" eaLnBrk="1" fontAlgn="auto" latinLnBrk="0" hangingPunct="1">
              <a:lnSpc>
                <a:spcPct val="150000"/>
              </a:lnSpc>
              <a:spcBef>
                <a:spcPts val="0"/>
              </a:spcBef>
              <a:spcAft>
                <a:spcPts val="1200"/>
              </a:spcAft>
              <a:buClr>
                <a:srgbClr val="145275"/>
              </a:buClr>
              <a:buSzTx/>
              <a:tabLst/>
              <a:defRPr/>
            </a:pPr>
            <a:r>
              <a:rPr lang="en-US" sz="2400" b="1" kern="0" dirty="0">
                <a:solidFill>
                  <a:schemeClr val="accent1">
                    <a:lumMod val="75000"/>
                  </a:schemeClr>
                </a:solidFill>
                <a:latin typeface="Poppins" panose="00000500000000000000" pitchFamily="2" charset="0"/>
                <a:cs typeface="Poppins" panose="00000500000000000000" pitchFamily="2" charset="0"/>
              </a:rPr>
              <a:t>Tool to be used</a:t>
            </a:r>
          </a:p>
          <a:p>
            <a:pPr marL="457200" indent="-457200" defTabSz="914400">
              <a:lnSpc>
                <a:spcPct val="150000"/>
              </a:lnSpc>
              <a:spcAft>
                <a:spcPts val="1200"/>
              </a:spcAft>
              <a:buClr>
                <a:srgbClr val="145275"/>
              </a:buClr>
              <a:buFont typeface="Arial" panose="020B0604020202020204" pitchFamily="34" charset="0"/>
              <a:buChar char="•"/>
              <a:defRPr/>
            </a:pPr>
            <a:r>
              <a:rPr lang="en-US" sz="2400" kern="0" dirty="0">
                <a:solidFill>
                  <a:schemeClr val="tx1"/>
                </a:solidFill>
                <a:latin typeface="Poppins" panose="00000500000000000000" pitchFamily="2" charset="0"/>
                <a:cs typeface="Poppins" panose="00000500000000000000" pitchFamily="2" charset="0"/>
              </a:rPr>
              <a:t>Kanban Board</a:t>
            </a:r>
          </a:p>
        </p:txBody>
      </p:sp>
    </p:spTree>
    <p:extLst>
      <p:ext uri="{BB962C8B-B14F-4D97-AF65-F5344CB8AC3E}">
        <p14:creationId xmlns:p14="http://schemas.microsoft.com/office/powerpoint/2010/main" val="1453977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nl-NL"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5</a:t>
            </a:fld>
            <a:endParaRPr kumimoji="0" lang="nl-NL"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412015" y="186332"/>
            <a:ext cx="11705119" cy="661345"/>
          </a:xfrm>
        </p:spPr>
        <p:txBody>
          <a:bodyPr vert="horz" tIns="0" bIns="0" anchor="t"/>
          <a:lstStyle/>
          <a:p>
            <a:pPr algn="ctr"/>
            <a:r>
              <a:rPr lang="en-US" dirty="0">
                <a:solidFill>
                  <a:srgbClr val="145275"/>
                </a:solidFill>
                <a:latin typeface="Poppins" panose="00000500000000000000" pitchFamily="2" charset="0"/>
                <a:cs typeface="Poppins" panose="00000500000000000000" pitchFamily="2" charset="0"/>
              </a:rPr>
              <a:t>Project Introduction</a:t>
            </a:r>
          </a:p>
        </p:txBody>
      </p:sp>
      <p:pic>
        <p:nvPicPr>
          <p:cNvPr id="17" name="Picture 16">
            <a:extLst>
              <a:ext uri="{FF2B5EF4-FFF2-40B4-BE49-F238E27FC236}">
                <a16:creationId xmlns:a16="http://schemas.microsoft.com/office/drawing/2014/main" id="{3EE3682B-36DD-8122-AD41-A50E944C57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18" name="Picture 17">
            <a:extLst>
              <a:ext uri="{FF2B5EF4-FFF2-40B4-BE49-F238E27FC236}">
                <a16:creationId xmlns:a16="http://schemas.microsoft.com/office/drawing/2014/main" id="{56445B68-8578-CEF1-BEC4-5F4CFBBB43EB}"/>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4" name="Content Placeholder 2">
            <a:extLst>
              <a:ext uri="{FF2B5EF4-FFF2-40B4-BE49-F238E27FC236}">
                <a16:creationId xmlns:a16="http://schemas.microsoft.com/office/drawing/2014/main" id="{4F6C6FDA-A230-2EDD-8BC8-9249877DE41B}"/>
              </a:ext>
            </a:extLst>
          </p:cNvPr>
          <p:cNvSpPr txBox="1">
            <a:spLocks/>
          </p:cNvSpPr>
          <p:nvPr/>
        </p:nvSpPr>
        <p:spPr>
          <a:xfrm>
            <a:off x="1171390" y="938633"/>
            <a:ext cx="9849219" cy="5306304"/>
          </a:xfrm>
          <a:prstGeom prst="rect">
            <a:avLst/>
          </a:prstGeom>
        </p:spPr>
        <p:txBody>
          <a:bodyPr vert="horz" lIns="0" tIns="0" rIns="0" bIns="0" rtlCol="0" anchor="t">
            <a:normAutofit fontScale="925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229870" indent="-229870" defTabSz="914400">
              <a:lnSpc>
                <a:spcPct val="150000"/>
              </a:lnSpc>
              <a:spcAft>
                <a:spcPts val="1200"/>
              </a:spcAft>
              <a:buClr>
                <a:srgbClr val="145275"/>
              </a:buClr>
              <a:buFont typeface="Arial" panose="020B0604020202020204" pitchFamily="34" charset="0"/>
              <a:buChar char="•"/>
              <a:defRPr/>
            </a:pPr>
            <a:r>
              <a:rPr lang="en-US" sz="2400" b="1" kern="0" dirty="0">
                <a:solidFill>
                  <a:srgbClr val="145275"/>
                </a:solidFill>
                <a:latin typeface="Poppins"/>
                <a:cs typeface="Poppins"/>
              </a:rPr>
              <a:t>Scenario:</a:t>
            </a:r>
            <a:r>
              <a:rPr lang="en-US" sz="2400" kern="0" dirty="0">
                <a:solidFill>
                  <a:srgbClr val="145275"/>
                </a:solidFill>
                <a:latin typeface="Poppins"/>
                <a:cs typeface="Poppins"/>
              </a:rPr>
              <a:t> You are a data scientist, and your company wants you to create an in-house app that will allow non-technical staff to interact with a machine learning model to predict the churn of their telecommunication service.</a:t>
            </a:r>
          </a:p>
          <a:p>
            <a:pPr algn="ctr" defTabSz="914400">
              <a:lnSpc>
                <a:spcPct val="150000"/>
              </a:lnSpc>
              <a:spcAft>
                <a:spcPts val="1200"/>
              </a:spcAft>
              <a:buClr>
                <a:srgbClr val="145275"/>
              </a:buClr>
              <a:defRPr/>
            </a:pPr>
            <a:r>
              <a:rPr lang="en-US" sz="2200" b="1" u="sng" dirty="0">
                <a:solidFill>
                  <a:schemeClr val="accent1">
                    <a:lumMod val="50000"/>
                  </a:schemeClr>
                </a:solidFill>
                <a:latin typeface="Poppins"/>
                <a:cs typeface="Poppins"/>
              </a:rPr>
              <a:t>Objectives</a:t>
            </a:r>
          </a:p>
          <a:p>
            <a:pPr marL="457200" indent="-457200" defTabSz="914400">
              <a:lnSpc>
                <a:spcPct val="150000"/>
              </a:lnSpc>
              <a:spcAft>
                <a:spcPts val="1200"/>
              </a:spcAft>
              <a:buClr>
                <a:srgbClr val="145275"/>
              </a:buClr>
              <a:buFont typeface="+mj-lt"/>
              <a:buAutoNum type="arabicPeriod"/>
              <a:defRPr/>
            </a:pPr>
            <a:r>
              <a:rPr lang="en-US" sz="2400" kern="0" dirty="0">
                <a:solidFill>
                  <a:srgbClr val="145275"/>
                </a:solidFill>
                <a:latin typeface="Poppins"/>
                <a:cs typeface="Poppins"/>
              </a:rPr>
              <a:t>Create an app for the</a:t>
            </a:r>
            <a:r>
              <a:rPr lang="en-US" sz="2400" b="1" kern="0" dirty="0">
                <a:solidFill>
                  <a:srgbClr val="145275"/>
                </a:solidFill>
                <a:latin typeface="Poppins"/>
                <a:cs typeface="Poppins"/>
              </a:rPr>
              <a:t> </a:t>
            </a:r>
            <a:r>
              <a:rPr lang="en-US" sz="2400" b="1" kern="0" dirty="0">
                <a:solidFill>
                  <a:srgbClr val="145275"/>
                </a:solidFill>
                <a:latin typeface="Poppins"/>
              </a:rPr>
              <a:t>classification</a:t>
            </a:r>
            <a:r>
              <a:rPr lang="en-US" sz="2400" b="1" kern="0" dirty="0">
                <a:solidFill>
                  <a:srgbClr val="145275"/>
                </a:solidFill>
                <a:latin typeface="Poppins"/>
                <a:cs typeface="Poppins"/>
              </a:rPr>
              <a:t> model </a:t>
            </a:r>
            <a:r>
              <a:rPr lang="en-US" sz="2400" kern="0" dirty="0">
                <a:solidFill>
                  <a:srgbClr val="145275"/>
                </a:solidFill>
                <a:latin typeface="Poppins"/>
                <a:cs typeface="Poppins"/>
              </a:rPr>
              <a:t>you created during the </a:t>
            </a:r>
            <a:r>
              <a:rPr lang="en-US" sz="2400" b="1" kern="0" dirty="0">
                <a:solidFill>
                  <a:srgbClr val="145275"/>
                </a:solidFill>
                <a:latin typeface="Poppins"/>
                <a:cs typeface="Poppins"/>
              </a:rPr>
              <a:t>LP2 project.</a:t>
            </a:r>
          </a:p>
          <a:p>
            <a:pPr marL="457200" marR="0" lvl="0" indent="-457200" algn="l" defTabSz="914400" rtl="0" eaLnBrk="1" fontAlgn="auto" latinLnBrk="0" hangingPunct="1">
              <a:lnSpc>
                <a:spcPct val="150000"/>
              </a:lnSpc>
              <a:spcBef>
                <a:spcPts val="0"/>
              </a:spcBef>
              <a:spcAft>
                <a:spcPts val="1200"/>
              </a:spcAft>
              <a:buClr>
                <a:srgbClr val="145275"/>
              </a:buClr>
              <a:buSzTx/>
              <a:buFont typeface="+mj-lt"/>
              <a:buAutoNum type="arabicPeriod"/>
              <a:tabLst/>
              <a:defRPr/>
            </a:pPr>
            <a:r>
              <a:rPr lang="en-US" sz="2400" kern="0" dirty="0">
                <a:solidFill>
                  <a:srgbClr val="145275"/>
                </a:solidFill>
                <a:latin typeface="Poppins"/>
                <a:cs typeface="Poppins"/>
              </a:rPr>
              <a:t>Your team wants to deploy this app for use by the marketing team to target customers that may churn and offer them better services.</a:t>
            </a:r>
          </a:p>
        </p:txBody>
      </p:sp>
    </p:spTree>
    <p:extLst>
      <p:ext uri="{BB962C8B-B14F-4D97-AF65-F5344CB8AC3E}">
        <p14:creationId xmlns:p14="http://schemas.microsoft.com/office/powerpoint/2010/main" val="30974355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nl-NL"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6</a:t>
            </a:fld>
            <a:endParaRPr kumimoji="0" lang="nl-NL"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954034" y="186333"/>
            <a:ext cx="10283932" cy="755295"/>
          </a:xfrm>
        </p:spPr>
        <p:txBody>
          <a:bodyPr vert="horz" tIns="0" bIns="0" anchor="t"/>
          <a:lstStyle/>
          <a:p>
            <a:pPr algn="ctr"/>
            <a:r>
              <a:rPr lang="en-US" dirty="0">
                <a:solidFill>
                  <a:srgbClr val="145275"/>
                </a:solidFill>
                <a:latin typeface="Poppins" panose="00000500000000000000" pitchFamily="2" charset="0"/>
                <a:cs typeface="Poppins" panose="00000500000000000000" pitchFamily="2" charset="0"/>
              </a:rPr>
              <a:t>Project Deliverables</a:t>
            </a:r>
          </a:p>
        </p:txBody>
      </p:sp>
      <p:pic>
        <p:nvPicPr>
          <p:cNvPr id="17" name="Picture 16">
            <a:extLst>
              <a:ext uri="{FF2B5EF4-FFF2-40B4-BE49-F238E27FC236}">
                <a16:creationId xmlns:a16="http://schemas.microsoft.com/office/drawing/2014/main" id="{3EE3682B-36DD-8122-AD41-A50E944C57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18" name="Picture 17">
            <a:extLst>
              <a:ext uri="{FF2B5EF4-FFF2-40B4-BE49-F238E27FC236}">
                <a16:creationId xmlns:a16="http://schemas.microsoft.com/office/drawing/2014/main" id="{56445B68-8578-CEF1-BEC4-5F4CFBBB43EB}"/>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4" name="Content Placeholder 2">
            <a:extLst>
              <a:ext uri="{FF2B5EF4-FFF2-40B4-BE49-F238E27FC236}">
                <a16:creationId xmlns:a16="http://schemas.microsoft.com/office/drawing/2014/main" id="{4F6C6FDA-A230-2EDD-8BC8-9249877DE41B}"/>
              </a:ext>
            </a:extLst>
          </p:cNvPr>
          <p:cNvSpPr txBox="1">
            <a:spLocks/>
          </p:cNvSpPr>
          <p:nvPr/>
        </p:nvSpPr>
        <p:spPr>
          <a:xfrm>
            <a:off x="800829" y="1340349"/>
            <a:ext cx="10712745" cy="5237432"/>
          </a:xfrm>
          <a:prstGeom prst="rect">
            <a:avLst/>
          </a:prstGeom>
        </p:spPr>
        <p:txBody>
          <a:bodyPr vert="horz" lIns="0" tIns="0" rIns="0" bIns="0" rtlCol="0" anchor="t">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457200" indent="-457200" defTabSz="914400">
              <a:lnSpc>
                <a:spcPct val="150000"/>
              </a:lnSpc>
              <a:spcAft>
                <a:spcPts val="1200"/>
              </a:spcAft>
              <a:buClr>
                <a:srgbClr val="145275"/>
              </a:buClr>
              <a:buFont typeface="+mj-lt"/>
              <a:buAutoNum type="arabicPeriod"/>
              <a:defRPr/>
            </a:pPr>
            <a:r>
              <a:rPr lang="en-US" sz="2400" kern="0" dirty="0">
                <a:solidFill>
                  <a:srgbClr val="145275"/>
                </a:solidFill>
                <a:latin typeface="Poppins"/>
                <a:cs typeface="Poppins"/>
              </a:rPr>
              <a:t>Wrap your built model into a Streamlit web application.</a:t>
            </a:r>
            <a:endParaRPr lang="en-US" dirty="0">
              <a:latin typeface="Poppins"/>
              <a:cs typeface="Poppins"/>
            </a:endParaRPr>
          </a:p>
          <a:p>
            <a:pPr marL="457200" marR="0" lvl="0" indent="-457200" algn="l" defTabSz="914400" rtl="0" eaLnBrk="1" fontAlgn="auto" latinLnBrk="0" hangingPunct="1">
              <a:lnSpc>
                <a:spcPct val="150000"/>
              </a:lnSpc>
              <a:spcBef>
                <a:spcPts val="0"/>
              </a:spcBef>
              <a:spcAft>
                <a:spcPts val="1200"/>
              </a:spcAft>
              <a:buClr>
                <a:srgbClr val="145275"/>
              </a:buClr>
              <a:buSzTx/>
              <a:buFont typeface="+mj-lt"/>
              <a:buAutoNum type="arabicPeriod"/>
              <a:tabLst/>
              <a:defRPr/>
            </a:pPr>
            <a:r>
              <a:rPr lang="en-US" sz="2400" kern="0" dirty="0">
                <a:solidFill>
                  <a:srgbClr val="145275"/>
                </a:solidFill>
                <a:latin typeface="Poppins" panose="00000500000000000000" pitchFamily="2" charset="0"/>
                <a:cs typeface="Poppins" panose="00000500000000000000" pitchFamily="2" charset="0"/>
              </a:rPr>
              <a:t>At the end of the period, you must submit </a:t>
            </a:r>
          </a:p>
          <a:p>
            <a:pPr marL="914400" lvl="1" indent="-457200" defTabSz="914400">
              <a:lnSpc>
                <a:spcPct val="150000"/>
              </a:lnSpc>
              <a:spcAft>
                <a:spcPts val="1200"/>
              </a:spcAft>
              <a:buClr>
                <a:srgbClr val="145275"/>
              </a:buClr>
              <a:buFont typeface="Arial" panose="020B0604020202020204" pitchFamily="34" charset="0"/>
              <a:buChar char="•"/>
              <a:defRPr/>
            </a:pPr>
            <a:r>
              <a:rPr lang="en-US" sz="2400" kern="0" dirty="0">
                <a:solidFill>
                  <a:srgbClr val="145275"/>
                </a:solidFill>
                <a:latin typeface="Poppins" panose="00000500000000000000" pitchFamily="2" charset="0"/>
                <a:cs typeface="Poppins" panose="00000500000000000000" pitchFamily="2" charset="0"/>
              </a:rPr>
              <a:t>A well-structured GitHub repository containing the codes app</a:t>
            </a:r>
          </a:p>
          <a:p>
            <a:pPr marL="914400" lvl="1" indent="-457200" defTabSz="914400">
              <a:lnSpc>
                <a:spcPct val="150000"/>
              </a:lnSpc>
              <a:spcAft>
                <a:spcPts val="1200"/>
              </a:spcAft>
              <a:buClr>
                <a:srgbClr val="145275"/>
              </a:buClr>
              <a:buFont typeface="Arial" panose="020B0604020202020204" pitchFamily="34" charset="0"/>
              <a:buChar char="•"/>
              <a:defRPr/>
            </a:pPr>
            <a:r>
              <a:rPr lang="en-US" sz="2400" kern="0" dirty="0">
                <a:solidFill>
                  <a:srgbClr val="145275"/>
                </a:solidFill>
                <a:latin typeface="Poppins" panose="00000500000000000000" pitchFamily="2" charset="0"/>
                <a:cs typeface="Poppins" panose="00000500000000000000" pitchFamily="2" charset="0"/>
              </a:rPr>
              <a:t>An article summarizing the project</a:t>
            </a:r>
          </a:p>
          <a:p>
            <a:pPr marL="457200" marR="0" lvl="0" indent="-457200" algn="l" defTabSz="914400" rtl="0" eaLnBrk="1" fontAlgn="auto" latinLnBrk="0" hangingPunct="1">
              <a:lnSpc>
                <a:spcPct val="150000"/>
              </a:lnSpc>
              <a:spcBef>
                <a:spcPts val="0"/>
              </a:spcBef>
              <a:spcAft>
                <a:spcPts val="1200"/>
              </a:spcAft>
              <a:buClr>
                <a:srgbClr val="145275"/>
              </a:buClr>
              <a:buSzTx/>
              <a:buFont typeface="+mj-lt"/>
              <a:buAutoNum type="arabicPeriod"/>
              <a:tabLst/>
              <a:defRPr/>
            </a:pPr>
            <a:r>
              <a:rPr lang="en-US" sz="2400" kern="0" dirty="0">
                <a:solidFill>
                  <a:srgbClr val="145275"/>
                </a:solidFill>
                <a:latin typeface="Poppins" panose="00000500000000000000" pitchFamily="2" charset="0"/>
                <a:cs typeface="Poppins" panose="00000500000000000000" pitchFamily="2" charset="0"/>
              </a:rPr>
              <a:t>The main evaluation will be based on the submitted documents.</a:t>
            </a:r>
          </a:p>
        </p:txBody>
      </p:sp>
    </p:spTree>
    <p:extLst>
      <p:ext uri="{BB962C8B-B14F-4D97-AF65-F5344CB8AC3E}">
        <p14:creationId xmlns:p14="http://schemas.microsoft.com/office/powerpoint/2010/main" val="13954856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243439" y="336182"/>
            <a:ext cx="11584383" cy="837991"/>
          </a:xfrm>
        </p:spPr>
        <p:txBody>
          <a:bodyPr vert="horz" tIns="0" bIns="0" anchor="t"/>
          <a:lstStyle/>
          <a:p>
            <a:pPr algn="ctr"/>
            <a:r>
              <a:rPr lang="en-GB" dirty="0">
                <a:solidFill>
                  <a:srgbClr val="145275"/>
                </a:solidFill>
                <a:latin typeface="Poppins" panose="00000500000000000000" pitchFamily="2" charset="0"/>
                <a:cs typeface="Poppins" panose="00000500000000000000" pitchFamily="2" charset="0"/>
              </a:rPr>
              <a:t>Sprint Rubrics</a:t>
            </a:r>
          </a:p>
        </p:txBody>
      </p:sp>
      <p:sp>
        <p:nvSpPr>
          <p:cNvPr id="39" name="Slide Number Placeholder 2">
            <a:extLst>
              <a:ext uri="{FF2B5EF4-FFF2-40B4-BE49-F238E27FC236}">
                <a16:creationId xmlns:a16="http://schemas.microsoft.com/office/drawing/2014/main" id="{0D24CA9B-BA8B-4DA3-8311-4F351C00DEC2}"/>
              </a:ext>
            </a:extLst>
          </p:cNvPr>
          <p:cNvSpPr>
            <a:spLocks noGrp="1"/>
          </p:cNvSpPr>
          <p:nvPr>
            <p:ph type="sldNum" idx="4"/>
          </p:nvPr>
        </p:nvSpPr>
        <p:spPr>
          <a:xfrm>
            <a:off x="11355439" y="6146868"/>
            <a:ext cx="731600" cy="524800"/>
          </a:xfrm>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GB"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7</a:t>
            </a:fld>
            <a:endParaRPr kumimoji="0" lang="en-GB"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pic>
        <p:nvPicPr>
          <p:cNvPr id="41" name="Picture 40">
            <a:extLst>
              <a:ext uri="{FF2B5EF4-FFF2-40B4-BE49-F238E27FC236}">
                <a16:creationId xmlns:a16="http://schemas.microsoft.com/office/drawing/2014/main" id="{FD1811AE-E3C8-B268-232E-0C97CC4959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42" name="Picture 41">
            <a:extLst>
              <a:ext uri="{FF2B5EF4-FFF2-40B4-BE49-F238E27FC236}">
                <a16:creationId xmlns:a16="http://schemas.microsoft.com/office/drawing/2014/main" id="{90577B65-70E8-93B8-CC9D-E7EB428B7143}"/>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46" name="Content Placeholder 2">
            <a:extLst>
              <a:ext uri="{FF2B5EF4-FFF2-40B4-BE49-F238E27FC236}">
                <a16:creationId xmlns:a16="http://schemas.microsoft.com/office/drawing/2014/main" id="{5631BFA5-17B9-E0EB-D2FF-D8FA9707201A}"/>
              </a:ext>
            </a:extLst>
          </p:cNvPr>
          <p:cNvSpPr txBox="1">
            <a:spLocks/>
          </p:cNvSpPr>
          <p:nvPr/>
        </p:nvSpPr>
        <p:spPr>
          <a:xfrm>
            <a:off x="326057" y="1404733"/>
            <a:ext cx="11705113" cy="4806440"/>
          </a:xfrm>
          <a:prstGeom prst="rect">
            <a:avLst/>
          </a:prstGeom>
        </p:spPr>
        <p:txBody>
          <a:bodyPr vert="horz" lIns="72000" tIns="45720" rIns="360000" bIns="45720" rtlCol="0" anchor="t">
            <a:noAutofit/>
          </a:bodyPr>
          <a:lstStyle>
            <a:lvl1pPr marL="228600" indent="-228600" algn="l" defTabSz="914400" rtl="0" eaLnBrk="1" latinLnBrk="0" hangingPunct="1">
              <a:lnSpc>
                <a:spcPct val="100000"/>
              </a:lnSpc>
              <a:spcBef>
                <a:spcPts val="9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100000"/>
              </a:lnSpc>
              <a:spcBef>
                <a:spcPts val="900"/>
              </a:spcBef>
              <a:buFont typeface="Arial" panose="020B0604020202020204" pitchFamily="34" charset="0"/>
              <a:buChar char="•"/>
              <a:defRPr sz="2000" b="0" i="0" kern="1200">
                <a:solidFill>
                  <a:schemeClr val="tx1"/>
                </a:solidFill>
                <a:latin typeface="+mn-lt"/>
                <a:ea typeface="+mn-ea"/>
                <a:cs typeface="+mn-cs"/>
              </a:defRPr>
            </a:lvl2pPr>
            <a:lvl3pPr marL="1143000" indent="-228600" algn="l" defTabSz="914400" rtl="0" eaLnBrk="1" latinLnBrk="0" hangingPunct="1">
              <a:lnSpc>
                <a:spcPct val="100000"/>
              </a:lnSpc>
              <a:spcBef>
                <a:spcPts val="900"/>
              </a:spcBef>
              <a:buFont typeface="Arial" panose="020B0604020202020204" pitchFamily="34" charset="0"/>
              <a:buChar char="•"/>
              <a:defRPr sz="1800" b="0" i="0" kern="1200">
                <a:solidFill>
                  <a:schemeClr val="tx1"/>
                </a:solidFill>
                <a:latin typeface="+mn-lt"/>
                <a:ea typeface="+mn-ea"/>
                <a:cs typeface="+mn-cs"/>
              </a:defRPr>
            </a:lvl3pPr>
            <a:lvl4pPr marL="1600200" indent="-228600" algn="l" defTabSz="914400" rtl="0" eaLnBrk="1" latinLnBrk="0" hangingPunct="1">
              <a:lnSpc>
                <a:spcPct val="100000"/>
              </a:lnSpc>
              <a:spcBef>
                <a:spcPts val="900"/>
              </a:spcBef>
              <a:buFont typeface="Arial" panose="020B0604020202020204" pitchFamily="34" charset="0"/>
              <a:buChar char="•"/>
              <a:defRPr sz="1600" b="0" i="0" kern="1200">
                <a:solidFill>
                  <a:schemeClr val="tx1"/>
                </a:solidFill>
                <a:latin typeface="+mn-lt"/>
                <a:ea typeface="+mn-ea"/>
                <a:cs typeface="+mn-cs"/>
              </a:defRPr>
            </a:lvl4pPr>
            <a:lvl5pPr marL="2057400" indent="-228600" algn="l" defTabSz="914400" rtl="0" eaLnBrk="1" latinLnBrk="0" hangingPunct="1">
              <a:lnSpc>
                <a:spcPct val="100000"/>
              </a:lnSpc>
              <a:spcBef>
                <a:spcPts val="9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600"/>
              </a:spcAft>
              <a:buFont typeface="Wingdings" panose="05000000000000000000" pitchFamily="2" charset="2"/>
              <a:buChar char="§"/>
              <a:defRPr/>
            </a:pPr>
            <a:r>
              <a:rPr kumimoji="0" lang="en-US" sz="2400" b="1"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Excellent</a:t>
            </a: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Have an app that works correctly with a nice and personalized interface.</a:t>
            </a:r>
          </a:p>
          <a:p>
            <a:pPr>
              <a:spcBef>
                <a:spcPts val="0"/>
              </a:spcBef>
              <a:spcAft>
                <a:spcPts val="600"/>
              </a:spcAft>
              <a:buFont typeface="Wingdings" panose="05000000000000000000" pitchFamily="2" charset="2"/>
              <a:buChar char="§"/>
              <a:defRPr/>
            </a:pPr>
            <a:endPar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endParaRPr>
          </a:p>
          <a:p>
            <a:pPr>
              <a:spcBef>
                <a:spcPts val="0"/>
              </a:spcBef>
              <a:spcAft>
                <a:spcPts val="600"/>
              </a:spcAft>
              <a:buFont typeface="Wingdings" panose="05000000000000000000" pitchFamily="2" charset="2"/>
              <a:buChar char="§"/>
              <a:defRPr/>
            </a:pPr>
            <a:r>
              <a:rPr kumimoji="0" lang="en-US" sz="2400" b="1"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Good</a:t>
            </a: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Have an app that launches, makes predictions, and shows results on the interface.</a:t>
            </a:r>
          </a:p>
          <a:p>
            <a:pPr>
              <a:spcBef>
                <a:spcPts val="0"/>
              </a:spcBef>
              <a:spcAft>
                <a:spcPts val="600"/>
              </a:spcAft>
              <a:buFont typeface="Wingdings" panose="05000000000000000000" pitchFamily="2" charset="2"/>
              <a:buChar char="§"/>
              <a:defRPr/>
            </a:pPr>
            <a:endPar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endParaRPr>
          </a:p>
          <a:p>
            <a:pPr>
              <a:spcBef>
                <a:spcPts val="0"/>
              </a:spcBef>
              <a:spcAft>
                <a:spcPts val="600"/>
              </a:spcAft>
              <a:buFont typeface="Wingdings" panose="05000000000000000000" pitchFamily="2" charset="2"/>
              <a:buChar char="§"/>
              <a:defRPr/>
            </a:pPr>
            <a:r>
              <a:rPr kumimoji="0" lang="en-US" sz="2400" b="1"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Fair</a:t>
            </a: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Have an app that launches but has bugs in the backend regarding the interface or predictions.</a:t>
            </a:r>
          </a:p>
          <a:p>
            <a:pPr>
              <a:spcBef>
                <a:spcPts val="0"/>
              </a:spcBef>
              <a:spcAft>
                <a:spcPts val="600"/>
              </a:spcAft>
              <a:buFont typeface="Wingdings" panose="05000000000000000000" pitchFamily="2" charset="2"/>
              <a:buChar char="§"/>
              <a:defRPr/>
            </a:pPr>
            <a:endPar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endParaRPr>
          </a:p>
          <a:p>
            <a:pPr marL="0" indent="0">
              <a:spcBef>
                <a:spcPts val="0"/>
              </a:spcBef>
              <a:spcAft>
                <a:spcPts val="600"/>
              </a:spcAft>
              <a:buNone/>
              <a:defRPr/>
            </a:pP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a:t>
            </a:r>
            <a:endParaRPr kumimoji="0" lang="en-US" sz="240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600"/>
              </a:spcAft>
              <a:buClrTx/>
              <a:buSzTx/>
              <a:buNone/>
              <a:tabLst/>
              <a:defRPr/>
            </a:pPr>
            <a:endParaRPr kumimoji="0" lang="en-US" sz="240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6852340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nl-NL"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8</a:t>
            </a:fld>
            <a:endParaRPr kumimoji="0" lang="nl-NL"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243440" y="336182"/>
            <a:ext cx="11705119" cy="661345"/>
          </a:xfrm>
        </p:spPr>
        <p:txBody>
          <a:bodyPr vert="horz" tIns="0" bIns="0" anchor="t"/>
          <a:lstStyle/>
          <a:p>
            <a:pPr algn="ctr"/>
            <a:r>
              <a:rPr lang="en-US" dirty="0">
                <a:solidFill>
                  <a:srgbClr val="145275"/>
                </a:solidFill>
                <a:latin typeface="+mn-lt"/>
                <a:cs typeface="Poppins" panose="00000500000000000000" pitchFamily="2" charset="0"/>
              </a:rPr>
              <a:t>Why is this Sprint Valuable?</a:t>
            </a:r>
          </a:p>
        </p:txBody>
      </p:sp>
      <p:pic>
        <p:nvPicPr>
          <p:cNvPr id="17" name="Picture 16">
            <a:extLst>
              <a:ext uri="{FF2B5EF4-FFF2-40B4-BE49-F238E27FC236}">
                <a16:creationId xmlns:a16="http://schemas.microsoft.com/office/drawing/2014/main" id="{3EE3682B-36DD-8122-AD41-A50E944C57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18" name="Picture 17">
            <a:extLst>
              <a:ext uri="{FF2B5EF4-FFF2-40B4-BE49-F238E27FC236}">
                <a16:creationId xmlns:a16="http://schemas.microsoft.com/office/drawing/2014/main" id="{56445B68-8578-CEF1-BEC4-5F4CFBBB43EB}"/>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4" name="Content Placeholder 2">
            <a:extLst>
              <a:ext uri="{FF2B5EF4-FFF2-40B4-BE49-F238E27FC236}">
                <a16:creationId xmlns:a16="http://schemas.microsoft.com/office/drawing/2014/main" id="{4F6C6FDA-A230-2EDD-8BC8-9249877DE41B}"/>
              </a:ext>
            </a:extLst>
          </p:cNvPr>
          <p:cNvSpPr txBox="1">
            <a:spLocks/>
          </p:cNvSpPr>
          <p:nvPr/>
        </p:nvSpPr>
        <p:spPr>
          <a:xfrm>
            <a:off x="665018" y="1346291"/>
            <a:ext cx="10567555" cy="4746679"/>
          </a:xfrm>
          <a:prstGeom prst="rect">
            <a:avLst/>
          </a:prstGeom>
        </p:spPr>
        <p:txBody>
          <a:bodyPr vert="horz" lIns="0" tIns="0" rIns="0" bIns="0" rtlCol="0" anchor="t">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457200" indent="-457200" defTabSz="914400">
              <a:spcAft>
                <a:spcPts val="1200"/>
              </a:spcAft>
              <a:buClr>
                <a:srgbClr val="145275"/>
              </a:buClr>
              <a:buFont typeface="+mj-lt"/>
              <a:buAutoNum type="arabicPeriod"/>
              <a:defRPr/>
            </a:pPr>
            <a:r>
              <a:rPr lang="en-US" sz="2400" b="0" i="0" dirty="0">
                <a:solidFill>
                  <a:srgbClr val="000000"/>
                </a:solidFill>
                <a:effectLst/>
                <a:latin typeface="Poppins" panose="00000500000000000000" pitchFamily="2" charset="0"/>
                <a:cs typeface="Poppins" panose="00000500000000000000" pitchFamily="2" charset="0"/>
              </a:rPr>
              <a:t>Learn to embed your Machine </a:t>
            </a:r>
            <a:r>
              <a:rPr lang="en-US" sz="2400" dirty="0">
                <a:latin typeface="Poppins" panose="00000500000000000000" pitchFamily="2" charset="0"/>
                <a:cs typeface="Poppins" panose="00000500000000000000" pitchFamily="2" charset="0"/>
              </a:rPr>
              <a:t>Learning Models </a:t>
            </a:r>
            <a:r>
              <a:rPr lang="en-US" sz="2400" b="0" i="0" dirty="0">
                <a:solidFill>
                  <a:srgbClr val="000000"/>
                </a:solidFill>
                <a:effectLst/>
                <a:latin typeface="Poppins" panose="00000500000000000000" pitchFamily="2" charset="0"/>
                <a:cs typeface="Poppins" panose="00000500000000000000" pitchFamily="2" charset="0"/>
              </a:rPr>
              <a:t>using powerful Python GUI frameworks like </a:t>
            </a:r>
            <a:r>
              <a:rPr lang="en-US" sz="2400" dirty="0">
                <a:latin typeface="Poppins" panose="00000500000000000000" pitchFamily="2" charset="0"/>
                <a:cs typeface="Poppins" panose="00000500000000000000" pitchFamily="2" charset="0"/>
              </a:rPr>
              <a:t>S</a:t>
            </a:r>
            <a:r>
              <a:rPr lang="en-US" sz="2400" b="0" i="0" dirty="0">
                <a:solidFill>
                  <a:srgbClr val="000000"/>
                </a:solidFill>
                <a:effectLst/>
                <a:latin typeface="Poppins" panose="00000500000000000000" pitchFamily="2" charset="0"/>
                <a:cs typeface="Poppins" panose="00000500000000000000" pitchFamily="2" charset="0"/>
              </a:rPr>
              <a:t>treamlit</a:t>
            </a:r>
          </a:p>
          <a:p>
            <a:pPr marL="457200" indent="-457200" defTabSz="914400">
              <a:spcAft>
                <a:spcPts val="1200"/>
              </a:spcAft>
              <a:buClr>
                <a:srgbClr val="145275"/>
              </a:buClr>
              <a:buFont typeface="+mj-lt"/>
              <a:buAutoNum type="arabicPeriod"/>
              <a:defRPr/>
            </a:pPr>
            <a:endParaRPr lang="en-US" sz="2400" b="0" i="0" dirty="0">
              <a:solidFill>
                <a:srgbClr val="000000"/>
              </a:solidFill>
              <a:effectLst/>
              <a:latin typeface="Poppins" panose="00000500000000000000" pitchFamily="2" charset="0"/>
              <a:cs typeface="Poppins" panose="00000500000000000000" pitchFamily="2" charset="0"/>
            </a:endParaRPr>
          </a:p>
          <a:p>
            <a:pPr marL="457200" indent="-457200" defTabSz="914400">
              <a:spcAft>
                <a:spcPts val="1200"/>
              </a:spcAft>
              <a:buClr>
                <a:srgbClr val="145275"/>
              </a:buClr>
              <a:buFont typeface="+mj-lt"/>
              <a:buAutoNum type="arabicPeriod"/>
              <a:defRPr/>
            </a:pPr>
            <a:r>
              <a:rPr lang="en-US" sz="2400" b="0" i="0" dirty="0">
                <a:solidFill>
                  <a:srgbClr val="000000"/>
                </a:solidFill>
                <a:effectLst/>
                <a:latin typeface="Poppins" panose="00000500000000000000" pitchFamily="2" charset="0"/>
                <a:cs typeface="Poppins" panose="00000500000000000000" pitchFamily="2" charset="0"/>
              </a:rPr>
              <a:t>Learn to work in virtual environments in Python.</a:t>
            </a:r>
          </a:p>
          <a:p>
            <a:pPr marL="457200" indent="-457200" defTabSz="914400">
              <a:spcAft>
                <a:spcPts val="1200"/>
              </a:spcAft>
              <a:buClr>
                <a:srgbClr val="145275"/>
              </a:buClr>
              <a:buFont typeface="+mj-lt"/>
              <a:buAutoNum type="arabicPeriod"/>
              <a:defRPr/>
            </a:pPr>
            <a:endParaRPr lang="en-US" sz="2400" dirty="0">
              <a:latin typeface="Poppins" panose="00000500000000000000" pitchFamily="2" charset="0"/>
              <a:cs typeface="Poppins" panose="00000500000000000000" pitchFamily="2" charset="0"/>
            </a:endParaRPr>
          </a:p>
          <a:p>
            <a:pPr marL="457200" indent="-457200" defTabSz="914400">
              <a:spcAft>
                <a:spcPts val="1200"/>
              </a:spcAft>
              <a:buClr>
                <a:srgbClr val="145275"/>
              </a:buClr>
              <a:buFont typeface="+mj-lt"/>
              <a:buAutoNum type="arabicPeriod"/>
              <a:defRPr/>
            </a:pPr>
            <a:r>
              <a:rPr lang="en-US" sz="2400" dirty="0">
                <a:latin typeface="Poppins" panose="00000500000000000000" pitchFamily="2" charset="0"/>
                <a:cs typeface="Poppins" panose="00000500000000000000" pitchFamily="2" charset="0"/>
              </a:rPr>
              <a:t>Document your process for solving a problem in a comprehensive approach.</a:t>
            </a:r>
          </a:p>
          <a:p>
            <a:pPr marL="457200" indent="-457200" defTabSz="914400">
              <a:spcAft>
                <a:spcPts val="1200"/>
              </a:spcAft>
              <a:buClr>
                <a:srgbClr val="145275"/>
              </a:buClr>
              <a:buFont typeface="+mj-lt"/>
              <a:buAutoNum type="arabicPeriod"/>
              <a:defRPr/>
            </a:pPr>
            <a:endParaRPr lang="en-US" sz="2400" dirty="0">
              <a:latin typeface="Poppins" panose="00000500000000000000" pitchFamily="2" charset="0"/>
              <a:cs typeface="Poppins" panose="00000500000000000000" pitchFamily="2" charset="0"/>
            </a:endParaRPr>
          </a:p>
          <a:p>
            <a:pPr marL="457200" indent="-457200" defTabSz="914400">
              <a:spcAft>
                <a:spcPts val="1200"/>
              </a:spcAft>
              <a:buClr>
                <a:srgbClr val="145275"/>
              </a:buClr>
              <a:buFont typeface="+mj-lt"/>
              <a:buAutoNum type="arabicPeriod"/>
              <a:defRPr/>
            </a:pPr>
            <a:r>
              <a:rPr lang="en-US" sz="2400" b="0" i="0" dirty="0">
                <a:solidFill>
                  <a:srgbClr val="000000"/>
                </a:solidFill>
                <a:effectLst/>
                <a:latin typeface="Poppins" panose="00000500000000000000" pitchFamily="2" charset="0"/>
                <a:cs typeface="Poppins" panose="00000500000000000000" pitchFamily="2" charset="0"/>
              </a:rPr>
              <a:t>Learn to use git for collaborations.</a:t>
            </a:r>
          </a:p>
        </p:txBody>
      </p:sp>
    </p:spTree>
    <p:extLst>
      <p:ext uri="{BB962C8B-B14F-4D97-AF65-F5344CB8AC3E}">
        <p14:creationId xmlns:p14="http://schemas.microsoft.com/office/powerpoint/2010/main" val="12333112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nl-NL"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9</a:t>
            </a:fld>
            <a:endParaRPr kumimoji="0" lang="nl-NL"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381920" y="128831"/>
            <a:ext cx="11705119" cy="610880"/>
          </a:xfrm>
        </p:spPr>
        <p:txBody>
          <a:bodyPr vert="horz" tIns="0" bIns="0" anchor="t"/>
          <a:lstStyle/>
          <a:p>
            <a:pPr algn="ctr"/>
            <a:r>
              <a:rPr lang="en-US" sz="4400" dirty="0">
                <a:solidFill>
                  <a:srgbClr val="145275"/>
                </a:solidFill>
                <a:latin typeface="+mn-lt"/>
                <a:cs typeface="Poppins" panose="00000500000000000000" pitchFamily="2" charset="0"/>
              </a:rPr>
              <a:t>Sprint Backlog</a:t>
            </a:r>
          </a:p>
        </p:txBody>
      </p:sp>
      <p:pic>
        <p:nvPicPr>
          <p:cNvPr id="17" name="Picture 16">
            <a:extLst>
              <a:ext uri="{FF2B5EF4-FFF2-40B4-BE49-F238E27FC236}">
                <a16:creationId xmlns:a16="http://schemas.microsoft.com/office/drawing/2014/main" id="{3EE3682B-36DD-8122-AD41-A50E944C57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18" name="Picture 17">
            <a:extLst>
              <a:ext uri="{FF2B5EF4-FFF2-40B4-BE49-F238E27FC236}">
                <a16:creationId xmlns:a16="http://schemas.microsoft.com/office/drawing/2014/main" id="{56445B68-8578-CEF1-BEC4-5F4CFBBB43EB}"/>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4" name="Content Placeholder 2">
            <a:extLst>
              <a:ext uri="{FF2B5EF4-FFF2-40B4-BE49-F238E27FC236}">
                <a16:creationId xmlns:a16="http://schemas.microsoft.com/office/drawing/2014/main" id="{4F6C6FDA-A230-2EDD-8BC8-9249877DE41B}"/>
              </a:ext>
            </a:extLst>
          </p:cNvPr>
          <p:cNvSpPr txBox="1">
            <a:spLocks/>
          </p:cNvSpPr>
          <p:nvPr/>
        </p:nvSpPr>
        <p:spPr>
          <a:xfrm>
            <a:off x="1063796" y="968245"/>
            <a:ext cx="10609251" cy="5358750"/>
          </a:xfrm>
          <a:prstGeom prst="rect">
            <a:avLst/>
          </a:prstGeom>
        </p:spPr>
        <p:txBody>
          <a:bodyPr vert="horz" lIns="0" tIns="0" rIns="0" bIns="0" rtlCol="0" anchor="t">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457200" lvl="0" indent="-457200">
              <a:lnSpc>
                <a:spcPct val="150000"/>
              </a:lnSpc>
              <a:buFont typeface="+mj-lt"/>
              <a:buAutoNum type="arabicPeriod"/>
            </a:pPr>
            <a:r>
              <a:rPr lang="en-US" sz="2200" dirty="0">
                <a:solidFill>
                  <a:schemeClr val="accent1">
                    <a:lumMod val="75000"/>
                  </a:schemeClr>
                </a:solidFill>
                <a:effectLst/>
                <a:latin typeface="Open Sans" panose="020B0606030504020204" pitchFamily="34" charset="0"/>
                <a:ea typeface="Times New Roman" panose="02020603050405020304" pitchFamily="18" charset="0"/>
              </a:rPr>
              <a:t>Research on Streamlit</a:t>
            </a:r>
            <a:endParaRPr lang="en-GH" sz="2200" dirty="0">
              <a:solidFill>
                <a:schemeClr val="accent1">
                  <a:lumMod val="75000"/>
                </a:schemeClr>
              </a:solidFill>
              <a:effectLst/>
              <a:latin typeface="Times New Roman" panose="02020603050405020304" pitchFamily="18" charset="0"/>
              <a:ea typeface="Times New Roman" panose="02020603050405020304" pitchFamily="18" charset="0"/>
            </a:endParaRPr>
          </a:p>
          <a:p>
            <a:pPr marL="457200" lvl="0" indent="-457200">
              <a:lnSpc>
                <a:spcPct val="150000"/>
              </a:lnSpc>
              <a:buFont typeface="+mj-lt"/>
              <a:buAutoNum type="arabicPeriod"/>
            </a:pPr>
            <a:r>
              <a:rPr lang="en-GH" sz="2200" dirty="0">
                <a:solidFill>
                  <a:schemeClr val="accent1">
                    <a:lumMod val="75000"/>
                  </a:schemeClr>
                </a:solidFill>
                <a:effectLst/>
                <a:latin typeface="Open Sans" panose="020B0606030504020204" pitchFamily="34" charset="0"/>
                <a:ea typeface="Times New Roman" panose="02020603050405020304" pitchFamily="18" charset="0"/>
              </a:rPr>
              <a:t>Set up project environment (Repository with ReadMe and License)</a:t>
            </a:r>
            <a:endParaRPr lang="en-US" sz="2200" dirty="0">
              <a:solidFill>
                <a:schemeClr val="accent1">
                  <a:lumMod val="75000"/>
                </a:schemeClr>
              </a:solidFill>
              <a:effectLst/>
              <a:latin typeface="Times New Roman" panose="02020603050405020304" pitchFamily="18" charset="0"/>
              <a:ea typeface="Times New Roman" panose="02020603050405020304" pitchFamily="18" charset="0"/>
            </a:endParaRPr>
          </a:p>
          <a:p>
            <a:pPr marL="457200" lvl="0" indent="-457200">
              <a:lnSpc>
                <a:spcPct val="150000"/>
              </a:lnSpc>
              <a:buFont typeface="+mj-lt"/>
              <a:buAutoNum type="arabicPeriod"/>
            </a:pPr>
            <a:r>
              <a:rPr lang="en-US" sz="2200" dirty="0">
                <a:solidFill>
                  <a:schemeClr val="accent1">
                    <a:lumMod val="75000"/>
                  </a:schemeClr>
                </a:solidFill>
                <a:effectLst/>
                <a:latin typeface="Open Sans" panose="020B0606030504020204" pitchFamily="34" charset="0"/>
                <a:ea typeface="Times New Roman" panose="02020603050405020304" pitchFamily="18" charset="0"/>
              </a:rPr>
              <a:t>Create a virtual environment for your app.</a:t>
            </a:r>
            <a:endParaRPr lang="en-GH" sz="2200" dirty="0">
              <a:solidFill>
                <a:schemeClr val="accent1">
                  <a:lumMod val="75000"/>
                </a:schemeClr>
              </a:solidFill>
              <a:effectLst/>
              <a:latin typeface="Times New Roman" panose="02020603050405020304" pitchFamily="18" charset="0"/>
              <a:ea typeface="Times New Roman" panose="02020603050405020304" pitchFamily="18" charset="0"/>
            </a:endParaRPr>
          </a:p>
          <a:p>
            <a:pPr marL="457200" lvl="0" indent="-457200">
              <a:lnSpc>
                <a:spcPct val="150000"/>
              </a:lnSpc>
              <a:spcBef>
                <a:spcPts val="1200"/>
              </a:spcBef>
              <a:spcAft>
                <a:spcPts val="600"/>
              </a:spcAft>
              <a:buFont typeface="+mj-lt"/>
              <a:buAutoNum type="arabicPeriod"/>
            </a:pPr>
            <a:r>
              <a:rPr lang="en-US" sz="2200" dirty="0">
                <a:solidFill>
                  <a:schemeClr val="accent1">
                    <a:lumMod val="75000"/>
                  </a:schemeClr>
                </a:solidFill>
                <a:effectLst/>
                <a:latin typeface="Open Sans" panose="020B0606030504020204" pitchFamily="34" charset="0"/>
                <a:ea typeface="Times New Roman" panose="02020603050405020304" pitchFamily="18" charset="0"/>
              </a:rPr>
              <a:t>Install </a:t>
            </a:r>
            <a:r>
              <a:rPr lang="en-US" sz="2200" b="1" i="1" dirty="0">
                <a:solidFill>
                  <a:schemeClr val="accent1">
                    <a:lumMod val="75000"/>
                  </a:schemeClr>
                </a:solidFill>
                <a:effectLst/>
                <a:latin typeface="Open Sans" panose="020B0606030504020204" pitchFamily="34" charset="0"/>
                <a:ea typeface="Times New Roman" panose="02020603050405020304" pitchFamily="18" charset="0"/>
              </a:rPr>
              <a:t>Streamlit</a:t>
            </a:r>
            <a:r>
              <a:rPr lang="en-US" sz="2200" dirty="0">
                <a:solidFill>
                  <a:schemeClr val="accent1">
                    <a:lumMod val="75000"/>
                  </a:schemeClr>
                </a:solidFill>
                <a:effectLst/>
                <a:latin typeface="Open Sans" panose="020B0606030504020204" pitchFamily="34" charset="0"/>
                <a:ea typeface="Times New Roman" panose="02020603050405020304" pitchFamily="18" charset="0"/>
              </a:rPr>
              <a:t>, </a:t>
            </a:r>
            <a:r>
              <a:rPr lang="en-US" sz="2200" b="1" i="1" dirty="0" err="1">
                <a:solidFill>
                  <a:schemeClr val="accent1">
                    <a:lumMod val="75000"/>
                  </a:schemeClr>
                </a:solidFill>
                <a:effectLst/>
                <a:latin typeface="Open Sans" panose="020B0606030504020204" pitchFamily="34" charset="0"/>
                <a:ea typeface="Times New Roman" panose="02020603050405020304" pitchFamily="18" charset="0"/>
              </a:rPr>
              <a:t>Joblib</a:t>
            </a:r>
            <a:r>
              <a:rPr lang="en-US" sz="2200" dirty="0">
                <a:solidFill>
                  <a:schemeClr val="accent1">
                    <a:lumMod val="75000"/>
                  </a:schemeClr>
                </a:solidFill>
                <a:effectLst/>
                <a:latin typeface="Open Sans" panose="020B0606030504020204" pitchFamily="34" charset="0"/>
                <a:ea typeface="Times New Roman" panose="02020603050405020304" pitchFamily="18" charset="0"/>
              </a:rPr>
              <a:t> (Any serializing package you use(d), </a:t>
            </a:r>
            <a:r>
              <a:rPr lang="en-US" sz="2200" b="1" i="1" dirty="0">
                <a:solidFill>
                  <a:schemeClr val="accent1">
                    <a:lumMod val="75000"/>
                  </a:schemeClr>
                </a:solidFill>
                <a:effectLst/>
                <a:latin typeface="Open Sans" panose="020B0606030504020204" pitchFamily="34" charset="0"/>
                <a:ea typeface="Times New Roman" panose="02020603050405020304" pitchFamily="18" charset="0"/>
              </a:rPr>
              <a:t>Scikit-Learn</a:t>
            </a:r>
            <a:r>
              <a:rPr lang="en-US" sz="2200" dirty="0">
                <a:solidFill>
                  <a:schemeClr val="accent1">
                    <a:lumMod val="75000"/>
                  </a:schemeClr>
                </a:solidFill>
                <a:effectLst/>
                <a:latin typeface="Open Sans" panose="020B0606030504020204" pitchFamily="34" charset="0"/>
                <a:ea typeface="Times New Roman" panose="02020603050405020304" pitchFamily="18" charset="0"/>
              </a:rPr>
              <a:t>, </a:t>
            </a:r>
            <a:r>
              <a:rPr lang="en-US" sz="2200" b="1" i="1" dirty="0">
                <a:solidFill>
                  <a:schemeClr val="accent1">
                    <a:lumMod val="75000"/>
                  </a:schemeClr>
                </a:solidFill>
                <a:effectLst/>
                <a:latin typeface="Open Sans" panose="020B0606030504020204" pitchFamily="34" charset="0"/>
                <a:ea typeface="Times New Roman" panose="02020603050405020304" pitchFamily="18" charset="0"/>
              </a:rPr>
              <a:t>imbalanced-learn</a:t>
            </a:r>
            <a:r>
              <a:rPr lang="en-US" sz="2200" dirty="0">
                <a:solidFill>
                  <a:schemeClr val="accent1">
                    <a:lumMod val="75000"/>
                  </a:schemeClr>
                </a:solidFill>
                <a:effectLst/>
                <a:latin typeface="Open Sans" panose="020B0606030504020204" pitchFamily="34" charset="0"/>
                <a:ea typeface="Times New Roman" panose="02020603050405020304" pitchFamily="18" charset="0"/>
              </a:rPr>
              <a:t>. Make sure that you use the same versions you used in creating and serializing your models in your notebook.</a:t>
            </a:r>
            <a:endParaRPr lang="en-GH" sz="2200" dirty="0">
              <a:solidFill>
                <a:schemeClr val="accent1">
                  <a:lumMod val="75000"/>
                </a:schemeClr>
              </a:solidFill>
              <a:effectLst/>
              <a:latin typeface="Times New Roman" panose="02020603050405020304" pitchFamily="18" charset="0"/>
              <a:ea typeface="Times New Roman" panose="02020603050405020304" pitchFamily="18" charset="0"/>
            </a:endParaRPr>
          </a:p>
          <a:p>
            <a:pPr marL="457200" lvl="0" indent="-457200">
              <a:lnSpc>
                <a:spcPct val="150000"/>
              </a:lnSpc>
              <a:spcBef>
                <a:spcPts val="1200"/>
              </a:spcBef>
              <a:spcAft>
                <a:spcPts val="600"/>
              </a:spcAft>
              <a:buFont typeface="+mj-lt"/>
              <a:buAutoNum type="arabicPeriod"/>
            </a:pPr>
            <a:r>
              <a:rPr lang="en-US" sz="2200" dirty="0">
                <a:solidFill>
                  <a:schemeClr val="accent1">
                    <a:lumMod val="75000"/>
                  </a:schemeClr>
                </a:solidFill>
                <a:effectLst/>
                <a:latin typeface="Open Sans" panose="020B0606030504020204" pitchFamily="34" charset="0"/>
                <a:ea typeface="Times New Roman" panose="02020603050405020304" pitchFamily="18" charset="0"/>
              </a:rPr>
              <a:t>Create a folder called </a:t>
            </a:r>
            <a:r>
              <a:rPr lang="en-US" sz="2200" b="1" i="1" dirty="0">
                <a:solidFill>
                  <a:schemeClr val="accent1">
                    <a:lumMod val="75000"/>
                  </a:schemeClr>
                </a:solidFill>
                <a:effectLst/>
                <a:latin typeface="Open Sans" panose="020B0606030504020204" pitchFamily="34" charset="0"/>
                <a:ea typeface="Times New Roman" panose="02020603050405020304" pitchFamily="18" charset="0"/>
              </a:rPr>
              <a:t>models</a:t>
            </a:r>
            <a:r>
              <a:rPr lang="en-US" sz="2200" dirty="0">
                <a:solidFill>
                  <a:schemeClr val="accent1">
                    <a:lumMod val="75000"/>
                  </a:schemeClr>
                </a:solidFill>
                <a:effectLst/>
                <a:latin typeface="Open Sans" panose="020B0606030504020204" pitchFamily="34" charset="0"/>
                <a:ea typeface="Times New Roman" panose="02020603050405020304" pitchFamily="18" charset="0"/>
              </a:rPr>
              <a:t> and put in your model(s) and encoder from your LP2 project. -</a:t>
            </a:r>
            <a:r>
              <a:rPr lang="en-US" sz="2200" b="1" i="1" dirty="0">
                <a:solidFill>
                  <a:schemeClr val="accent1">
                    <a:lumMod val="75000"/>
                  </a:schemeClr>
                </a:solidFill>
                <a:effectLst/>
                <a:latin typeface="Open Sans" panose="020B0606030504020204" pitchFamily="34" charset="0"/>
                <a:ea typeface="Times New Roman" panose="02020603050405020304" pitchFamily="18" charset="0"/>
              </a:rPr>
              <a:t>If the model has been pushed to a remote server, you can simply create a connection</a:t>
            </a:r>
          </a:p>
        </p:txBody>
      </p:sp>
      <p:grpSp>
        <p:nvGrpSpPr>
          <p:cNvPr id="402" name="Group 401">
            <a:extLst>
              <a:ext uri="{FF2B5EF4-FFF2-40B4-BE49-F238E27FC236}">
                <a16:creationId xmlns:a16="http://schemas.microsoft.com/office/drawing/2014/main" id="{6F04B63D-62D0-5A0C-81C6-1E47E423DB94}"/>
              </a:ext>
            </a:extLst>
          </p:cNvPr>
          <p:cNvGrpSpPr/>
          <p:nvPr/>
        </p:nvGrpSpPr>
        <p:grpSpPr>
          <a:xfrm>
            <a:off x="10133029" y="3282450"/>
            <a:ext cx="1931723" cy="2721556"/>
            <a:chOff x="4953134" y="1836052"/>
            <a:chExt cx="2443737" cy="3226463"/>
          </a:xfrm>
        </p:grpSpPr>
        <p:sp>
          <p:nvSpPr>
            <p:cNvPr id="403" name="Freeform: Shape 402">
              <a:extLst>
                <a:ext uri="{FF2B5EF4-FFF2-40B4-BE49-F238E27FC236}">
                  <a16:creationId xmlns:a16="http://schemas.microsoft.com/office/drawing/2014/main" id="{79B02943-6DB6-A9C8-B7C2-ADD56C1A2461}"/>
                </a:ext>
              </a:extLst>
            </p:cNvPr>
            <p:cNvSpPr/>
            <p:nvPr/>
          </p:nvSpPr>
          <p:spPr>
            <a:xfrm flipV="1">
              <a:off x="5055882" y="4176439"/>
              <a:ext cx="2332102" cy="886076"/>
            </a:xfrm>
            <a:custGeom>
              <a:avLst/>
              <a:gdLst>
                <a:gd name="connsiteX0" fmla="*/ 1712457 w 2332102"/>
                <a:gd name="connsiteY0" fmla="*/ 886044 h 886076"/>
                <a:gd name="connsiteX1" fmla="*/ 2152586 w 2332102"/>
                <a:gd name="connsiteY1" fmla="*/ 872320 h 886076"/>
                <a:gd name="connsiteX2" fmla="*/ 2221154 w 2332102"/>
                <a:gd name="connsiteY2" fmla="*/ 789096 h 886076"/>
                <a:gd name="connsiteX3" fmla="*/ 2168943 w 2332102"/>
                <a:gd name="connsiteY3" fmla="*/ 456940 h 886076"/>
                <a:gd name="connsiteX4" fmla="*/ 2139469 w 2332102"/>
                <a:gd name="connsiteY4" fmla="*/ 269450 h 886076"/>
                <a:gd name="connsiteX5" fmla="*/ 2180692 w 2332102"/>
                <a:gd name="connsiteY5" fmla="*/ 192622 h 886076"/>
                <a:gd name="connsiteX6" fmla="*/ 2289976 w 2332102"/>
                <a:gd name="connsiteY6" fmla="*/ 143100 h 886076"/>
                <a:gd name="connsiteX7" fmla="*/ 2331704 w 2332102"/>
                <a:gd name="connsiteY7" fmla="*/ 70182 h 886076"/>
                <a:gd name="connsiteX8" fmla="*/ 2324248 w 2332102"/>
                <a:gd name="connsiteY8" fmla="*/ 0 h 886076"/>
                <a:gd name="connsiteX9" fmla="*/ 0 w 2332102"/>
                <a:gd name="connsiteY9" fmla="*/ 0 h 886076"/>
                <a:gd name="connsiteX10" fmla="*/ 73708 w 2332102"/>
                <a:gd name="connsiteY10" fmla="*/ 102957 h 886076"/>
                <a:gd name="connsiteX11" fmla="*/ 128062 w 2332102"/>
                <a:gd name="connsiteY11" fmla="*/ 127913 h 886076"/>
                <a:gd name="connsiteX12" fmla="*/ 182815 w 2332102"/>
                <a:gd name="connsiteY12" fmla="*/ 191498 h 886076"/>
                <a:gd name="connsiteX13" fmla="*/ 237169 w 2332102"/>
                <a:gd name="connsiteY13" fmla="*/ 216454 h 886076"/>
                <a:gd name="connsiteX14" fmla="*/ 523722 w 2332102"/>
                <a:gd name="connsiteY14" fmla="*/ 226284 h 886076"/>
                <a:gd name="connsiteX15" fmla="*/ 586725 w 2332102"/>
                <a:gd name="connsiteY15" fmla="*/ 263698 h 886076"/>
                <a:gd name="connsiteX16" fmla="*/ 658272 w 2332102"/>
                <a:gd name="connsiteY16" fmla="*/ 399715 h 886076"/>
                <a:gd name="connsiteX17" fmla="*/ 721279 w 2332102"/>
                <a:gd name="connsiteY17" fmla="*/ 437174 h 886076"/>
                <a:gd name="connsiteX18" fmla="*/ 914729 w 2332102"/>
                <a:gd name="connsiteY18" fmla="*/ 437174 h 886076"/>
                <a:gd name="connsiteX19" fmla="*/ 980219 w 2332102"/>
                <a:gd name="connsiteY19" fmla="*/ 479668 h 886076"/>
                <a:gd name="connsiteX20" fmla="*/ 1333903 w 2332102"/>
                <a:gd name="connsiteY20" fmla="*/ 795588 h 886076"/>
                <a:gd name="connsiteX21" fmla="*/ 1395199 w 2332102"/>
                <a:gd name="connsiteY21" fmla="*/ 837985 h 886076"/>
                <a:gd name="connsiteX22" fmla="*/ 1620492 w 2332102"/>
                <a:gd name="connsiteY22" fmla="*/ 851173 h 886076"/>
                <a:gd name="connsiteX23" fmla="*/ 1663274 w 2332102"/>
                <a:gd name="connsiteY23" fmla="*/ 868558 h 886076"/>
                <a:gd name="connsiteX24" fmla="*/ 1712457 w 2332102"/>
                <a:gd name="connsiteY24" fmla="*/ 886044 h 886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32102" h="886076">
                  <a:moveTo>
                    <a:pt x="1712457" y="886044"/>
                  </a:moveTo>
                  <a:lnTo>
                    <a:pt x="2152586" y="872320"/>
                  </a:lnTo>
                  <a:cubicBezTo>
                    <a:pt x="2195884" y="870953"/>
                    <a:pt x="2228092" y="831833"/>
                    <a:pt x="2221154" y="789096"/>
                  </a:cubicBezTo>
                  <a:lnTo>
                    <a:pt x="2168943" y="456940"/>
                  </a:lnTo>
                  <a:lnTo>
                    <a:pt x="2139469" y="269450"/>
                  </a:lnTo>
                  <a:cubicBezTo>
                    <a:pt x="2134304" y="237455"/>
                    <a:pt x="2151168" y="205956"/>
                    <a:pt x="2180692" y="192622"/>
                  </a:cubicBezTo>
                  <a:lnTo>
                    <a:pt x="2289976" y="143100"/>
                  </a:lnTo>
                  <a:cubicBezTo>
                    <a:pt x="2318183" y="130354"/>
                    <a:pt x="2334945" y="100951"/>
                    <a:pt x="2331704" y="70182"/>
                  </a:cubicBezTo>
                  <a:lnTo>
                    <a:pt x="2324248" y="0"/>
                  </a:lnTo>
                  <a:lnTo>
                    <a:pt x="0" y="0"/>
                  </a:lnTo>
                  <a:lnTo>
                    <a:pt x="73708" y="102957"/>
                  </a:lnTo>
                  <a:cubicBezTo>
                    <a:pt x="94603" y="102957"/>
                    <a:pt x="114439" y="112087"/>
                    <a:pt x="128062" y="127913"/>
                  </a:cubicBezTo>
                  <a:lnTo>
                    <a:pt x="182815" y="191498"/>
                  </a:lnTo>
                  <a:cubicBezTo>
                    <a:pt x="196438" y="207324"/>
                    <a:pt x="216314" y="216454"/>
                    <a:pt x="237169" y="216454"/>
                  </a:cubicBezTo>
                  <a:lnTo>
                    <a:pt x="523722" y="226284"/>
                  </a:lnTo>
                  <a:cubicBezTo>
                    <a:pt x="549995" y="226284"/>
                    <a:pt x="574126" y="240646"/>
                    <a:pt x="586725" y="263698"/>
                  </a:cubicBezTo>
                  <a:lnTo>
                    <a:pt x="658272" y="399715"/>
                  </a:lnTo>
                  <a:cubicBezTo>
                    <a:pt x="670830" y="422818"/>
                    <a:pt x="695002" y="437174"/>
                    <a:pt x="721279" y="437174"/>
                  </a:cubicBezTo>
                  <a:lnTo>
                    <a:pt x="914729" y="437174"/>
                  </a:lnTo>
                  <a:cubicBezTo>
                    <a:pt x="943007" y="437174"/>
                    <a:pt x="968698" y="453830"/>
                    <a:pt x="980219" y="479668"/>
                  </a:cubicBezTo>
                  <a:lnTo>
                    <a:pt x="1333903" y="795588"/>
                  </a:lnTo>
                  <a:cubicBezTo>
                    <a:pt x="1344796" y="820063"/>
                    <a:pt x="1368435" y="836421"/>
                    <a:pt x="1395199" y="837985"/>
                  </a:cubicBezTo>
                  <a:lnTo>
                    <a:pt x="1620492" y="851173"/>
                  </a:lnTo>
                  <a:cubicBezTo>
                    <a:pt x="1636267" y="852099"/>
                    <a:pt x="1651313" y="858206"/>
                    <a:pt x="1663274" y="868558"/>
                  </a:cubicBezTo>
                  <a:cubicBezTo>
                    <a:pt x="1676901" y="880377"/>
                    <a:pt x="1694438" y="886581"/>
                    <a:pt x="1712457" y="886044"/>
                  </a:cubicBezTo>
                  <a:close/>
                </a:path>
              </a:pathLst>
            </a:custGeom>
            <a:solidFill>
              <a:srgbClr val="FFFFFF">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4" name="Freeform: Shape 403">
              <a:extLst>
                <a:ext uri="{FF2B5EF4-FFF2-40B4-BE49-F238E27FC236}">
                  <a16:creationId xmlns:a16="http://schemas.microsoft.com/office/drawing/2014/main" id="{5C64E0CF-98FD-02A4-D9F3-C36D90BCB663}"/>
                </a:ext>
              </a:extLst>
            </p:cNvPr>
            <p:cNvSpPr/>
            <p:nvPr/>
          </p:nvSpPr>
          <p:spPr>
            <a:xfrm flipV="1">
              <a:off x="5031388" y="4140655"/>
              <a:ext cx="2264931" cy="921860"/>
            </a:xfrm>
            <a:custGeom>
              <a:avLst/>
              <a:gdLst>
                <a:gd name="connsiteX0" fmla="*/ 1738049 w 2264931"/>
                <a:gd name="connsiteY0" fmla="*/ 921811 h 921860"/>
                <a:gd name="connsiteX1" fmla="*/ 2226935 w 2264931"/>
                <a:gd name="connsiteY1" fmla="*/ 908087 h 921860"/>
                <a:gd name="connsiteX2" fmla="*/ 2264916 w 2264931"/>
                <a:gd name="connsiteY2" fmla="*/ 867944 h 921860"/>
                <a:gd name="connsiteX3" fmla="*/ 2224758 w 2264931"/>
                <a:gd name="connsiteY3" fmla="*/ 829948 h 921860"/>
                <a:gd name="connsiteX4" fmla="*/ 1735800 w 2264931"/>
                <a:gd name="connsiteY4" fmla="*/ 843671 h 921860"/>
                <a:gd name="connsiteX5" fmla="*/ 1713285 w 2264931"/>
                <a:gd name="connsiteY5" fmla="*/ 835756 h 921860"/>
                <a:gd name="connsiteX6" fmla="*/ 1647204 w 2264931"/>
                <a:gd name="connsiteY6" fmla="*/ 808896 h 921860"/>
                <a:gd name="connsiteX7" fmla="*/ 1421911 w 2264931"/>
                <a:gd name="connsiteY7" fmla="*/ 795709 h 921860"/>
                <a:gd name="connsiteX8" fmla="*/ 1394124 w 2264931"/>
                <a:gd name="connsiteY8" fmla="*/ 776663 h 921860"/>
                <a:gd name="connsiteX9" fmla="*/ 1040328 w 2264931"/>
                <a:gd name="connsiteY9" fmla="*/ 460428 h 921860"/>
                <a:gd name="connsiteX10" fmla="*/ 939136 w 2264931"/>
                <a:gd name="connsiteY10" fmla="*/ 394837 h 921860"/>
                <a:gd name="connsiteX11" fmla="*/ 745681 w 2264931"/>
                <a:gd name="connsiteY11" fmla="*/ 394837 h 921860"/>
                <a:gd name="connsiteX12" fmla="*/ 717110 w 2264931"/>
                <a:gd name="connsiteY12" fmla="*/ 377938 h 921860"/>
                <a:gd name="connsiteX13" fmla="*/ 645417 w 2264931"/>
                <a:gd name="connsiteY13" fmla="*/ 241678 h 921860"/>
                <a:gd name="connsiteX14" fmla="*/ 548125 w 2264931"/>
                <a:gd name="connsiteY14" fmla="*/ 183896 h 921860"/>
                <a:gd name="connsiteX15" fmla="*/ 261586 w 2264931"/>
                <a:gd name="connsiteY15" fmla="*/ 174082 h 921860"/>
                <a:gd name="connsiteX16" fmla="*/ 248009 w 2264931"/>
                <a:gd name="connsiteY16" fmla="*/ 171104 h 921860"/>
                <a:gd name="connsiteX17" fmla="*/ 178821 w 2264931"/>
                <a:gd name="connsiteY17" fmla="*/ 77495 h 921860"/>
                <a:gd name="connsiteX18" fmla="*/ 118999 w 2264931"/>
                <a:gd name="connsiteY18" fmla="*/ 0 h 921860"/>
                <a:gd name="connsiteX19" fmla="*/ 0 w 2264931"/>
                <a:gd name="connsiteY19" fmla="*/ 0 h 921860"/>
                <a:gd name="connsiteX20" fmla="*/ 12032 w 2264931"/>
                <a:gd name="connsiteY20" fmla="*/ 15450 h 921860"/>
                <a:gd name="connsiteX21" fmla="*/ 157123 w 2264931"/>
                <a:gd name="connsiteY21" fmla="*/ 196794 h 921860"/>
                <a:gd name="connsiteX22" fmla="*/ 172847 w 2264931"/>
                <a:gd name="connsiteY22" fmla="*/ 208128 h 921860"/>
                <a:gd name="connsiteX23" fmla="*/ 177632 w 2264931"/>
                <a:gd name="connsiteY23" fmla="*/ 213693 h 921860"/>
                <a:gd name="connsiteX24" fmla="*/ 261586 w 2264931"/>
                <a:gd name="connsiteY24" fmla="*/ 252226 h 921860"/>
                <a:gd name="connsiteX25" fmla="*/ 548125 w 2264931"/>
                <a:gd name="connsiteY25" fmla="*/ 262041 h 921860"/>
                <a:gd name="connsiteX26" fmla="*/ 576747 w 2264931"/>
                <a:gd name="connsiteY26" fmla="*/ 278940 h 921860"/>
                <a:gd name="connsiteX27" fmla="*/ 648344 w 2264931"/>
                <a:gd name="connsiteY27" fmla="*/ 415104 h 921860"/>
                <a:gd name="connsiteX28" fmla="*/ 745681 w 2264931"/>
                <a:gd name="connsiteY28" fmla="*/ 472977 h 921860"/>
                <a:gd name="connsiteX29" fmla="*/ 939136 w 2264931"/>
                <a:gd name="connsiteY29" fmla="*/ 472977 h 921860"/>
                <a:gd name="connsiteX30" fmla="*/ 968827 w 2264931"/>
                <a:gd name="connsiteY30" fmla="*/ 492028 h 921860"/>
                <a:gd name="connsiteX31" fmla="*/ 1322623 w 2264931"/>
                <a:gd name="connsiteY31" fmla="*/ 808162 h 921860"/>
                <a:gd name="connsiteX32" fmla="*/ 1417368 w 2264931"/>
                <a:gd name="connsiteY32" fmla="*/ 873707 h 921860"/>
                <a:gd name="connsiteX33" fmla="*/ 1642615 w 2264931"/>
                <a:gd name="connsiteY33" fmla="*/ 886894 h 921860"/>
                <a:gd name="connsiteX34" fmla="*/ 1662148 w 2264931"/>
                <a:gd name="connsiteY34" fmla="*/ 894804 h 921860"/>
                <a:gd name="connsiteX35" fmla="*/ 1738049 w 2264931"/>
                <a:gd name="connsiteY35" fmla="*/ 921811 h 921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64931" h="921860">
                  <a:moveTo>
                    <a:pt x="1738049" y="921811"/>
                  </a:moveTo>
                  <a:lnTo>
                    <a:pt x="2226935" y="908087"/>
                  </a:lnTo>
                  <a:cubicBezTo>
                    <a:pt x="2248509" y="907454"/>
                    <a:pt x="2265524" y="889482"/>
                    <a:pt x="2264916" y="867944"/>
                  </a:cubicBezTo>
                  <a:cubicBezTo>
                    <a:pt x="2264309" y="846355"/>
                    <a:pt x="2246432" y="829309"/>
                    <a:pt x="2224758" y="829948"/>
                  </a:cubicBezTo>
                  <a:lnTo>
                    <a:pt x="1735800" y="843671"/>
                  </a:lnTo>
                  <a:cubicBezTo>
                    <a:pt x="1727500" y="843960"/>
                    <a:pt x="1719489" y="841129"/>
                    <a:pt x="1713285" y="835756"/>
                  </a:cubicBezTo>
                  <a:cubicBezTo>
                    <a:pt x="1694872" y="819840"/>
                    <a:pt x="1671425" y="810314"/>
                    <a:pt x="1647204" y="808896"/>
                  </a:cubicBezTo>
                  <a:lnTo>
                    <a:pt x="1421911" y="795709"/>
                  </a:lnTo>
                  <a:cubicBezTo>
                    <a:pt x="1409751" y="794975"/>
                    <a:pt x="1399152" y="787698"/>
                    <a:pt x="1394124" y="776663"/>
                  </a:cubicBezTo>
                  <a:lnTo>
                    <a:pt x="1040328" y="460428"/>
                  </a:lnTo>
                  <a:cubicBezTo>
                    <a:pt x="1022502" y="420578"/>
                    <a:pt x="982794" y="394837"/>
                    <a:pt x="939136" y="394837"/>
                  </a:cubicBezTo>
                  <a:lnTo>
                    <a:pt x="745681" y="394837"/>
                  </a:lnTo>
                  <a:cubicBezTo>
                    <a:pt x="733766" y="394837"/>
                    <a:pt x="722873" y="388345"/>
                    <a:pt x="717110" y="377938"/>
                  </a:cubicBezTo>
                  <a:lnTo>
                    <a:pt x="645417" y="241678"/>
                  </a:lnTo>
                  <a:cubicBezTo>
                    <a:pt x="625975" y="206026"/>
                    <a:pt x="588663" y="183896"/>
                    <a:pt x="548125" y="183896"/>
                  </a:cubicBezTo>
                  <a:lnTo>
                    <a:pt x="261586" y="174082"/>
                  </a:lnTo>
                  <a:cubicBezTo>
                    <a:pt x="256846" y="174082"/>
                    <a:pt x="252207" y="173059"/>
                    <a:pt x="248009" y="171104"/>
                  </a:cubicBezTo>
                  <a:cubicBezTo>
                    <a:pt x="246421" y="166769"/>
                    <a:pt x="219239" y="130274"/>
                    <a:pt x="178821" y="77495"/>
                  </a:cubicBezTo>
                  <a:lnTo>
                    <a:pt x="118999" y="0"/>
                  </a:lnTo>
                  <a:lnTo>
                    <a:pt x="0" y="0"/>
                  </a:lnTo>
                  <a:lnTo>
                    <a:pt x="12032" y="15450"/>
                  </a:lnTo>
                  <a:cubicBezTo>
                    <a:pt x="87829" y="112485"/>
                    <a:pt x="150528" y="191703"/>
                    <a:pt x="157123" y="196794"/>
                  </a:cubicBezTo>
                  <a:cubicBezTo>
                    <a:pt x="162005" y="200557"/>
                    <a:pt x="167281" y="204512"/>
                    <a:pt x="172847" y="208128"/>
                  </a:cubicBezTo>
                  <a:lnTo>
                    <a:pt x="177632" y="213693"/>
                  </a:lnTo>
                  <a:cubicBezTo>
                    <a:pt x="198730" y="238209"/>
                    <a:pt x="229307" y="252226"/>
                    <a:pt x="261586" y="252226"/>
                  </a:cubicBezTo>
                  <a:lnTo>
                    <a:pt x="548125" y="262041"/>
                  </a:lnTo>
                  <a:cubicBezTo>
                    <a:pt x="559995" y="262041"/>
                    <a:pt x="570933" y="268538"/>
                    <a:pt x="576747" y="278940"/>
                  </a:cubicBezTo>
                  <a:lnTo>
                    <a:pt x="648344" y="415104"/>
                  </a:lnTo>
                  <a:cubicBezTo>
                    <a:pt x="667785" y="450761"/>
                    <a:pt x="705047" y="472977"/>
                    <a:pt x="745681" y="472977"/>
                  </a:cubicBezTo>
                  <a:lnTo>
                    <a:pt x="939136" y="472977"/>
                  </a:lnTo>
                  <a:cubicBezTo>
                    <a:pt x="951928" y="472977"/>
                    <a:pt x="963551" y="480452"/>
                    <a:pt x="968827" y="492028"/>
                  </a:cubicBezTo>
                  <a:lnTo>
                    <a:pt x="1322623" y="808162"/>
                  </a:lnTo>
                  <a:cubicBezTo>
                    <a:pt x="1339517" y="846158"/>
                    <a:pt x="1375801" y="871261"/>
                    <a:pt x="1417368" y="873707"/>
                  </a:cubicBezTo>
                  <a:lnTo>
                    <a:pt x="1642615" y="886894"/>
                  </a:lnTo>
                  <a:cubicBezTo>
                    <a:pt x="1649796" y="887284"/>
                    <a:pt x="1656729" y="890115"/>
                    <a:pt x="1662148" y="894804"/>
                  </a:cubicBezTo>
                  <a:cubicBezTo>
                    <a:pt x="1683154" y="913020"/>
                    <a:pt x="1710110" y="922642"/>
                    <a:pt x="1738049" y="921811"/>
                  </a:cubicBezTo>
                  <a:close/>
                </a:path>
              </a:pathLst>
            </a:custGeom>
            <a:solidFill>
              <a:srgbClr val="FFFFFF">
                <a:lumMod val="6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5" name="Freeform: Shape 404">
              <a:extLst>
                <a:ext uri="{FF2B5EF4-FFF2-40B4-BE49-F238E27FC236}">
                  <a16:creationId xmlns:a16="http://schemas.microsoft.com/office/drawing/2014/main" id="{AF685C71-18D8-FE22-7A3A-148470757868}"/>
                </a:ext>
              </a:extLst>
            </p:cNvPr>
            <p:cNvSpPr/>
            <p:nvPr/>
          </p:nvSpPr>
          <p:spPr>
            <a:xfrm flipV="1">
              <a:off x="6043587" y="4605097"/>
              <a:ext cx="1343972" cy="457418"/>
            </a:xfrm>
            <a:custGeom>
              <a:avLst/>
              <a:gdLst>
                <a:gd name="connsiteX0" fmla="*/ 1180805 w 1343972"/>
                <a:gd name="connsiteY0" fmla="*/ 457418 h 457418"/>
                <a:gd name="connsiteX1" fmla="*/ 1151332 w 1343972"/>
                <a:gd name="connsiteY1" fmla="*/ 269928 h 457418"/>
                <a:gd name="connsiteX2" fmla="*/ 1150370 w 1343972"/>
                <a:gd name="connsiteY2" fmla="*/ 258357 h 457418"/>
                <a:gd name="connsiteX3" fmla="*/ 1192554 w 1343972"/>
                <a:gd name="connsiteY3" fmla="*/ 193100 h 457418"/>
                <a:gd name="connsiteX4" fmla="*/ 1301838 w 1343972"/>
                <a:gd name="connsiteY4" fmla="*/ 143578 h 457418"/>
                <a:gd name="connsiteX5" fmla="*/ 1343972 w 1343972"/>
                <a:gd name="connsiteY5" fmla="*/ 78200 h 457418"/>
                <a:gd name="connsiteX6" fmla="*/ 1343567 w 1343972"/>
                <a:gd name="connsiteY6" fmla="*/ 70660 h 457418"/>
                <a:gd name="connsiteX7" fmla="*/ 1336046 w 1343972"/>
                <a:gd name="connsiteY7" fmla="*/ 0 h 457418"/>
                <a:gd name="connsiteX8" fmla="*/ 0 w 1343972"/>
                <a:gd name="connsiteY8" fmla="*/ 0 h 457418"/>
                <a:gd name="connsiteX9" fmla="*/ 17226 w 1343972"/>
                <a:gd name="connsiteY9" fmla="*/ 12174 h 457418"/>
                <a:gd name="connsiteX10" fmla="*/ 1180805 w 1343972"/>
                <a:gd name="connsiteY10" fmla="*/ 457418 h 45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3972" h="457418">
                  <a:moveTo>
                    <a:pt x="1180805" y="457418"/>
                  </a:moveTo>
                  <a:lnTo>
                    <a:pt x="1151332" y="269928"/>
                  </a:lnTo>
                  <a:cubicBezTo>
                    <a:pt x="1150674" y="266054"/>
                    <a:pt x="1150370" y="262185"/>
                    <a:pt x="1150370" y="258357"/>
                  </a:cubicBezTo>
                  <a:cubicBezTo>
                    <a:pt x="1150421" y="230575"/>
                    <a:pt x="1166626" y="204819"/>
                    <a:pt x="1192554" y="193100"/>
                  </a:cubicBezTo>
                  <a:lnTo>
                    <a:pt x="1301838" y="143578"/>
                  </a:lnTo>
                  <a:cubicBezTo>
                    <a:pt x="1327716" y="131880"/>
                    <a:pt x="1343972" y="106144"/>
                    <a:pt x="1343972" y="78200"/>
                  </a:cubicBezTo>
                  <a:cubicBezTo>
                    <a:pt x="1343972" y="75699"/>
                    <a:pt x="1343820" y="73187"/>
                    <a:pt x="1343567" y="70660"/>
                  </a:cubicBezTo>
                  <a:lnTo>
                    <a:pt x="1336046" y="0"/>
                  </a:lnTo>
                  <a:lnTo>
                    <a:pt x="0" y="0"/>
                  </a:lnTo>
                  <a:lnTo>
                    <a:pt x="17226" y="12174"/>
                  </a:lnTo>
                  <a:cubicBezTo>
                    <a:pt x="366552" y="242481"/>
                    <a:pt x="767068" y="393832"/>
                    <a:pt x="1180805" y="457418"/>
                  </a:cubicBezTo>
                  <a:close/>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6" name="Freeform: Shape 405">
              <a:extLst>
                <a:ext uri="{FF2B5EF4-FFF2-40B4-BE49-F238E27FC236}">
                  <a16:creationId xmlns:a16="http://schemas.microsoft.com/office/drawing/2014/main" id="{59E0D9F7-34E4-76C4-A8B2-55FECA6CF2D2}"/>
                </a:ext>
              </a:extLst>
            </p:cNvPr>
            <p:cNvSpPr/>
            <p:nvPr/>
          </p:nvSpPr>
          <p:spPr>
            <a:xfrm flipV="1">
              <a:off x="6032041" y="3282869"/>
              <a:ext cx="116207" cy="90242"/>
            </a:xfrm>
            <a:custGeom>
              <a:avLst/>
              <a:gdLst>
                <a:gd name="connsiteX0" fmla="*/ 108333 w 116207"/>
                <a:gd name="connsiteY0" fmla="*/ 78109 h 90242"/>
                <a:gd name="connsiteX1" fmla="*/ 103891 w 116207"/>
                <a:gd name="connsiteY1" fmla="*/ 61493 h 90242"/>
                <a:gd name="connsiteX2" fmla="*/ 99299 w 116207"/>
                <a:gd name="connsiteY2" fmla="*/ 28759 h 90242"/>
                <a:gd name="connsiteX3" fmla="*/ 97217 w 116207"/>
                <a:gd name="connsiteY3" fmla="*/ 23148 h 90242"/>
                <a:gd name="connsiteX4" fmla="*/ 83230 w 116207"/>
                <a:gd name="connsiteY4" fmla="*/ 10670 h 90242"/>
                <a:gd name="connsiteX5" fmla="*/ 74216 w 116207"/>
                <a:gd name="connsiteY5" fmla="*/ 7611 h 90242"/>
                <a:gd name="connsiteX6" fmla="*/ 45771 w 116207"/>
                <a:gd name="connsiteY6" fmla="*/ 4375 h 90242"/>
                <a:gd name="connsiteX7" fmla="*/ 19872 w 116207"/>
                <a:gd name="connsiteY7" fmla="*/ -6518 h 90242"/>
                <a:gd name="connsiteX8" fmla="*/ -7135 w 116207"/>
                <a:gd name="connsiteY8" fmla="*/ 31048 h 90242"/>
                <a:gd name="connsiteX9" fmla="*/ 27438 w 116207"/>
                <a:gd name="connsiteY9" fmla="*/ 59305 h 90242"/>
                <a:gd name="connsiteX10" fmla="*/ 36888 w 116207"/>
                <a:gd name="connsiteY10" fmla="*/ 68857 h 90242"/>
                <a:gd name="connsiteX11" fmla="*/ 46986 w 116207"/>
                <a:gd name="connsiteY11" fmla="*/ 74088 h 90242"/>
                <a:gd name="connsiteX12" fmla="*/ 59211 w 116207"/>
                <a:gd name="connsiteY12" fmla="*/ 79375 h 90242"/>
                <a:gd name="connsiteX13" fmla="*/ 90720 w 116207"/>
                <a:gd name="connsiteY13" fmla="*/ 82910 h 90242"/>
                <a:gd name="connsiteX14" fmla="*/ 103076 w 116207"/>
                <a:gd name="connsiteY14" fmla="*/ 82783 h 90242"/>
                <a:gd name="connsiteX15" fmla="*/ 108333 w 116207"/>
                <a:gd name="connsiteY15" fmla="*/ 78109 h 9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6207" h="90242">
                  <a:moveTo>
                    <a:pt x="108333" y="78109"/>
                  </a:moveTo>
                  <a:cubicBezTo>
                    <a:pt x="110855" y="72584"/>
                    <a:pt x="106322" y="66922"/>
                    <a:pt x="103891" y="61493"/>
                  </a:cubicBezTo>
                  <a:cubicBezTo>
                    <a:pt x="99405" y="51411"/>
                    <a:pt x="102013" y="39262"/>
                    <a:pt x="99299" y="28759"/>
                  </a:cubicBezTo>
                  <a:cubicBezTo>
                    <a:pt x="98822" y="26819"/>
                    <a:pt x="98133" y="24946"/>
                    <a:pt x="97217" y="23148"/>
                  </a:cubicBezTo>
                  <a:cubicBezTo>
                    <a:pt x="94265" y="17481"/>
                    <a:pt x="89119" y="13389"/>
                    <a:pt x="83230" y="10670"/>
                  </a:cubicBezTo>
                  <a:cubicBezTo>
                    <a:pt x="80349" y="9333"/>
                    <a:pt x="77279" y="8310"/>
                    <a:pt x="74216" y="7611"/>
                  </a:cubicBezTo>
                  <a:cubicBezTo>
                    <a:pt x="64898" y="5464"/>
                    <a:pt x="55235" y="5595"/>
                    <a:pt x="45771" y="4375"/>
                  </a:cubicBezTo>
                  <a:cubicBezTo>
                    <a:pt x="36291" y="3170"/>
                    <a:pt x="26532" y="318"/>
                    <a:pt x="19872" y="-6518"/>
                  </a:cubicBezTo>
                  <a:cubicBezTo>
                    <a:pt x="17791" y="5069"/>
                    <a:pt x="1991" y="23603"/>
                    <a:pt x="-7135" y="31048"/>
                  </a:cubicBezTo>
                  <a:cubicBezTo>
                    <a:pt x="4558" y="39540"/>
                    <a:pt x="20612" y="46559"/>
                    <a:pt x="27438" y="59305"/>
                  </a:cubicBezTo>
                  <a:cubicBezTo>
                    <a:pt x="29591" y="63321"/>
                    <a:pt x="32902" y="66648"/>
                    <a:pt x="36888" y="68857"/>
                  </a:cubicBezTo>
                  <a:cubicBezTo>
                    <a:pt x="40220" y="70705"/>
                    <a:pt x="43588" y="72462"/>
                    <a:pt x="46986" y="74088"/>
                  </a:cubicBezTo>
                  <a:cubicBezTo>
                    <a:pt x="50991" y="75992"/>
                    <a:pt x="55048" y="77785"/>
                    <a:pt x="59211" y="79375"/>
                  </a:cubicBezTo>
                  <a:cubicBezTo>
                    <a:pt x="69040" y="83218"/>
                    <a:pt x="80318" y="80955"/>
                    <a:pt x="90720" y="82910"/>
                  </a:cubicBezTo>
                  <a:cubicBezTo>
                    <a:pt x="94816" y="83679"/>
                    <a:pt x="99050" y="84327"/>
                    <a:pt x="103076" y="82783"/>
                  </a:cubicBezTo>
                  <a:cubicBezTo>
                    <a:pt x="105350" y="81917"/>
                    <a:pt x="107310" y="80337"/>
                    <a:pt x="108333" y="78109"/>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7" name="Freeform: Shape 406">
              <a:extLst>
                <a:ext uri="{FF2B5EF4-FFF2-40B4-BE49-F238E27FC236}">
                  <a16:creationId xmlns:a16="http://schemas.microsoft.com/office/drawing/2014/main" id="{CAC34D72-24DB-E917-02AA-34F264839047}"/>
                </a:ext>
              </a:extLst>
            </p:cNvPr>
            <p:cNvSpPr/>
            <p:nvPr/>
          </p:nvSpPr>
          <p:spPr>
            <a:xfrm flipV="1">
              <a:off x="6079523" y="3292450"/>
              <a:ext cx="22221" cy="33139"/>
            </a:xfrm>
            <a:custGeom>
              <a:avLst/>
              <a:gdLst>
                <a:gd name="connsiteX0" fmla="*/ 15086 w 22221"/>
                <a:gd name="connsiteY0" fmla="*/ 26143 h 33139"/>
                <a:gd name="connsiteX1" fmla="*/ -7135 w 22221"/>
                <a:gd name="connsiteY1" fmla="*/ -6561 h 33139"/>
                <a:gd name="connsiteX2" fmla="*/ 592 w 22221"/>
                <a:gd name="connsiteY2" fmla="*/ 21292 h 33139"/>
                <a:gd name="connsiteX3" fmla="*/ 12817 w 22221"/>
                <a:gd name="connsiteY3" fmla="*/ 26579 h 33139"/>
                <a:gd name="connsiteX4" fmla="*/ 15086 w 22221"/>
                <a:gd name="connsiteY4" fmla="*/ 26143 h 331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21" h="33139">
                  <a:moveTo>
                    <a:pt x="15086" y="26143"/>
                  </a:moveTo>
                  <a:cubicBezTo>
                    <a:pt x="10078" y="1071"/>
                    <a:pt x="-7135" y="-6561"/>
                    <a:pt x="-7135" y="-6561"/>
                  </a:cubicBezTo>
                  <a:lnTo>
                    <a:pt x="592" y="21292"/>
                  </a:lnTo>
                  <a:cubicBezTo>
                    <a:pt x="4598" y="23196"/>
                    <a:pt x="8665" y="24989"/>
                    <a:pt x="12817" y="26579"/>
                  </a:cubicBezTo>
                  <a:lnTo>
                    <a:pt x="15086" y="26143"/>
                  </a:lnTo>
                </a:path>
              </a:pathLst>
            </a:custGeom>
            <a:solidFill>
              <a:srgbClr val="FFFFFF">
                <a:lumMod val="6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8" name="Freeform: Shape 407">
              <a:extLst>
                <a:ext uri="{FF2B5EF4-FFF2-40B4-BE49-F238E27FC236}">
                  <a16:creationId xmlns:a16="http://schemas.microsoft.com/office/drawing/2014/main" id="{38F7967B-6513-BBF1-7D38-B706B9366D62}"/>
                </a:ext>
              </a:extLst>
            </p:cNvPr>
            <p:cNvSpPr/>
            <p:nvPr/>
          </p:nvSpPr>
          <p:spPr>
            <a:xfrm flipV="1">
              <a:off x="6091783" y="3334900"/>
              <a:ext cx="46691" cy="21023"/>
            </a:xfrm>
            <a:custGeom>
              <a:avLst/>
              <a:gdLst>
                <a:gd name="connsiteX0" fmla="*/ 39514 w 46691"/>
                <a:gd name="connsiteY0" fmla="*/ 11610 h 21023"/>
                <a:gd name="connsiteX1" fmla="*/ 37433 w 46691"/>
                <a:gd name="connsiteY1" fmla="*/ 5999 h 21023"/>
                <a:gd name="connsiteX2" fmla="*/ 23445 w 46691"/>
                <a:gd name="connsiteY2" fmla="*/ -6479 h 21023"/>
                <a:gd name="connsiteX3" fmla="*/ -7177 w 46691"/>
                <a:gd name="connsiteY3" fmla="*/ 1659 h 21023"/>
                <a:gd name="connsiteX4" fmla="*/ 39514 w 46691"/>
                <a:gd name="connsiteY4" fmla="*/ 11610 h 21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91" h="21023">
                  <a:moveTo>
                    <a:pt x="39514" y="11610"/>
                  </a:moveTo>
                  <a:cubicBezTo>
                    <a:pt x="39038" y="9670"/>
                    <a:pt x="38349" y="7797"/>
                    <a:pt x="37433" y="5999"/>
                  </a:cubicBezTo>
                  <a:cubicBezTo>
                    <a:pt x="34480" y="332"/>
                    <a:pt x="29335" y="-3760"/>
                    <a:pt x="23445" y="-6479"/>
                  </a:cubicBezTo>
                  <a:lnTo>
                    <a:pt x="-7177" y="1659"/>
                  </a:lnTo>
                  <a:cubicBezTo>
                    <a:pt x="-7177" y="1659"/>
                    <a:pt x="7651" y="21946"/>
                    <a:pt x="39514" y="11610"/>
                  </a:cubicBezTo>
                </a:path>
              </a:pathLst>
            </a:custGeom>
            <a:solidFill>
              <a:srgbClr val="FFFFFF">
                <a:lumMod val="6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9" name="Freeform: Shape 408">
              <a:extLst>
                <a:ext uri="{FF2B5EF4-FFF2-40B4-BE49-F238E27FC236}">
                  <a16:creationId xmlns:a16="http://schemas.microsoft.com/office/drawing/2014/main" id="{D282E240-A30E-AACF-A842-CB429B389830}"/>
                </a:ext>
              </a:extLst>
            </p:cNvPr>
            <p:cNvSpPr/>
            <p:nvPr/>
          </p:nvSpPr>
          <p:spPr>
            <a:xfrm flipV="1">
              <a:off x="5443751" y="3300284"/>
              <a:ext cx="101201" cy="47007"/>
            </a:xfrm>
            <a:custGeom>
              <a:avLst/>
              <a:gdLst>
                <a:gd name="connsiteX0" fmla="*/ -6115 w 101201"/>
                <a:gd name="connsiteY0" fmla="*/ 39720 h 47007"/>
                <a:gd name="connsiteX1" fmla="*/ 95087 w 101201"/>
                <a:gd name="connsiteY1" fmla="*/ 40480 h 47007"/>
                <a:gd name="connsiteX2" fmla="*/ 90048 w 101201"/>
                <a:gd name="connsiteY2" fmla="*/ -6505 h 47007"/>
                <a:gd name="connsiteX3" fmla="*/ -5269 w 101201"/>
                <a:gd name="connsiteY3" fmla="*/ 17565 h 47007"/>
                <a:gd name="connsiteX4" fmla="*/ -6115 w 101201"/>
                <a:gd name="connsiteY4" fmla="*/ 39720 h 47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01" h="47007">
                  <a:moveTo>
                    <a:pt x="-6115" y="39720"/>
                  </a:moveTo>
                  <a:lnTo>
                    <a:pt x="95087" y="40480"/>
                  </a:lnTo>
                  <a:cubicBezTo>
                    <a:pt x="95087" y="40480"/>
                    <a:pt x="90068" y="-7720"/>
                    <a:pt x="90048" y="-6505"/>
                  </a:cubicBezTo>
                  <a:cubicBezTo>
                    <a:pt x="90033" y="-5290"/>
                    <a:pt x="-5269" y="17565"/>
                    <a:pt x="-5269" y="17565"/>
                  </a:cubicBezTo>
                  <a:lnTo>
                    <a:pt x="-6115" y="39720"/>
                  </a:ln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0" name="Freeform: Shape 409">
              <a:extLst>
                <a:ext uri="{FF2B5EF4-FFF2-40B4-BE49-F238E27FC236}">
                  <a16:creationId xmlns:a16="http://schemas.microsoft.com/office/drawing/2014/main" id="{21EF6459-132E-B5F2-8E45-3B0DC28CF8E5}"/>
                </a:ext>
              </a:extLst>
            </p:cNvPr>
            <p:cNvSpPr/>
            <p:nvPr/>
          </p:nvSpPr>
          <p:spPr>
            <a:xfrm flipV="1">
              <a:off x="5098757" y="3780134"/>
              <a:ext cx="121687" cy="76054"/>
            </a:xfrm>
            <a:custGeom>
              <a:avLst/>
              <a:gdLst>
                <a:gd name="connsiteX0" fmla="*/ 940 w 121687"/>
                <a:gd name="connsiteY0" fmla="*/ 52599 h 76054"/>
                <a:gd name="connsiteX1" fmla="*/ -5542 w 121687"/>
                <a:gd name="connsiteY1" fmla="*/ 14263 h 76054"/>
                <a:gd name="connsiteX2" fmla="*/ 11463 w 121687"/>
                <a:gd name="connsiteY2" fmla="*/ 11387 h 76054"/>
                <a:gd name="connsiteX3" fmla="*/ 17946 w 121687"/>
                <a:gd name="connsiteY3" fmla="*/ 49722 h 76054"/>
                <a:gd name="connsiteX4" fmla="*/ 23015 w 121687"/>
                <a:gd name="connsiteY4" fmla="*/ 53328 h 76054"/>
                <a:gd name="connsiteX5" fmla="*/ 95234 w 121687"/>
                <a:gd name="connsiteY5" fmla="*/ 40855 h 76054"/>
                <a:gd name="connsiteX6" fmla="*/ 98835 w 121687"/>
                <a:gd name="connsiteY6" fmla="*/ 35791 h 76054"/>
                <a:gd name="connsiteX7" fmla="*/ 92353 w 121687"/>
                <a:gd name="connsiteY7" fmla="*/ -2550 h 76054"/>
                <a:gd name="connsiteX8" fmla="*/ 109358 w 121687"/>
                <a:gd name="connsiteY8" fmla="*/ -5421 h 76054"/>
                <a:gd name="connsiteX9" fmla="*/ 115840 w 121687"/>
                <a:gd name="connsiteY9" fmla="*/ 32914 h 76054"/>
                <a:gd name="connsiteX10" fmla="*/ 98111 w 121687"/>
                <a:gd name="connsiteY10" fmla="*/ 57860 h 76054"/>
                <a:gd name="connsiteX11" fmla="*/ 25886 w 121687"/>
                <a:gd name="connsiteY11" fmla="*/ 70328 h 76054"/>
                <a:gd name="connsiteX12" fmla="*/ 940 w 121687"/>
                <a:gd name="connsiteY12" fmla="*/ 52599 h 7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687" h="76054">
                  <a:moveTo>
                    <a:pt x="940" y="52599"/>
                  </a:moveTo>
                  <a:lnTo>
                    <a:pt x="-5542" y="14263"/>
                  </a:lnTo>
                  <a:lnTo>
                    <a:pt x="11463" y="11387"/>
                  </a:lnTo>
                  <a:lnTo>
                    <a:pt x="17946" y="49722"/>
                  </a:lnTo>
                  <a:cubicBezTo>
                    <a:pt x="18346" y="52107"/>
                    <a:pt x="20635" y="53728"/>
                    <a:pt x="23015" y="53328"/>
                  </a:cubicBezTo>
                  <a:lnTo>
                    <a:pt x="95234" y="40855"/>
                  </a:lnTo>
                  <a:cubicBezTo>
                    <a:pt x="97614" y="40455"/>
                    <a:pt x="99240" y="38171"/>
                    <a:pt x="98835" y="35791"/>
                  </a:cubicBezTo>
                  <a:lnTo>
                    <a:pt x="92353" y="-2550"/>
                  </a:lnTo>
                  <a:lnTo>
                    <a:pt x="109358" y="-5421"/>
                  </a:lnTo>
                  <a:lnTo>
                    <a:pt x="115840" y="32914"/>
                  </a:lnTo>
                  <a:cubicBezTo>
                    <a:pt x="117830" y="44689"/>
                    <a:pt x="109885" y="55870"/>
                    <a:pt x="98111" y="57860"/>
                  </a:cubicBezTo>
                  <a:lnTo>
                    <a:pt x="25886" y="70328"/>
                  </a:lnTo>
                  <a:cubicBezTo>
                    <a:pt x="14112" y="72318"/>
                    <a:pt x="2930" y="64373"/>
                    <a:pt x="940" y="52599"/>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1" name="Freeform: Shape 410">
              <a:extLst>
                <a:ext uri="{FF2B5EF4-FFF2-40B4-BE49-F238E27FC236}">
                  <a16:creationId xmlns:a16="http://schemas.microsoft.com/office/drawing/2014/main" id="{DD4B7F8C-6E22-2451-4C0F-C51446895EA1}"/>
                </a:ext>
              </a:extLst>
            </p:cNvPr>
            <p:cNvSpPr/>
            <p:nvPr/>
          </p:nvSpPr>
          <p:spPr>
            <a:xfrm flipV="1">
              <a:off x="5095364" y="3820953"/>
              <a:ext cx="25867" cy="13146"/>
            </a:xfrm>
            <a:custGeom>
              <a:avLst/>
              <a:gdLst>
                <a:gd name="connsiteX0" fmla="*/ 17420 w 25867"/>
                <a:gd name="connsiteY0" fmla="*/ 4348 h 13146"/>
                <a:gd name="connsiteX1" fmla="*/ -51 w 25867"/>
                <a:gd name="connsiteY1" fmla="*/ 7681 h 13146"/>
                <a:gd name="connsiteX2" fmla="*/ -4355 w 25867"/>
                <a:gd name="connsiteY2" fmla="*/ 4753 h 13146"/>
                <a:gd name="connsiteX3" fmla="*/ -5454 w 25867"/>
                <a:gd name="connsiteY3" fmla="*/ -1020 h 13146"/>
                <a:gd name="connsiteX4" fmla="*/ 19309 w 25867"/>
                <a:gd name="connsiteY4" fmla="*/ -5400 h 13146"/>
                <a:gd name="connsiteX5" fmla="*/ 20347 w 25867"/>
                <a:gd name="connsiteY5" fmla="*/ 44 h 13146"/>
                <a:gd name="connsiteX6" fmla="*/ 17420 w 25867"/>
                <a:gd name="connsiteY6" fmla="*/ 4348 h 1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67" h="13146">
                  <a:moveTo>
                    <a:pt x="17420" y="4348"/>
                  </a:moveTo>
                  <a:lnTo>
                    <a:pt x="-51" y="7681"/>
                  </a:lnTo>
                  <a:cubicBezTo>
                    <a:pt x="-2046" y="8060"/>
                    <a:pt x="-3971" y="6754"/>
                    <a:pt x="-4355" y="4753"/>
                  </a:cubicBezTo>
                  <a:lnTo>
                    <a:pt x="-5454" y="-1020"/>
                  </a:lnTo>
                  <a:lnTo>
                    <a:pt x="19309" y="-5400"/>
                  </a:lnTo>
                  <a:lnTo>
                    <a:pt x="20347" y="44"/>
                  </a:lnTo>
                  <a:cubicBezTo>
                    <a:pt x="20727" y="2039"/>
                    <a:pt x="19416" y="3968"/>
                    <a:pt x="17420" y="4348"/>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2" name="Freeform: Shape 411">
              <a:extLst>
                <a:ext uri="{FF2B5EF4-FFF2-40B4-BE49-F238E27FC236}">
                  <a16:creationId xmlns:a16="http://schemas.microsoft.com/office/drawing/2014/main" id="{B770F4D0-D976-E6AA-C73D-F9056FD077D7}"/>
                </a:ext>
              </a:extLst>
            </p:cNvPr>
            <p:cNvSpPr/>
            <p:nvPr/>
          </p:nvSpPr>
          <p:spPr>
            <a:xfrm flipV="1">
              <a:off x="5193760" y="3837675"/>
              <a:ext cx="25867" cy="13146"/>
            </a:xfrm>
            <a:custGeom>
              <a:avLst/>
              <a:gdLst>
                <a:gd name="connsiteX0" fmla="*/ 17252 w 25867"/>
                <a:gd name="connsiteY0" fmla="*/ 4386 h 13146"/>
                <a:gd name="connsiteX1" fmla="*/ -219 w 25867"/>
                <a:gd name="connsiteY1" fmla="*/ 7718 h 13146"/>
                <a:gd name="connsiteX2" fmla="*/ -4519 w 25867"/>
                <a:gd name="connsiteY2" fmla="*/ 4796 h 13146"/>
                <a:gd name="connsiteX3" fmla="*/ -5623 w 25867"/>
                <a:gd name="connsiteY3" fmla="*/ -977 h 13146"/>
                <a:gd name="connsiteX4" fmla="*/ 19136 w 25867"/>
                <a:gd name="connsiteY4" fmla="*/ -5363 h 13146"/>
                <a:gd name="connsiteX5" fmla="*/ 20179 w 25867"/>
                <a:gd name="connsiteY5" fmla="*/ 86 h 13146"/>
                <a:gd name="connsiteX6" fmla="*/ 17252 w 25867"/>
                <a:gd name="connsiteY6" fmla="*/ 4386 h 1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67" h="13146">
                  <a:moveTo>
                    <a:pt x="17252" y="4386"/>
                  </a:moveTo>
                  <a:lnTo>
                    <a:pt x="-219" y="7718"/>
                  </a:lnTo>
                  <a:cubicBezTo>
                    <a:pt x="-2215" y="8098"/>
                    <a:pt x="-4139" y="6791"/>
                    <a:pt x="-4519" y="4796"/>
                  </a:cubicBezTo>
                  <a:lnTo>
                    <a:pt x="-5623" y="-977"/>
                  </a:lnTo>
                  <a:lnTo>
                    <a:pt x="19136" y="-5363"/>
                  </a:lnTo>
                  <a:lnTo>
                    <a:pt x="20179" y="86"/>
                  </a:lnTo>
                  <a:cubicBezTo>
                    <a:pt x="20559" y="2082"/>
                    <a:pt x="19247" y="4001"/>
                    <a:pt x="17252" y="4386"/>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3" name="Freeform: Shape 412">
              <a:extLst>
                <a:ext uri="{FF2B5EF4-FFF2-40B4-BE49-F238E27FC236}">
                  <a16:creationId xmlns:a16="http://schemas.microsoft.com/office/drawing/2014/main" id="{FD910FB8-BD86-5971-F9C0-F1E1A6960112}"/>
                </a:ext>
              </a:extLst>
            </p:cNvPr>
            <p:cNvSpPr/>
            <p:nvPr/>
          </p:nvSpPr>
          <p:spPr>
            <a:xfrm flipV="1">
              <a:off x="4953134" y="3825465"/>
              <a:ext cx="352877" cy="281448"/>
            </a:xfrm>
            <a:custGeom>
              <a:avLst/>
              <a:gdLst>
                <a:gd name="connsiteX0" fmla="*/ 339132 w 352877"/>
                <a:gd name="connsiteY0" fmla="*/ 129302 h 281448"/>
                <a:gd name="connsiteX1" fmla="*/ 347387 w 352877"/>
                <a:gd name="connsiteY1" fmla="*/ 226011 h 281448"/>
                <a:gd name="connsiteX2" fmla="*/ 49682 w 352877"/>
                <a:gd name="connsiteY2" fmla="*/ 276359 h 281448"/>
                <a:gd name="connsiteX3" fmla="*/ 25678 w 352877"/>
                <a:gd name="connsiteY3" fmla="*/ 182313 h 281448"/>
                <a:gd name="connsiteX4" fmla="*/ -5148 w 352877"/>
                <a:gd name="connsiteY4" fmla="*/ 61392 h 281448"/>
                <a:gd name="connsiteX5" fmla="*/ 3674 w 352877"/>
                <a:gd name="connsiteY5" fmla="*/ 47830 h 281448"/>
                <a:gd name="connsiteX6" fmla="*/ 315691 w 352877"/>
                <a:gd name="connsiteY6" fmla="*/ -4933 h 281448"/>
                <a:gd name="connsiteX7" fmla="*/ 328478 w 352877"/>
                <a:gd name="connsiteY7" fmla="*/ 4967 h 281448"/>
                <a:gd name="connsiteX8" fmla="*/ 339132 w 352877"/>
                <a:gd name="connsiteY8" fmla="*/ 129302 h 281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877" h="281448">
                  <a:moveTo>
                    <a:pt x="339132" y="129302"/>
                  </a:moveTo>
                  <a:lnTo>
                    <a:pt x="347387" y="226011"/>
                  </a:lnTo>
                  <a:lnTo>
                    <a:pt x="49682" y="276359"/>
                  </a:lnTo>
                  <a:lnTo>
                    <a:pt x="25678" y="182313"/>
                  </a:lnTo>
                  <a:lnTo>
                    <a:pt x="-5148" y="61392"/>
                  </a:lnTo>
                  <a:cubicBezTo>
                    <a:pt x="-6733" y="55158"/>
                    <a:pt x="-2661" y="48904"/>
                    <a:pt x="3674" y="47830"/>
                  </a:cubicBezTo>
                  <a:lnTo>
                    <a:pt x="315691" y="-4933"/>
                  </a:lnTo>
                  <a:cubicBezTo>
                    <a:pt x="322026" y="-6007"/>
                    <a:pt x="327931" y="-1434"/>
                    <a:pt x="328478" y="4967"/>
                  </a:cubicBezTo>
                  <a:lnTo>
                    <a:pt x="339132" y="129302"/>
                  </a:lnTo>
                </a:path>
              </a:pathLst>
            </a:custGeom>
            <a:solidFill>
              <a:srgbClr val="4DA5C3">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4" name="Freeform: Shape 413">
              <a:extLst>
                <a:ext uri="{FF2B5EF4-FFF2-40B4-BE49-F238E27FC236}">
                  <a16:creationId xmlns:a16="http://schemas.microsoft.com/office/drawing/2014/main" id="{59B5CA09-8761-5AE0-ACB2-D0EC66F81E58}"/>
                </a:ext>
              </a:extLst>
            </p:cNvPr>
            <p:cNvSpPr/>
            <p:nvPr/>
          </p:nvSpPr>
          <p:spPr>
            <a:xfrm flipV="1">
              <a:off x="4976775" y="3813776"/>
              <a:ext cx="340513" cy="187232"/>
            </a:xfrm>
            <a:custGeom>
              <a:avLst/>
              <a:gdLst>
                <a:gd name="connsiteX0" fmla="*/ 327854 w 340513"/>
                <a:gd name="connsiteY0" fmla="*/ 36760 h 187232"/>
                <a:gd name="connsiteX1" fmla="*/ 334954 w 340513"/>
                <a:gd name="connsiteY1" fmla="*/ 119893 h 187232"/>
                <a:gd name="connsiteX2" fmla="*/ 326030 w 340513"/>
                <a:gd name="connsiteY2" fmla="*/ 131414 h 187232"/>
                <a:gd name="connsiteX3" fmla="*/ 27743 w 340513"/>
                <a:gd name="connsiteY3" fmla="*/ 181858 h 187232"/>
                <a:gd name="connsiteX4" fmla="*/ 15528 w 340513"/>
                <a:gd name="connsiteY4" fmla="*/ 173917 h 187232"/>
                <a:gd name="connsiteX5" fmla="*/ -5103 w 340513"/>
                <a:gd name="connsiteY5" fmla="*/ 93068 h 187232"/>
                <a:gd name="connsiteX6" fmla="*/ 1313 w 340513"/>
                <a:gd name="connsiteY6" fmla="*/ 78078 h 187232"/>
                <a:gd name="connsiteX7" fmla="*/ 149515 w 340513"/>
                <a:gd name="connsiteY7" fmla="*/ -5221 h 187232"/>
                <a:gd name="connsiteX8" fmla="*/ 316870 w 340513"/>
                <a:gd name="connsiteY8" fmla="*/ 24713 h 187232"/>
                <a:gd name="connsiteX9" fmla="*/ 327854 w 340513"/>
                <a:gd name="connsiteY9" fmla="*/ 36760 h 18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0513" h="187232">
                  <a:moveTo>
                    <a:pt x="327854" y="36760"/>
                  </a:moveTo>
                  <a:lnTo>
                    <a:pt x="334954" y="119893"/>
                  </a:lnTo>
                  <a:cubicBezTo>
                    <a:pt x="335430" y="125473"/>
                    <a:pt x="331550" y="130477"/>
                    <a:pt x="326030" y="131414"/>
                  </a:cubicBezTo>
                  <a:lnTo>
                    <a:pt x="27743" y="181858"/>
                  </a:lnTo>
                  <a:cubicBezTo>
                    <a:pt x="22223" y="182795"/>
                    <a:pt x="16911" y="179336"/>
                    <a:pt x="15528" y="173917"/>
                  </a:cubicBezTo>
                  <a:lnTo>
                    <a:pt x="-5103" y="93068"/>
                  </a:lnTo>
                  <a:cubicBezTo>
                    <a:pt x="-6602" y="87194"/>
                    <a:pt x="-3974" y="81051"/>
                    <a:pt x="1313" y="78078"/>
                  </a:cubicBezTo>
                  <a:lnTo>
                    <a:pt x="149515" y="-5221"/>
                  </a:lnTo>
                  <a:lnTo>
                    <a:pt x="316870" y="24713"/>
                  </a:lnTo>
                  <a:cubicBezTo>
                    <a:pt x="322835" y="25781"/>
                    <a:pt x="327342" y="30719"/>
                    <a:pt x="327854" y="36760"/>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5" name="Freeform: Shape 414">
              <a:extLst>
                <a:ext uri="{FF2B5EF4-FFF2-40B4-BE49-F238E27FC236}">
                  <a16:creationId xmlns:a16="http://schemas.microsoft.com/office/drawing/2014/main" id="{6DCC972B-0DEB-F74D-9A2C-2261706E51A6}"/>
                </a:ext>
              </a:extLst>
            </p:cNvPr>
            <p:cNvSpPr/>
            <p:nvPr/>
          </p:nvSpPr>
          <p:spPr>
            <a:xfrm flipV="1">
              <a:off x="5110946" y="3973581"/>
              <a:ext cx="47248" cy="40123"/>
            </a:xfrm>
            <a:custGeom>
              <a:avLst/>
              <a:gdLst>
                <a:gd name="connsiteX0" fmla="*/ 41749 w 47248"/>
                <a:gd name="connsiteY0" fmla="*/ 27640 h 40123"/>
                <a:gd name="connsiteX1" fmla="*/ 39136 w 47248"/>
                <a:gd name="connsiteY1" fmla="*/ 11972 h 40123"/>
                <a:gd name="connsiteX2" fmla="*/ 25721 w 47248"/>
                <a:gd name="connsiteY2" fmla="*/ -5028 h 40123"/>
                <a:gd name="connsiteX3" fmla="*/ 1661 w 47248"/>
                <a:gd name="connsiteY3" fmla="*/ -1008 h 40123"/>
                <a:gd name="connsiteX4" fmla="*/ -5499 w 47248"/>
                <a:gd name="connsiteY4" fmla="*/ 19421 h 40123"/>
                <a:gd name="connsiteX5" fmla="*/ -2886 w 47248"/>
                <a:gd name="connsiteY5" fmla="*/ 35095 h 40123"/>
                <a:gd name="connsiteX6" fmla="*/ 41749 w 47248"/>
                <a:gd name="connsiteY6" fmla="*/ 27640 h 40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48" h="40123">
                  <a:moveTo>
                    <a:pt x="41749" y="27640"/>
                  </a:moveTo>
                  <a:lnTo>
                    <a:pt x="39136" y="11972"/>
                  </a:lnTo>
                  <a:cubicBezTo>
                    <a:pt x="39136" y="11972"/>
                    <a:pt x="27104" y="10453"/>
                    <a:pt x="25721" y="-5028"/>
                  </a:cubicBezTo>
                  <a:lnTo>
                    <a:pt x="1661" y="-1008"/>
                  </a:lnTo>
                  <a:cubicBezTo>
                    <a:pt x="5389" y="14079"/>
                    <a:pt x="-5499" y="19421"/>
                    <a:pt x="-5499" y="19421"/>
                  </a:cubicBezTo>
                  <a:lnTo>
                    <a:pt x="-2886" y="35095"/>
                  </a:lnTo>
                  <a:lnTo>
                    <a:pt x="41749" y="27640"/>
                  </a:ln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6" name="Freeform: Shape 415">
              <a:extLst>
                <a:ext uri="{FF2B5EF4-FFF2-40B4-BE49-F238E27FC236}">
                  <a16:creationId xmlns:a16="http://schemas.microsoft.com/office/drawing/2014/main" id="{15E39918-37CE-8AB2-9026-50B339782273}"/>
                </a:ext>
              </a:extLst>
            </p:cNvPr>
            <p:cNvSpPr/>
            <p:nvPr/>
          </p:nvSpPr>
          <p:spPr>
            <a:xfrm flipV="1">
              <a:off x="5106164" y="3999150"/>
              <a:ext cx="47766" cy="34574"/>
            </a:xfrm>
            <a:custGeom>
              <a:avLst/>
              <a:gdLst>
                <a:gd name="connsiteX0" fmla="*/ -2365 w 47766"/>
                <a:gd name="connsiteY0" fmla="*/ 29597 h 34574"/>
                <a:gd name="connsiteX1" fmla="*/ -5338 w 47766"/>
                <a:gd name="connsiteY1" fmla="*/ 11802 h 34574"/>
                <a:gd name="connsiteX2" fmla="*/ 3828 w 47766"/>
                <a:gd name="connsiteY2" fmla="*/ -1041 h 34574"/>
                <a:gd name="connsiteX3" fmla="*/ 26460 w 47766"/>
                <a:gd name="connsiteY3" fmla="*/ -4824 h 34574"/>
                <a:gd name="connsiteX4" fmla="*/ 39302 w 47766"/>
                <a:gd name="connsiteY4" fmla="*/ 4342 h 34574"/>
                <a:gd name="connsiteX5" fmla="*/ 42275 w 47766"/>
                <a:gd name="connsiteY5" fmla="*/ 22143 h 34574"/>
                <a:gd name="connsiteX6" fmla="*/ -2365 w 47766"/>
                <a:gd name="connsiteY6" fmla="*/ 29597 h 34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66" h="34574">
                  <a:moveTo>
                    <a:pt x="-2365" y="29597"/>
                  </a:moveTo>
                  <a:lnTo>
                    <a:pt x="-5338" y="11802"/>
                  </a:lnTo>
                  <a:cubicBezTo>
                    <a:pt x="-6351" y="5720"/>
                    <a:pt x="-2249" y="-28"/>
                    <a:pt x="3828" y="-1041"/>
                  </a:cubicBezTo>
                  <a:lnTo>
                    <a:pt x="26460" y="-4824"/>
                  </a:lnTo>
                  <a:cubicBezTo>
                    <a:pt x="32537" y="-5837"/>
                    <a:pt x="38290" y="-1735"/>
                    <a:pt x="39302" y="4342"/>
                  </a:cubicBezTo>
                  <a:lnTo>
                    <a:pt x="42275" y="22143"/>
                  </a:lnTo>
                  <a:lnTo>
                    <a:pt x="-2365" y="29597"/>
                  </a:ln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7" name="Freeform: Shape 416">
              <a:extLst>
                <a:ext uri="{FF2B5EF4-FFF2-40B4-BE49-F238E27FC236}">
                  <a16:creationId xmlns:a16="http://schemas.microsoft.com/office/drawing/2014/main" id="{C8C4A20D-CC5E-B1E3-88E3-D44D0FA0D418}"/>
                </a:ext>
              </a:extLst>
            </p:cNvPr>
            <p:cNvSpPr/>
            <p:nvPr/>
          </p:nvSpPr>
          <p:spPr>
            <a:xfrm flipV="1">
              <a:off x="5131322" y="3731785"/>
              <a:ext cx="71237" cy="92774"/>
            </a:xfrm>
            <a:custGeom>
              <a:avLst/>
              <a:gdLst>
                <a:gd name="connsiteX0" fmla="*/ 64622 w 71237"/>
                <a:gd name="connsiteY0" fmla="*/ 26652 h 92774"/>
                <a:gd name="connsiteX1" fmla="*/ 53658 w 71237"/>
                <a:gd name="connsiteY1" fmla="*/ 27128 h 92774"/>
                <a:gd name="connsiteX2" fmla="*/ 54645 w 71237"/>
                <a:gd name="connsiteY2" fmla="*/ 10543 h 92774"/>
                <a:gd name="connsiteX3" fmla="*/ 37265 w 71237"/>
                <a:gd name="connsiteY3" fmla="*/ 1114 h 92774"/>
                <a:gd name="connsiteX4" fmla="*/ 30150 w 71237"/>
                <a:gd name="connsiteY4" fmla="*/ 3939 h 92774"/>
                <a:gd name="connsiteX5" fmla="*/ 16456 w 71237"/>
                <a:gd name="connsiteY5" fmla="*/ 7029 h 92774"/>
                <a:gd name="connsiteX6" fmla="*/ 7701 w 71237"/>
                <a:gd name="connsiteY6" fmla="*/ 9095 h 92774"/>
                <a:gd name="connsiteX7" fmla="*/ 9503 w 71237"/>
                <a:gd name="connsiteY7" fmla="*/ 85401 h 92774"/>
                <a:gd name="connsiteX8" fmla="*/ 47140 w 71237"/>
                <a:gd name="connsiteY8" fmla="*/ 80388 h 92774"/>
                <a:gd name="connsiteX9" fmla="*/ 64622 w 71237"/>
                <a:gd name="connsiteY9" fmla="*/ 26652 h 9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37" h="92774">
                  <a:moveTo>
                    <a:pt x="64622" y="26652"/>
                  </a:moveTo>
                  <a:cubicBezTo>
                    <a:pt x="64196" y="26348"/>
                    <a:pt x="65275" y="26449"/>
                    <a:pt x="53658" y="27128"/>
                  </a:cubicBezTo>
                  <a:cubicBezTo>
                    <a:pt x="50675" y="20327"/>
                    <a:pt x="53845" y="16073"/>
                    <a:pt x="54645" y="10543"/>
                  </a:cubicBezTo>
                  <a:cubicBezTo>
                    <a:pt x="52564" y="-7870"/>
                    <a:pt x="45140" y="-9627"/>
                    <a:pt x="37265" y="1114"/>
                  </a:cubicBezTo>
                  <a:cubicBezTo>
                    <a:pt x="35614" y="3352"/>
                    <a:pt x="32864" y="4486"/>
                    <a:pt x="30150" y="3939"/>
                  </a:cubicBezTo>
                  <a:cubicBezTo>
                    <a:pt x="22103" y="2329"/>
                    <a:pt x="25440" y="10376"/>
                    <a:pt x="16456" y="7029"/>
                  </a:cubicBezTo>
                  <a:cubicBezTo>
                    <a:pt x="13413" y="5899"/>
                    <a:pt x="9914" y="6730"/>
                    <a:pt x="7701" y="9095"/>
                  </a:cubicBezTo>
                  <a:cubicBezTo>
                    <a:pt x="2095" y="14923"/>
                    <a:pt x="-20091" y="-6711"/>
                    <a:pt x="9503" y="85401"/>
                  </a:cubicBezTo>
                  <a:cubicBezTo>
                    <a:pt x="22073" y="89883"/>
                    <a:pt x="34774" y="85507"/>
                    <a:pt x="47140" y="80388"/>
                  </a:cubicBezTo>
                  <a:cubicBezTo>
                    <a:pt x="52701" y="62121"/>
                    <a:pt x="70126" y="36937"/>
                    <a:pt x="64622" y="26652"/>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8" name="Freeform: Shape 417">
              <a:extLst>
                <a:ext uri="{FF2B5EF4-FFF2-40B4-BE49-F238E27FC236}">
                  <a16:creationId xmlns:a16="http://schemas.microsoft.com/office/drawing/2014/main" id="{B8A1C1A2-E597-F644-9465-AA3329FD561B}"/>
                </a:ext>
              </a:extLst>
            </p:cNvPr>
            <p:cNvSpPr/>
            <p:nvPr/>
          </p:nvSpPr>
          <p:spPr>
            <a:xfrm flipV="1">
              <a:off x="5139118" y="3317673"/>
              <a:ext cx="917323" cy="451168"/>
            </a:xfrm>
            <a:custGeom>
              <a:avLst/>
              <a:gdLst>
                <a:gd name="connsiteX0" fmla="*/ 910220 w 917323"/>
                <a:gd name="connsiteY0" fmla="*/ 385227 h 451168"/>
                <a:gd name="connsiteX1" fmla="*/ 675163 w 917323"/>
                <a:gd name="connsiteY1" fmla="*/ 299349 h 451168"/>
                <a:gd name="connsiteX2" fmla="*/ 623215 w 917323"/>
                <a:gd name="connsiteY2" fmla="*/ 295683 h 451168"/>
                <a:gd name="connsiteX3" fmla="*/ 490287 w 917323"/>
                <a:gd name="connsiteY3" fmla="*/ 322867 h 451168"/>
                <a:gd name="connsiteX4" fmla="*/ 505773 w 917323"/>
                <a:gd name="connsiteY4" fmla="*/ 233921 h 451168"/>
                <a:gd name="connsiteX5" fmla="*/ 514549 w 917323"/>
                <a:gd name="connsiteY5" fmla="*/ 95412 h 451168"/>
                <a:gd name="connsiteX6" fmla="*/ 514655 w 917323"/>
                <a:gd name="connsiteY6" fmla="*/ 95630 h 451168"/>
                <a:gd name="connsiteX7" fmla="*/ 517066 w 917323"/>
                <a:gd name="connsiteY7" fmla="*/ 66749 h 451168"/>
                <a:gd name="connsiteX8" fmla="*/ 521239 w 917323"/>
                <a:gd name="connsiteY8" fmla="*/ 45338 h 451168"/>
                <a:gd name="connsiteX9" fmla="*/ 510715 w 917323"/>
                <a:gd name="connsiteY9" fmla="*/ 7250 h 451168"/>
                <a:gd name="connsiteX10" fmla="*/ 511379 w 917323"/>
                <a:gd name="connsiteY10" fmla="*/ -3055 h 451168"/>
                <a:gd name="connsiteX11" fmla="*/ 407681 w 917323"/>
                <a:gd name="connsiteY11" fmla="*/ -4711 h 451168"/>
                <a:gd name="connsiteX12" fmla="*/ 301607 w 917323"/>
                <a:gd name="connsiteY12" fmla="*/ 10633 h 451168"/>
                <a:gd name="connsiteX13" fmla="*/ 302949 w 917323"/>
                <a:gd name="connsiteY13" fmla="*/ 24089 h 451168"/>
                <a:gd name="connsiteX14" fmla="*/ 300407 w 917323"/>
                <a:gd name="connsiteY14" fmla="*/ 27664 h 451168"/>
                <a:gd name="connsiteX15" fmla="*/ 290031 w 917323"/>
                <a:gd name="connsiteY15" fmla="*/ 55228 h 451168"/>
                <a:gd name="connsiteX16" fmla="*/ 295490 w 917323"/>
                <a:gd name="connsiteY16" fmla="*/ 80543 h 451168"/>
                <a:gd name="connsiteX17" fmla="*/ 295535 w 917323"/>
                <a:gd name="connsiteY17" fmla="*/ 80918 h 451168"/>
                <a:gd name="connsiteX18" fmla="*/ 247320 w 917323"/>
                <a:gd name="connsiteY18" fmla="*/ 292199 h 451168"/>
                <a:gd name="connsiteX19" fmla="*/ 97984 w 917323"/>
                <a:gd name="connsiteY19" fmla="*/ 236063 h 451168"/>
                <a:gd name="connsiteX20" fmla="*/ 50588 w 917323"/>
                <a:gd name="connsiteY20" fmla="*/ 19997 h 451168"/>
                <a:gd name="connsiteX21" fmla="*/ -6292 w 917323"/>
                <a:gd name="connsiteY21" fmla="*/ 28570 h 451168"/>
                <a:gd name="connsiteX22" fmla="*/ 28595 w 917323"/>
                <a:gd name="connsiteY22" fmla="*/ 260386 h 451168"/>
                <a:gd name="connsiteX23" fmla="*/ 77803 w 917323"/>
                <a:gd name="connsiteY23" fmla="*/ 322118 h 451168"/>
                <a:gd name="connsiteX24" fmla="*/ 228390 w 917323"/>
                <a:gd name="connsiteY24" fmla="*/ 402880 h 451168"/>
                <a:gd name="connsiteX25" fmla="*/ 229069 w 917323"/>
                <a:gd name="connsiteY25" fmla="*/ 403270 h 451168"/>
                <a:gd name="connsiteX26" fmla="*/ 412497 w 917323"/>
                <a:gd name="connsiteY26" fmla="*/ 444528 h 451168"/>
                <a:gd name="connsiteX27" fmla="*/ 474168 w 917323"/>
                <a:gd name="connsiteY27" fmla="*/ 439276 h 451168"/>
                <a:gd name="connsiteX28" fmla="*/ 654628 w 917323"/>
                <a:gd name="connsiteY28" fmla="*/ 384645 h 451168"/>
                <a:gd name="connsiteX29" fmla="*/ 892181 w 917323"/>
                <a:gd name="connsiteY29" fmla="*/ 439033 h 451168"/>
                <a:gd name="connsiteX30" fmla="*/ 910220 w 917323"/>
                <a:gd name="connsiteY30" fmla="*/ 385227 h 4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7323" h="451168">
                  <a:moveTo>
                    <a:pt x="910220" y="385227"/>
                  </a:moveTo>
                  <a:lnTo>
                    <a:pt x="675163" y="299349"/>
                  </a:lnTo>
                  <a:cubicBezTo>
                    <a:pt x="658391" y="293824"/>
                    <a:pt x="640560" y="292609"/>
                    <a:pt x="623215" y="295683"/>
                  </a:cubicBezTo>
                  <a:lnTo>
                    <a:pt x="490287" y="322867"/>
                  </a:lnTo>
                  <a:cubicBezTo>
                    <a:pt x="499772" y="294371"/>
                    <a:pt x="505013" y="264437"/>
                    <a:pt x="505773" y="233921"/>
                  </a:cubicBezTo>
                  <a:lnTo>
                    <a:pt x="514549" y="95412"/>
                  </a:lnTo>
                  <a:lnTo>
                    <a:pt x="514655" y="95630"/>
                  </a:lnTo>
                  <a:cubicBezTo>
                    <a:pt x="514893" y="86418"/>
                    <a:pt x="516038" y="75261"/>
                    <a:pt x="517066" y="66749"/>
                  </a:cubicBezTo>
                  <a:cubicBezTo>
                    <a:pt x="517942" y="59517"/>
                    <a:pt x="519487" y="52412"/>
                    <a:pt x="521239" y="45338"/>
                  </a:cubicBezTo>
                  <a:cubicBezTo>
                    <a:pt x="529463" y="12066"/>
                    <a:pt x="510715" y="7250"/>
                    <a:pt x="510715" y="7250"/>
                  </a:cubicBezTo>
                  <a:lnTo>
                    <a:pt x="511379" y="-3055"/>
                  </a:lnTo>
                  <a:cubicBezTo>
                    <a:pt x="478568" y="-6276"/>
                    <a:pt x="443666" y="-6980"/>
                    <a:pt x="407681" y="-4711"/>
                  </a:cubicBezTo>
                  <a:cubicBezTo>
                    <a:pt x="370409" y="-2372"/>
                    <a:pt x="334671" y="2951"/>
                    <a:pt x="301607" y="10633"/>
                  </a:cubicBezTo>
                  <a:cubicBezTo>
                    <a:pt x="302089" y="15135"/>
                    <a:pt x="302514" y="19637"/>
                    <a:pt x="302949" y="24089"/>
                  </a:cubicBezTo>
                  <a:lnTo>
                    <a:pt x="300407" y="27664"/>
                  </a:lnTo>
                  <a:cubicBezTo>
                    <a:pt x="294766" y="35766"/>
                    <a:pt x="287580" y="45763"/>
                    <a:pt x="290031" y="55228"/>
                  </a:cubicBezTo>
                  <a:cubicBezTo>
                    <a:pt x="291753" y="61791"/>
                    <a:pt x="293748" y="70395"/>
                    <a:pt x="295490" y="80543"/>
                  </a:cubicBezTo>
                  <a:lnTo>
                    <a:pt x="295535" y="80918"/>
                  </a:lnTo>
                  <a:cubicBezTo>
                    <a:pt x="296305" y="87031"/>
                    <a:pt x="310510" y="168269"/>
                    <a:pt x="247320" y="292199"/>
                  </a:cubicBezTo>
                  <a:lnTo>
                    <a:pt x="97984" y="236063"/>
                  </a:lnTo>
                  <a:lnTo>
                    <a:pt x="50588" y="19997"/>
                  </a:lnTo>
                  <a:cubicBezTo>
                    <a:pt x="18213" y="14274"/>
                    <a:pt x="-6292" y="28570"/>
                    <a:pt x="-6292" y="28570"/>
                  </a:cubicBezTo>
                  <a:lnTo>
                    <a:pt x="28595" y="260386"/>
                  </a:lnTo>
                  <a:cubicBezTo>
                    <a:pt x="33198" y="288087"/>
                    <a:pt x="51849" y="311407"/>
                    <a:pt x="77803" y="322118"/>
                  </a:cubicBezTo>
                  <a:lnTo>
                    <a:pt x="228390" y="402880"/>
                  </a:lnTo>
                  <a:lnTo>
                    <a:pt x="229069" y="403270"/>
                  </a:lnTo>
                  <a:cubicBezTo>
                    <a:pt x="277051" y="428019"/>
                    <a:pt x="370915" y="441110"/>
                    <a:pt x="412497" y="444528"/>
                  </a:cubicBezTo>
                  <a:cubicBezTo>
                    <a:pt x="433204" y="446189"/>
                    <a:pt x="453992" y="444422"/>
                    <a:pt x="474168" y="439276"/>
                  </a:cubicBezTo>
                  <a:lnTo>
                    <a:pt x="654628" y="384645"/>
                  </a:lnTo>
                  <a:lnTo>
                    <a:pt x="892181" y="439033"/>
                  </a:lnTo>
                  <a:cubicBezTo>
                    <a:pt x="892181" y="439033"/>
                    <a:pt x="915633" y="414710"/>
                    <a:pt x="910220" y="385227"/>
                  </a:cubicBezTo>
                </a:path>
              </a:pathLst>
            </a:custGeom>
            <a:solidFill>
              <a:srgbClr val="4DA5C3">
                <a:lumMod val="20000"/>
                <a:lumOff val="8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9" name="Freeform: Shape 418">
              <a:extLst>
                <a:ext uri="{FF2B5EF4-FFF2-40B4-BE49-F238E27FC236}">
                  <a16:creationId xmlns:a16="http://schemas.microsoft.com/office/drawing/2014/main" id="{F5B06556-543A-20FA-9ED1-B0ECC0081B06}"/>
                </a:ext>
              </a:extLst>
            </p:cNvPr>
            <p:cNvSpPr/>
            <p:nvPr/>
          </p:nvSpPr>
          <p:spPr>
            <a:xfrm flipV="1">
              <a:off x="5608115" y="3395182"/>
              <a:ext cx="32373" cy="52058"/>
            </a:xfrm>
            <a:custGeom>
              <a:avLst/>
              <a:gdLst>
                <a:gd name="connsiteX0" fmla="*/ 872 w 32373"/>
                <a:gd name="connsiteY0" fmla="*/ 44156 h 52058"/>
                <a:gd name="connsiteX1" fmla="*/ -4739 w 32373"/>
                <a:gd name="connsiteY1" fmla="*/ 44946 h 52058"/>
                <a:gd name="connsiteX2" fmla="*/ -5529 w 32373"/>
                <a:gd name="connsiteY2" fmla="*/ 39330 h 52058"/>
                <a:gd name="connsiteX3" fmla="*/ 18080 w 32373"/>
                <a:gd name="connsiteY3" fmla="*/ -3017 h 52058"/>
                <a:gd name="connsiteX4" fmla="*/ 22111 w 32373"/>
                <a:gd name="connsiteY4" fmla="*/ -6308 h 52058"/>
                <a:gd name="connsiteX5" fmla="*/ 22719 w 32373"/>
                <a:gd name="connsiteY5" fmla="*/ -6248 h 52058"/>
                <a:gd name="connsiteX6" fmla="*/ 25975 w 32373"/>
                <a:gd name="connsiteY6" fmla="*/ -1609 h 52058"/>
                <a:gd name="connsiteX7" fmla="*/ 872 w 32373"/>
                <a:gd name="connsiteY7" fmla="*/ 44156 h 5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73" h="52058">
                  <a:moveTo>
                    <a:pt x="872" y="44156"/>
                  </a:moveTo>
                  <a:cubicBezTo>
                    <a:pt x="-465" y="45928"/>
                    <a:pt x="-2977" y="46267"/>
                    <a:pt x="-4739" y="44946"/>
                  </a:cubicBezTo>
                  <a:cubicBezTo>
                    <a:pt x="-6512" y="43609"/>
                    <a:pt x="-6861" y="41097"/>
                    <a:pt x="-5529" y="39330"/>
                  </a:cubicBezTo>
                  <a:cubicBezTo>
                    <a:pt x="15041" y="12069"/>
                    <a:pt x="18044" y="-2814"/>
                    <a:pt x="18080" y="-3017"/>
                  </a:cubicBezTo>
                  <a:cubicBezTo>
                    <a:pt x="18439" y="-4987"/>
                    <a:pt x="20171" y="-6354"/>
                    <a:pt x="22111" y="-6308"/>
                  </a:cubicBezTo>
                  <a:lnTo>
                    <a:pt x="22719" y="-6248"/>
                  </a:lnTo>
                  <a:cubicBezTo>
                    <a:pt x="24901" y="-5868"/>
                    <a:pt x="26360" y="-3786"/>
                    <a:pt x="25975" y="-1609"/>
                  </a:cubicBezTo>
                  <a:cubicBezTo>
                    <a:pt x="25863" y="-940"/>
                    <a:pt x="22860" y="15017"/>
                    <a:pt x="872" y="44156"/>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0" name="Freeform: Shape 419">
              <a:extLst>
                <a:ext uri="{FF2B5EF4-FFF2-40B4-BE49-F238E27FC236}">
                  <a16:creationId xmlns:a16="http://schemas.microsoft.com/office/drawing/2014/main" id="{BD987F62-D6B4-508B-C2BB-93B7049B5B5E}"/>
                </a:ext>
              </a:extLst>
            </p:cNvPr>
            <p:cNvSpPr/>
            <p:nvPr/>
          </p:nvSpPr>
          <p:spPr>
            <a:xfrm flipV="1">
              <a:off x="5388684" y="3456227"/>
              <a:ext cx="35579" cy="18380"/>
            </a:xfrm>
            <a:custGeom>
              <a:avLst/>
              <a:gdLst>
                <a:gd name="connsiteX0" fmla="*/ 24192 w 35579"/>
                <a:gd name="connsiteY0" fmla="*/ 11915 h 18380"/>
                <a:gd name="connsiteX1" fmla="*/ -3362 w 35579"/>
                <a:gd name="connsiteY1" fmla="*/ 1554 h 18380"/>
                <a:gd name="connsiteX2" fmla="*/ -5707 w 35579"/>
                <a:gd name="connsiteY2" fmla="*/ -3612 h 18380"/>
                <a:gd name="connsiteX3" fmla="*/ -1858 w 35579"/>
                <a:gd name="connsiteY3" fmla="*/ -6210 h 18380"/>
                <a:gd name="connsiteX4" fmla="*/ -546 w 35579"/>
                <a:gd name="connsiteY4" fmla="*/ -5951 h 18380"/>
                <a:gd name="connsiteX5" fmla="*/ 27013 w 35579"/>
                <a:gd name="connsiteY5" fmla="*/ 4410 h 18380"/>
                <a:gd name="connsiteX6" fmla="*/ 29357 w 35579"/>
                <a:gd name="connsiteY6" fmla="*/ 9575 h 18380"/>
                <a:gd name="connsiteX7" fmla="*/ 24192 w 35579"/>
                <a:gd name="connsiteY7" fmla="*/ 11915 h 18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9" h="18380">
                  <a:moveTo>
                    <a:pt x="24192" y="11915"/>
                  </a:moveTo>
                  <a:lnTo>
                    <a:pt x="-3362" y="1554"/>
                  </a:lnTo>
                  <a:cubicBezTo>
                    <a:pt x="-5438" y="774"/>
                    <a:pt x="-6487" y="-1535"/>
                    <a:pt x="-5707" y="-3612"/>
                  </a:cubicBezTo>
                  <a:cubicBezTo>
                    <a:pt x="-5089" y="-5248"/>
                    <a:pt x="-3519" y="-6245"/>
                    <a:pt x="-1858" y="-6210"/>
                  </a:cubicBezTo>
                  <a:lnTo>
                    <a:pt x="-546" y="-5951"/>
                  </a:lnTo>
                  <a:lnTo>
                    <a:pt x="27013" y="4410"/>
                  </a:lnTo>
                  <a:cubicBezTo>
                    <a:pt x="29089" y="5190"/>
                    <a:pt x="30137" y="7499"/>
                    <a:pt x="29357" y="9575"/>
                  </a:cubicBezTo>
                  <a:cubicBezTo>
                    <a:pt x="28572" y="11641"/>
                    <a:pt x="26268" y="12690"/>
                    <a:pt x="24192" y="11915"/>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1" name="Freeform: Shape 420">
              <a:extLst>
                <a:ext uri="{FF2B5EF4-FFF2-40B4-BE49-F238E27FC236}">
                  <a16:creationId xmlns:a16="http://schemas.microsoft.com/office/drawing/2014/main" id="{198D78E4-CC0C-BDE9-5522-1D9AA5C64C8D}"/>
                </a:ext>
              </a:extLst>
            </p:cNvPr>
            <p:cNvSpPr/>
            <p:nvPr/>
          </p:nvSpPr>
          <p:spPr>
            <a:xfrm flipV="1">
              <a:off x="5440836" y="3250509"/>
              <a:ext cx="90085" cy="72834"/>
            </a:xfrm>
            <a:custGeom>
              <a:avLst/>
              <a:gdLst>
                <a:gd name="connsiteX0" fmla="*/ -1332 w 90085"/>
                <a:gd name="connsiteY0" fmla="*/ -3103 h 72834"/>
                <a:gd name="connsiteX1" fmla="*/ -5930 w 90085"/>
                <a:gd name="connsiteY1" fmla="*/ -2460 h 72834"/>
                <a:gd name="connsiteX2" fmla="*/ -5793 w 90085"/>
                <a:gd name="connsiteY2" fmla="*/ 22668 h 72834"/>
                <a:gd name="connsiteX3" fmla="*/ -5803 w 90085"/>
                <a:gd name="connsiteY3" fmla="*/ 22749 h 72834"/>
                <a:gd name="connsiteX4" fmla="*/ 60734 w 90085"/>
                <a:gd name="connsiteY4" fmla="*/ 43851 h 72834"/>
                <a:gd name="connsiteX5" fmla="*/ 61165 w 90085"/>
                <a:gd name="connsiteY5" fmla="*/ 42216 h 72834"/>
                <a:gd name="connsiteX6" fmla="*/ 83948 w 90085"/>
                <a:gd name="connsiteY6" fmla="*/ -5721 h 72834"/>
                <a:gd name="connsiteX7" fmla="*/ -1332 w 90085"/>
                <a:gd name="connsiteY7" fmla="*/ -3103 h 72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085" h="72834">
                  <a:moveTo>
                    <a:pt x="-1332" y="-3103"/>
                  </a:moveTo>
                  <a:lnTo>
                    <a:pt x="-5930" y="-2460"/>
                  </a:lnTo>
                  <a:lnTo>
                    <a:pt x="-5793" y="22668"/>
                  </a:lnTo>
                  <a:lnTo>
                    <a:pt x="-5803" y="22749"/>
                  </a:lnTo>
                  <a:cubicBezTo>
                    <a:pt x="-11278" y="106191"/>
                    <a:pt x="60734" y="43851"/>
                    <a:pt x="60734" y="43851"/>
                  </a:cubicBezTo>
                  <a:cubicBezTo>
                    <a:pt x="60876" y="43305"/>
                    <a:pt x="61023" y="42763"/>
                    <a:pt x="61165" y="42216"/>
                  </a:cubicBezTo>
                  <a:cubicBezTo>
                    <a:pt x="66659" y="23068"/>
                    <a:pt x="75476" y="6772"/>
                    <a:pt x="83948" y="-5721"/>
                  </a:cubicBezTo>
                  <a:cubicBezTo>
                    <a:pt x="86030" y="-8739"/>
                    <a:pt x="-1332" y="-3103"/>
                    <a:pt x="-1332" y="-3103"/>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2" name="Freeform: Shape 421">
              <a:extLst>
                <a:ext uri="{FF2B5EF4-FFF2-40B4-BE49-F238E27FC236}">
                  <a16:creationId xmlns:a16="http://schemas.microsoft.com/office/drawing/2014/main" id="{C204BF09-E1EC-5F4B-2AE3-401AE10E8F16}"/>
                </a:ext>
              </a:extLst>
            </p:cNvPr>
            <p:cNvSpPr/>
            <p:nvPr/>
          </p:nvSpPr>
          <p:spPr>
            <a:xfrm flipV="1">
              <a:off x="5471335" y="3274498"/>
              <a:ext cx="59554" cy="47972"/>
            </a:xfrm>
            <a:custGeom>
              <a:avLst/>
              <a:gdLst>
                <a:gd name="connsiteX0" fmla="*/ -6127 w 59554"/>
                <a:gd name="connsiteY0" fmla="*/ 32470 h 47972"/>
                <a:gd name="connsiteX1" fmla="*/ 53428 w 59554"/>
                <a:gd name="connsiteY1" fmla="*/ -6584 h 47972"/>
                <a:gd name="connsiteX2" fmla="*/ 30649 w 59554"/>
                <a:gd name="connsiteY2" fmla="*/ 41388 h 47972"/>
                <a:gd name="connsiteX3" fmla="*/ -6127 w 59554"/>
                <a:gd name="connsiteY3" fmla="*/ 32470 h 47972"/>
              </a:gdLst>
              <a:ahLst/>
              <a:cxnLst>
                <a:cxn ang="0">
                  <a:pos x="connsiteX0" y="connsiteY0"/>
                </a:cxn>
                <a:cxn ang="0">
                  <a:pos x="connsiteX1" y="connsiteY1"/>
                </a:cxn>
                <a:cxn ang="0">
                  <a:pos x="connsiteX2" y="connsiteY2"/>
                </a:cxn>
                <a:cxn ang="0">
                  <a:pos x="connsiteX3" y="connsiteY3"/>
                </a:cxn>
              </a:cxnLst>
              <a:rect l="l" t="t" r="r" b="b"/>
              <a:pathLst>
                <a:path w="59554" h="47972">
                  <a:moveTo>
                    <a:pt x="-6127" y="32470"/>
                  </a:moveTo>
                  <a:lnTo>
                    <a:pt x="53428" y="-6584"/>
                  </a:lnTo>
                  <a:cubicBezTo>
                    <a:pt x="44966" y="5929"/>
                    <a:pt x="36124" y="22205"/>
                    <a:pt x="30649" y="41388"/>
                  </a:cubicBezTo>
                  <a:lnTo>
                    <a:pt x="-6127" y="32470"/>
                  </a:ln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3" name="Freeform: Shape 422">
              <a:extLst>
                <a:ext uri="{FF2B5EF4-FFF2-40B4-BE49-F238E27FC236}">
                  <a16:creationId xmlns:a16="http://schemas.microsoft.com/office/drawing/2014/main" id="{4911CDFE-F2D4-5DDB-336B-F17F44F986DC}"/>
                </a:ext>
              </a:extLst>
            </p:cNvPr>
            <p:cNvSpPr/>
            <p:nvPr/>
          </p:nvSpPr>
          <p:spPr>
            <a:xfrm flipV="1">
              <a:off x="5395105" y="3144430"/>
              <a:ext cx="159030" cy="146358"/>
            </a:xfrm>
            <a:custGeom>
              <a:avLst/>
              <a:gdLst>
                <a:gd name="connsiteX0" fmla="*/ 141290 w 159030"/>
                <a:gd name="connsiteY0" fmla="*/ 6655 h 146358"/>
                <a:gd name="connsiteX1" fmla="*/ 139472 w 159030"/>
                <a:gd name="connsiteY1" fmla="*/ 5040 h 146358"/>
                <a:gd name="connsiteX2" fmla="*/ 114607 w 159030"/>
                <a:gd name="connsiteY2" fmla="*/ -5636 h 146358"/>
                <a:gd name="connsiteX3" fmla="*/ 68959 w 159030"/>
                <a:gd name="connsiteY3" fmla="*/ 168 h 146358"/>
                <a:gd name="connsiteX4" fmla="*/ 64801 w 159030"/>
                <a:gd name="connsiteY4" fmla="*/ 4082 h 146358"/>
                <a:gd name="connsiteX5" fmla="*/ 43436 w 159030"/>
                <a:gd name="connsiteY5" fmla="*/ 19108 h 146358"/>
                <a:gd name="connsiteX6" fmla="*/ -6081 w 159030"/>
                <a:gd name="connsiteY6" fmla="*/ 82116 h 146358"/>
                <a:gd name="connsiteX7" fmla="*/ 56917 w 159030"/>
                <a:gd name="connsiteY7" fmla="*/ 120249 h 146358"/>
                <a:gd name="connsiteX8" fmla="*/ 89965 w 159030"/>
                <a:gd name="connsiteY8" fmla="*/ 139594 h 146358"/>
                <a:gd name="connsiteX9" fmla="*/ 101334 w 159030"/>
                <a:gd name="connsiteY9" fmla="*/ 130265 h 146358"/>
                <a:gd name="connsiteX10" fmla="*/ 110693 w 159030"/>
                <a:gd name="connsiteY10" fmla="*/ 117737 h 146358"/>
                <a:gd name="connsiteX11" fmla="*/ 122659 w 159030"/>
                <a:gd name="connsiteY11" fmla="*/ 87230 h 146358"/>
                <a:gd name="connsiteX12" fmla="*/ 122644 w 159030"/>
                <a:gd name="connsiteY12" fmla="*/ 87175 h 146358"/>
                <a:gd name="connsiteX13" fmla="*/ 122694 w 159030"/>
                <a:gd name="connsiteY13" fmla="*/ 87165 h 146358"/>
                <a:gd name="connsiteX14" fmla="*/ 147696 w 159030"/>
                <a:gd name="connsiteY14" fmla="*/ 65698 h 146358"/>
                <a:gd name="connsiteX15" fmla="*/ 148061 w 159030"/>
                <a:gd name="connsiteY15" fmla="*/ 60071 h 146358"/>
                <a:gd name="connsiteX16" fmla="*/ 141346 w 159030"/>
                <a:gd name="connsiteY16" fmla="*/ 53959 h 146358"/>
                <a:gd name="connsiteX17" fmla="*/ 141290 w 159030"/>
                <a:gd name="connsiteY17" fmla="*/ 6655 h 146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9030" h="146358">
                  <a:moveTo>
                    <a:pt x="141290" y="6655"/>
                  </a:moveTo>
                  <a:cubicBezTo>
                    <a:pt x="140758" y="6098"/>
                    <a:pt x="140115" y="5571"/>
                    <a:pt x="139472" y="5040"/>
                  </a:cubicBezTo>
                  <a:cubicBezTo>
                    <a:pt x="132448" y="-804"/>
                    <a:pt x="123586" y="-4030"/>
                    <a:pt x="114607" y="-5636"/>
                  </a:cubicBezTo>
                  <a:cubicBezTo>
                    <a:pt x="99283" y="-8335"/>
                    <a:pt x="83199" y="-6117"/>
                    <a:pt x="68959" y="168"/>
                  </a:cubicBezTo>
                  <a:cubicBezTo>
                    <a:pt x="67531" y="1373"/>
                    <a:pt x="66123" y="2680"/>
                    <a:pt x="64801" y="4082"/>
                  </a:cubicBezTo>
                  <a:cubicBezTo>
                    <a:pt x="57342" y="8564"/>
                    <a:pt x="50186" y="13598"/>
                    <a:pt x="43436" y="19108"/>
                  </a:cubicBezTo>
                  <a:cubicBezTo>
                    <a:pt x="22480" y="36083"/>
                    <a:pt x="5348" y="57732"/>
                    <a:pt x="-6081" y="82116"/>
                  </a:cubicBezTo>
                  <a:cubicBezTo>
                    <a:pt x="12124" y="98220"/>
                    <a:pt x="33794" y="111321"/>
                    <a:pt x="56917" y="120249"/>
                  </a:cubicBezTo>
                  <a:cubicBezTo>
                    <a:pt x="69987" y="125262"/>
                    <a:pt x="89965" y="139594"/>
                    <a:pt x="89965" y="139594"/>
                  </a:cubicBezTo>
                  <a:cubicBezTo>
                    <a:pt x="91621" y="138849"/>
                    <a:pt x="99810" y="131547"/>
                    <a:pt x="101334" y="130265"/>
                  </a:cubicBezTo>
                  <a:cubicBezTo>
                    <a:pt x="104823" y="127141"/>
                    <a:pt x="107983" y="122669"/>
                    <a:pt x="110693" y="117737"/>
                  </a:cubicBezTo>
                  <a:cubicBezTo>
                    <a:pt x="118111" y="104529"/>
                    <a:pt x="122375" y="88208"/>
                    <a:pt x="122659" y="87230"/>
                  </a:cubicBezTo>
                  <a:lnTo>
                    <a:pt x="122644" y="87175"/>
                  </a:lnTo>
                  <a:lnTo>
                    <a:pt x="122694" y="87165"/>
                  </a:lnTo>
                  <a:lnTo>
                    <a:pt x="147696" y="65698"/>
                  </a:lnTo>
                  <a:cubicBezTo>
                    <a:pt x="149225" y="64189"/>
                    <a:pt x="149327" y="61768"/>
                    <a:pt x="148061" y="60071"/>
                  </a:cubicBezTo>
                  <a:lnTo>
                    <a:pt x="141346" y="53959"/>
                  </a:lnTo>
                  <a:cubicBezTo>
                    <a:pt x="141346" y="53959"/>
                    <a:pt x="167492" y="30482"/>
                    <a:pt x="141290" y="6655"/>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4" name="Freeform: Shape 423">
              <a:extLst>
                <a:ext uri="{FF2B5EF4-FFF2-40B4-BE49-F238E27FC236}">
                  <a16:creationId xmlns:a16="http://schemas.microsoft.com/office/drawing/2014/main" id="{3CBC893B-E099-5D68-F318-028FD1D8905C}"/>
                </a:ext>
              </a:extLst>
            </p:cNvPr>
            <p:cNvSpPr/>
            <p:nvPr/>
          </p:nvSpPr>
          <p:spPr>
            <a:xfrm flipV="1">
              <a:off x="5503223" y="3188822"/>
              <a:ext cx="10594" cy="14913"/>
            </a:xfrm>
            <a:custGeom>
              <a:avLst/>
              <a:gdLst>
                <a:gd name="connsiteX0" fmla="*/ -5227 w 10594"/>
                <a:gd name="connsiteY0" fmla="*/ -1157 h 14913"/>
                <a:gd name="connsiteX1" fmla="*/ 2131 w 10594"/>
                <a:gd name="connsiteY1" fmla="*/ -6591 h 14913"/>
                <a:gd name="connsiteX2" fmla="*/ 3539 w 10594"/>
                <a:gd name="connsiteY2" fmla="*/ 2444 h 14913"/>
                <a:gd name="connsiteX3" fmla="*/ -3819 w 10594"/>
                <a:gd name="connsiteY3" fmla="*/ 7877 h 14913"/>
                <a:gd name="connsiteX4" fmla="*/ -5227 w 10594"/>
                <a:gd name="connsiteY4" fmla="*/ -1157 h 1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4" h="14913">
                  <a:moveTo>
                    <a:pt x="-5227" y="-1157"/>
                  </a:moveTo>
                  <a:cubicBezTo>
                    <a:pt x="-3586" y="-5153"/>
                    <a:pt x="-289" y="-7584"/>
                    <a:pt x="2131" y="-6591"/>
                  </a:cubicBezTo>
                  <a:cubicBezTo>
                    <a:pt x="4552" y="-5593"/>
                    <a:pt x="5185" y="-1547"/>
                    <a:pt x="3539" y="2444"/>
                  </a:cubicBezTo>
                  <a:cubicBezTo>
                    <a:pt x="1899" y="6439"/>
                    <a:pt x="-1393" y="8875"/>
                    <a:pt x="-3819" y="7877"/>
                  </a:cubicBezTo>
                  <a:cubicBezTo>
                    <a:pt x="-6234" y="6885"/>
                    <a:pt x="-6867" y="2838"/>
                    <a:pt x="-5227" y="-1157"/>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5" name="Freeform: Shape 424">
              <a:extLst>
                <a:ext uri="{FF2B5EF4-FFF2-40B4-BE49-F238E27FC236}">
                  <a16:creationId xmlns:a16="http://schemas.microsoft.com/office/drawing/2014/main" id="{219D4D04-D17C-66F9-8241-44374590B4A6}"/>
                </a:ext>
              </a:extLst>
            </p:cNvPr>
            <p:cNvSpPr/>
            <p:nvPr/>
          </p:nvSpPr>
          <p:spPr>
            <a:xfrm flipV="1">
              <a:off x="5488472" y="3167499"/>
              <a:ext cx="14234" cy="24828"/>
            </a:xfrm>
            <a:custGeom>
              <a:avLst/>
              <a:gdLst>
                <a:gd name="connsiteX0" fmla="*/ -5934 w 14234"/>
                <a:gd name="connsiteY0" fmla="*/ -3881 h 24828"/>
                <a:gd name="connsiteX1" fmla="*/ 3278 w 14234"/>
                <a:gd name="connsiteY1" fmla="*/ 17333 h 24828"/>
                <a:gd name="connsiteX2" fmla="*/ 6777 w 14234"/>
                <a:gd name="connsiteY2" fmla="*/ 11869 h 24828"/>
                <a:gd name="connsiteX3" fmla="*/ 553 w 14234"/>
                <a:gd name="connsiteY3" fmla="*/ -3618 h 24828"/>
                <a:gd name="connsiteX4" fmla="*/ -5934 w 14234"/>
                <a:gd name="connsiteY4" fmla="*/ -3881 h 2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34" h="24828">
                  <a:moveTo>
                    <a:pt x="-5934" y="-3881"/>
                  </a:moveTo>
                  <a:cubicBezTo>
                    <a:pt x="-7003" y="4404"/>
                    <a:pt x="-3326" y="12355"/>
                    <a:pt x="3278" y="17333"/>
                  </a:cubicBezTo>
                  <a:cubicBezTo>
                    <a:pt x="6615" y="19850"/>
                    <a:pt x="10094" y="14375"/>
                    <a:pt x="6777" y="11869"/>
                  </a:cubicBezTo>
                  <a:cubicBezTo>
                    <a:pt x="1926" y="8212"/>
                    <a:pt x="-217" y="2328"/>
                    <a:pt x="553" y="-3618"/>
                  </a:cubicBezTo>
                  <a:cubicBezTo>
                    <a:pt x="1085" y="-7755"/>
                    <a:pt x="-5402" y="-8003"/>
                    <a:pt x="-5934" y="-3881"/>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6" name="Freeform: Shape 425">
              <a:extLst>
                <a:ext uri="{FF2B5EF4-FFF2-40B4-BE49-F238E27FC236}">
                  <a16:creationId xmlns:a16="http://schemas.microsoft.com/office/drawing/2014/main" id="{BA3778D3-471E-CF80-9D72-F82DC4E717E1}"/>
                </a:ext>
              </a:extLst>
            </p:cNvPr>
            <p:cNvSpPr/>
            <p:nvPr/>
          </p:nvSpPr>
          <p:spPr>
            <a:xfrm flipV="1">
              <a:off x="5446519" y="3224755"/>
              <a:ext cx="22186" cy="17705"/>
            </a:xfrm>
            <a:custGeom>
              <a:avLst/>
              <a:gdLst>
                <a:gd name="connsiteX0" fmla="*/ 15837 w 22186"/>
                <a:gd name="connsiteY0" fmla="*/ -6290 h 17705"/>
                <a:gd name="connsiteX1" fmla="*/ 14647 w 22186"/>
                <a:gd name="connsiteY1" fmla="*/ -6705 h 17705"/>
                <a:gd name="connsiteX2" fmla="*/ 7785 w 22186"/>
                <a:gd name="connsiteY2" fmla="*/ -2705 h 17705"/>
                <a:gd name="connsiteX3" fmla="*/ 10697 w 22186"/>
                <a:gd name="connsiteY3" fmla="*/ 1848 h 17705"/>
                <a:gd name="connsiteX4" fmla="*/ -4328 w 22186"/>
                <a:gd name="connsiteY4" fmla="*/ 7945 h 17705"/>
                <a:gd name="connsiteX5" fmla="*/ -5954 w 22186"/>
                <a:gd name="connsiteY5" fmla="*/ 8619 h 17705"/>
                <a:gd name="connsiteX6" fmla="*/ -5280 w 22186"/>
                <a:gd name="connsiteY6" fmla="*/ 10250 h 17705"/>
                <a:gd name="connsiteX7" fmla="*/ 12718 w 22186"/>
                <a:gd name="connsiteY7" fmla="*/ 3241 h 17705"/>
                <a:gd name="connsiteX8" fmla="*/ 13138 w 22186"/>
                <a:gd name="connsiteY8" fmla="*/ 1372 h 17705"/>
                <a:gd name="connsiteX9" fmla="*/ 12069 w 22186"/>
                <a:gd name="connsiteY9" fmla="*/ -243 h 17705"/>
                <a:gd name="connsiteX10" fmla="*/ 10241 w 22186"/>
                <a:gd name="connsiteY10" fmla="*/ -2223 h 17705"/>
                <a:gd name="connsiteX11" fmla="*/ 15128 w 22186"/>
                <a:gd name="connsiteY11" fmla="*/ -4259 h 17705"/>
                <a:gd name="connsiteX12" fmla="*/ 16111 w 22186"/>
                <a:gd name="connsiteY12" fmla="*/ -5723 h 17705"/>
                <a:gd name="connsiteX13" fmla="*/ 15837 w 22186"/>
                <a:gd name="connsiteY13" fmla="*/ -6290 h 1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186" h="17705">
                  <a:moveTo>
                    <a:pt x="15837" y="-6290"/>
                  </a:moveTo>
                  <a:cubicBezTo>
                    <a:pt x="15559" y="-6624"/>
                    <a:pt x="15108" y="-6796"/>
                    <a:pt x="14647" y="-6705"/>
                  </a:cubicBezTo>
                  <a:cubicBezTo>
                    <a:pt x="10338" y="-5864"/>
                    <a:pt x="8160" y="-4593"/>
                    <a:pt x="7785" y="-2705"/>
                  </a:cubicBezTo>
                  <a:cubicBezTo>
                    <a:pt x="7578" y="-1641"/>
                    <a:pt x="7917" y="10"/>
                    <a:pt x="10697" y="1848"/>
                  </a:cubicBezTo>
                  <a:cubicBezTo>
                    <a:pt x="3906" y="11202"/>
                    <a:pt x="-4247" y="7976"/>
                    <a:pt x="-4328" y="7945"/>
                  </a:cubicBezTo>
                  <a:cubicBezTo>
                    <a:pt x="-4966" y="7677"/>
                    <a:pt x="-5695" y="7981"/>
                    <a:pt x="-5954" y="8619"/>
                  </a:cubicBezTo>
                  <a:cubicBezTo>
                    <a:pt x="-6222" y="9257"/>
                    <a:pt x="-5923" y="9986"/>
                    <a:pt x="-5280" y="10250"/>
                  </a:cubicBezTo>
                  <a:cubicBezTo>
                    <a:pt x="-5179" y="10295"/>
                    <a:pt x="4797" y="14245"/>
                    <a:pt x="12718" y="3241"/>
                  </a:cubicBezTo>
                  <a:cubicBezTo>
                    <a:pt x="13103" y="2709"/>
                    <a:pt x="13255" y="2025"/>
                    <a:pt x="13138" y="1372"/>
                  </a:cubicBezTo>
                  <a:cubicBezTo>
                    <a:pt x="13017" y="709"/>
                    <a:pt x="12627" y="131"/>
                    <a:pt x="12069" y="-243"/>
                  </a:cubicBezTo>
                  <a:cubicBezTo>
                    <a:pt x="10631" y="-1190"/>
                    <a:pt x="10186" y="-1955"/>
                    <a:pt x="10241" y="-2223"/>
                  </a:cubicBezTo>
                  <a:cubicBezTo>
                    <a:pt x="10252" y="-2269"/>
                    <a:pt x="10510" y="-3353"/>
                    <a:pt x="15128" y="-4259"/>
                  </a:cubicBezTo>
                  <a:cubicBezTo>
                    <a:pt x="15802" y="-4391"/>
                    <a:pt x="16242" y="-5044"/>
                    <a:pt x="16111" y="-5723"/>
                  </a:cubicBezTo>
                  <a:lnTo>
                    <a:pt x="15837" y="-6290"/>
                  </a:lnTo>
                </a:path>
              </a:pathLst>
            </a:custGeom>
            <a:solidFill>
              <a:srgbClr val="E8E4E2">
                <a:lumMod val="5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7" name="Freeform: Shape 426">
              <a:extLst>
                <a:ext uri="{FF2B5EF4-FFF2-40B4-BE49-F238E27FC236}">
                  <a16:creationId xmlns:a16="http://schemas.microsoft.com/office/drawing/2014/main" id="{A815255C-587A-C9D7-8A9A-AD58951EF85B}"/>
                </a:ext>
              </a:extLst>
            </p:cNvPr>
            <p:cNvSpPr/>
            <p:nvPr/>
          </p:nvSpPr>
          <p:spPr>
            <a:xfrm flipV="1">
              <a:off x="5454629" y="3254560"/>
              <a:ext cx="21588" cy="8618"/>
            </a:xfrm>
            <a:custGeom>
              <a:avLst/>
              <a:gdLst>
                <a:gd name="connsiteX0" fmla="*/ 15523 w 21588"/>
                <a:gd name="connsiteY0" fmla="*/ 1945 h 8618"/>
                <a:gd name="connsiteX1" fmla="*/ -6065 w 21588"/>
                <a:gd name="connsiteY1" fmla="*/ -4912 h 8618"/>
                <a:gd name="connsiteX2" fmla="*/ -733 w 21588"/>
                <a:gd name="connsiteY2" fmla="*/ 56 h 8618"/>
                <a:gd name="connsiteX3" fmla="*/ 15523 w 21588"/>
                <a:gd name="connsiteY3" fmla="*/ 1945 h 8618"/>
              </a:gdLst>
              <a:ahLst/>
              <a:cxnLst>
                <a:cxn ang="0">
                  <a:pos x="connsiteX0" y="connsiteY0"/>
                </a:cxn>
                <a:cxn ang="0">
                  <a:pos x="connsiteX1" y="connsiteY1"/>
                </a:cxn>
                <a:cxn ang="0">
                  <a:pos x="connsiteX2" y="connsiteY2"/>
                </a:cxn>
                <a:cxn ang="0">
                  <a:pos x="connsiteX3" y="connsiteY3"/>
                </a:cxn>
              </a:cxnLst>
              <a:rect l="l" t="t" r="r" b="b"/>
              <a:pathLst>
                <a:path w="21588" h="8618">
                  <a:moveTo>
                    <a:pt x="15523" y="1945"/>
                  </a:moveTo>
                  <a:cubicBezTo>
                    <a:pt x="14328" y="-2526"/>
                    <a:pt x="7856" y="-10128"/>
                    <a:pt x="-6065" y="-4912"/>
                  </a:cubicBezTo>
                  <a:cubicBezTo>
                    <a:pt x="-6065" y="-4912"/>
                    <a:pt x="-5372" y="522"/>
                    <a:pt x="-733" y="56"/>
                  </a:cubicBezTo>
                  <a:cubicBezTo>
                    <a:pt x="-733" y="56"/>
                    <a:pt x="13356" y="-2405"/>
                    <a:pt x="15523" y="1945"/>
                  </a:cubicBezTo>
                </a:path>
              </a:pathLst>
            </a:custGeom>
            <a:solidFill>
              <a:srgbClr val="E8E4E2">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8" name="Freeform: Shape 427">
              <a:extLst>
                <a:ext uri="{FF2B5EF4-FFF2-40B4-BE49-F238E27FC236}">
                  <a16:creationId xmlns:a16="http://schemas.microsoft.com/office/drawing/2014/main" id="{A3E170E2-E2B4-1E89-4C66-8379941C920E}"/>
                </a:ext>
              </a:extLst>
            </p:cNvPr>
            <p:cNvSpPr/>
            <p:nvPr/>
          </p:nvSpPr>
          <p:spPr>
            <a:xfrm flipV="1">
              <a:off x="5513051" y="3244779"/>
              <a:ext cx="24947" cy="19270"/>
            </a:xfrm>
            <a:custGeom>
              <a:avLst/>
              <a:gdLst>
                <a:gd name="connsiteX0" fmla="*/ -3436 w 24947"/>
                <a:gd name="connsiteY0" fmla="*/ 10873 h 19270"/>
                <a:gd name="connsiteX1" fmla="*/ 16031 w 24947"/>
                <a:gd name="connsiteY1" fmla="*/ 12159 h 19270"/>
                <a:gd name="connsiteX2" fmla="*/ 18472 w 24947"/>
                <a:gd name="connsiteY2" fmla="*/ 9885 h 19270"/>
                <a:gd name="connsiteX3" fmla="*/ -5983 w 24947"/>
                <a:gd name="connsiteY3" fmla="*/ 8295 h 19270"/>
                <a:gd name="connsiteX4" fmla="*/ -3436 w 24947"/>
                <a:gd name="connsiteY4" fmla="*/ 10873 h 19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7" h="19270">
                  <a:moveTo>
                    <a:pt x="-3436" y="10873"/>
                  </a:moveTo>
                  <a:cubicBezTo>
                    <a:pt x="924" y="8523"/>
                    <a:pt x="8576" y="6118"/>
                    <a:pt x="16031" y="12159"/>
                  </a:cubicBezTo>
                  <a:cubicBezTo>
                    <a:pt x="17509" y="13359"/>
                    <a:pt x="18031" y="11855"/>
                    <a:pt x="18472" y="9885"/>
                  </a:cubicBezTo>
                  <a:cubicBezTo>
                    <a:pt x="20791" y="-516"/>
                    <a:pt x="9716" y="-20682"/>
                    <a:pt x="-5983" y="8295"/>
                  </a:cubicBezTo>
                  <a:cubicBezTo>
                    <a:pt x="-6788" y="9779"/>
                    <a:pt x="-4788" y="11602"/>
                    <a:pt x="-3436" y="10873"/>
                  </a:cubicBezTo>
                </a:path>
              </a:pathLst>
            </a:custGeom>
            <a:solidFill>
              <a:srgbClr val="FFFFFF"/>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9" name="Freeform: Shape 428">
              <a:extLst>
                <a:ext uri="{FF2B5EF4-FFF2-40B4-BE49-F238E27FC236}">
                  <a16:creationId xmlns:a16="http://schemas.microsoft.com/office/drawing/2014/main" id="{24DB1792-9ECB-D952-81E9-6B20593943AB}"/>
                </a:ext>
              </a:extLst>
            </p:cNvPr>
            <p:cNvSpPr/>
            <p:nvPr/>
          </p:nvSpPr>
          <p:spPr>
            <a:xfrm flipV="1">
              <a:off x="5378443" y="3103466"/>
              <a:ext cx="124880" cy="186714"/>
            </a:xfrm>
            <a:custGeom>
              <a:avLst/>
              <a:gdLst>
                <a:gd name="connsiteX0" fmla="*/ 108269 w 124880"/>
                <a:gd name="connsiteY0" fmla="*/ 178703 h 186714"/>
                <a:gd name="connsiteX1" fmla="*/ 100527 w 124880"/>
                <a:gd name="connsiteY1" fmla="*/ 178530 h 186714"/>
                <a:gd name="connsiteX2" fmla="*/ 78016 w 124880"/>
                <a:gd name="connsiteY2" fmla="*/ 169096 h 186714"/>
                <a:gd name="connsiteX3" fmla="*/ 49277 w 124880"/>
                <a:gd name="connsiteY3" fmla="*/ 164513 h 186714"/>
                <a:gd name="connsiteX4" fmla="*/ 24843 w 124880"/>
                <a:gd name="connsiteY4" fmla="*/ 149812 h 186714"/>
                <a:gd name="connsiteX5" fmla="*/ 22442 w 124880"/>
                <a:gd name="connsiteY5" fmla="*/ 145689 h 186714"/>
                <a:gd name="connsiteX6" fmla="*/ 20002 w 124880"/>
                <a:gd name="connsiteY6" fmla="*/ 150101 h 186714"/>
                <a:gd name="connsiteX7" fmla="*/ 14791 w 124880"/>
                <a:gd name="connsiteY7" fmla="*/ 149640 h 186714"/>
                <a:gd name="connsiteX8" fmla="*/ 16477 w 124880"/>
                <a:gd name="connsiteY8" fmla="*/ 114029 h 186714"/>
                <a:gd name="connsiteX9" fmla="*/ -3298 w 124880"/>
                <a:gd name="connsiteY9" fmla="*/ 92481 h 186714"/>
                <a:gd name="connsiteX10" fmla="*/ -67 w 124880"/>
                <a:gd name="connsiteY10" fmla="*/ 88612 h 186714"/>
                <a:gd name="connsiteX11" fmla="*/ 2738 w 124880"/>
                <a:gd name="connsiteY11" fmla="*/ 89331 h 186714"/>
                <a:gd name="connsiteX12" fmla="*/ 1477 w 124880"/>
                <a:gd name="connsiteY12" fmla="*/ 87766 h 186714"/>
                <a:gd name="connsiteX13" fmla="*/ -5750 w 124880"/>
                <a:gd name="connsiteY13" fmla="*/ 63585 h 186714"/>
                <a:gd name="connsiteX14" fmla="*/ 11342 w 124880"/>
                <a:gd name="connsiteY14" fmla="*/ 37489 h 186714"/>
                <a:gd name="connsiteX15" fmla="*/ 56443 w 124880"/>
                <a:gd name="connsiteY15" fmla="*/ -6812 h 186714"/>
                <a:gd name="connsiteX16" fmla="*/ 75819 w 124880"/>
                <a:gd name="connsiteY16" fmla="*/ 26814 h 186714"/>
                <a:gd name="connsiteX17" fmla="*/ 61284 w 124880"/>
                <a:gd name="connsiteY17" fmla="*/ 35459 h 186714"/>
                <a:gd name="connsiteX18" fmla="*/ 54934 w 124880"/>
                <a:gd name="connsiteY18" fmla="*/ 50489 h 186714"/>
                <a:gd name="connsiteX19" fmla="*/ 63867 w 124880"/>
                <a:gd name="connsiteY19" fmla="*/ 63534 h 186714"/>
                <a:gd name="connsiteX20" fmla="*/ 80949 w 124880"/>
                <a:gd name="connsiteY20" fmla="*/ 62000 h 186714"/>
                <a:gd name="connsiteX21" fmla="*/ 73925 w 124880"/>
                <a:gd name="connsiteY21" fmla="*/ 113051 h 186714"/>
                <a:gd name="connsiteX22" fmla="*/ 103296 w 124880"/>
                <a:gd name="connsiteY22" fmla="*/ 127180 h 186714"/>
                <a:gd name="connsiteX23" fmla="*/ 118798 w 124880"/>
                <a:gd name="connsiteY23" fmla="*/ 154744 h 186714"/>
                <a:gd name="connsiteX24" fmla="*/ 108269 w 124880"/>
                <a:gd name="connsiteY24" fmla="*/ 178703 h 1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4880" h="186714">
                  <a:moveTo>
                    <a:pt x="108269" y="178703"/>
                  </a:moveTo>
                  <a:cubicBezTo>
                    <a:pt x="106001" y="180399"/>
                    <a:pt x="102780" y="180257"/>
                    <a:pt x="100527" y="178530"/>
                  </a:cubicBezTo>
                  <a:cubicBezTo>
                    <a:pt x="94024" y="173542"/>
                    <a:pt x="86160" y="170585"/>
                    <a:pt x="78016" y="169096"/>
                  </a:cubicBezTo>
                  <a:cubicBezTo>
                    <a:pt x="68470" y="167354"/>
                    <a:pt x="58697" y="166848"/>
                    <a:pt x="49277" y="164513"/>
                  </a:cubicBezTo>
                  <a:cubicBezTo>
                    <a:pt x="39853" y="162173"/>
                    <a:pt x="30500" y="157697"/>
                    <a:pt x="24843" y="149812"/>
                  </a:cubicBezTo>
                  <a:cubicBezTo>
                    <a:pt x="23911" y="148510"/>
                    <a:pt x="23146" y="147113"/>
                    <a:pt x="22442" y="145689"/>
                  </a:cubicBezTo>
                  <a:lnTo>
                    <a:pt x="20002" y="150101"/>
                  </a:lnTo>
                  <a:cubicBezTo>
                    <a:pt x="18812" y="152258"/>
                    <a:pt x="15566" y="151979"/>
                    <a:pt x="14791" y="149640"/>
                  </a:cubicBezTo>
                  <a:cubicBezTo>
                    <a:pt x="9635" y="134052"/>
                    <a:pt x="13130" y="121356"/>
                    <a:pt x="16477" y="114029"/>
                  </a:cubicBezTo>
                  <a:cubicBezTo>
                    <a:pt x="16477" y="114029"/>
                    <a:pt x="3882" y="108261"/>
                    <a:pt x="-3298" y="92481"/>
                  </a:cubicBezTo>
                  <a:cubicBezTo>
                    <a:pt x="-4266" y="90359"/>
                    <a:pt x="-2321" y="88034"/>
                    <a:pt x="-67" y="88612"/>
                  </a:cubicBezTo>
                  <a:lnTo>
                    <a:pt x="2738" y="89331"/>
                  </a:lnTo>
                  <a:cubicBezTo>
                    <a:pt x="2328" y="88809"/>
                    <a:pt x="1862" y="88283"/>
                    <a:pt x="1477" y="87766"/>
                  </a:cubicBezTo>
                  <a:cubicBezTo>
                    <a:pt x="-3683" y="80838"/>
                    <a:pt x="-7031" y="72123"/>
                    <a:pt x="-5750" y="63585"/>
                  </a:cubicBezTo>
                  <a:cubicBezTo>
                    <a:pt x="-4180" y="53107"/>
                    <a:pt x="3786" y="44913"/>
                    <a:pt x="11342" y="37489"/>
                  </a:cubicBezTo>
                  <a:cubicBezTo>
                    <a:pt x="26377" y="22722"/>
                    <a:pt x="41408" y="7955"/>
                    <a:pt x="56443" y="-6812"/>
                  </a:cubicBezTo>
                  <a:cubicBezTo>
                    <a:pt x="59132" y="6254"/>
                    <a:pt x="65716" y="18099"/>
                    <a:pt x="75819" y="26814"/>
                  </a:cubicBezTo>
                  <a:cubicBezTo>
                    <a:pt x="70562" y="28723"/>
                    <a:pt x="65199" y="31463"/>
                    <a:pt x="61284" y="35459"/>
                  </a:cubicBezTo>
                  <a:cubicBezTo>
                    <a:pt x="57365" y="39449"/>
                    <a:pt x="54716" y="44898"/>
                    <a:pt x="54934" y="50489"/>
                  </a:cubicBezTo>
                  <a:cubicBezTo>
                    <a:pt x="55157" y="56075"/>
                    <a:pt x="58606" y="61635"/>
                    <a:pt x="63867" y="63534"/>
                  </a:cubicBezTo>
                  <a:cubicBezTo>
                    <a:pt x="69256" y="65484"/>
                    <a:pt x="75581" y="63990"/>
                    <a:pt x="80949" y="62000"/>
                  </a:cubicBezTo>
                  <a:cubicBezTo>
                    <a:pt x="80949" y="62000"/>
                    <a:pt x="95052" y="90673"/>
                    <a:pt x="73925" y="113051"/>
                  </a:cubicBezTo>
                  <a:cubicBezTo>
                    <a:pt x="84387" y="115897"/>
                    <a:pt x="94870" y="120354"/>
                    <a:pt x="103296" y="127180"/>
                  </a:cubicBezTo>
                  <a:cubicBezTo>
                    <a:pt x="111728" y="134012"/>
                    <a:pt x="118079" y="143922"/>
                    <a:pt x="118798" y="154744"/>
                  </a:cubicBezTo>
                  <a:cubicBezTo>
                    <a:pt x="119395" y="163819"/>
                    <a:pt x="115440" y="173340"/>
                    <a:pt x="108269" y="178703"/>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0" name="Freeform: Shape 429">
              <a:extLst>
                <a:ext uri="{FF2B5EF4-FFF2-40B4-BE49-F238E27FC236}">
                  <a16:creationId xmlns:a16="http://schemas.microsoft.com/office/drawing/2014/main" id="{18C935CE-03BF-8FBE-902A-A383685C54B2}"/>
                </a:ext>
              </a:extLst>
            </p:cNvPr>
            <p:cNvSpPr/>
            <p:nvPr/>
          </p:nvSpPr>
          <p:spPr>
            <a:xfrm flipV="1">
              <a:off x="5460665" y="3175217"/>
              <a:ext cx="65655" cy="46036"/>
            </a:xfrm>
            <a:custGeom>
              <a:avLst/>
              <a:gdLst>
                <a:gd name="connsiteX0" fmla="*/ 56834 w 65655"/>
                <a:gd name="connsiteY0" fmla="*/ 8966 h 46036"/>
                <a:gd name="connsiteX1" fmla="*/ 48103 w 65655"/>
                <a:gd name="connsiteY1" fmla="*/ -2717 h 46036"/>
                <a:gd name="connsiteX2" fmla="*/ 33534 w 65655"/>
                <a:gd name="connsiteY2" fmla="*/ -3405 h 46036"/>
                <a:gd name="connsiteX3" fmla="*/ 21521 w 65655"/>
                <a:gd name="connsiteY3" fmla="*/ 7432 h 46036"/>
                <a:gd name="connsiteX4" fmla="*/ 19278 w 65655"/>
                <a:gd name="connsiteY4" fmla="*/ 23450 h 46036"/>
                <a:gd name="connsiteX5" fmla="*/ 28003 w 65655"/>
                <a:gd name="connsiteY5" fmla="*/ 35133 h 46036"/>
                <a:gd name="connsiteX6" fmla="*/ 35473 w 65655"/>
                <a:gd name="connsiteY6" fmla="*/ 37077 h 46036"/>
                <a:gd name="connsiteX7" fmla="*/ 42568 w 65655"/>
                <a:gd name="connsiteY7" fmla="*/ 35826 h 46036"/>
                <a:gd name="connsiteX8" fmla="*/ 54585 w 65655"/>
                <a:gd name="connsiteY8" fmla="*/ 24984 h 46036"/>
                <a:gd name="connsiteX9" fmla="*/ 56834 w 65655"/>
                <a:gd name="connsiteY9" fmla="*/ 8966 h 46036"/>
                <a:gd name="connsiteX10" fmla="*/ 56469 w 65655"/>
                <a:gd name="connsiteY10" fmla="*/ 25987 h 46036"/>
                <a:gd name="connsiteX11" fmla="*/ 43328 w 65655"/>
                <a:gd name="connsiteY11" fmla="*/ 37822 h 46036"/>
                <a:gd name="connsiteX12" fmla="*/ 27001 w 65655"/>
                <a:gd name="connsiteY12" fmla="*/ 37022 h 46036"/>
                <a:gd name="connsiteX13" fmla="*/ 17192 w 65655"/>
                <a:gd name="connsiteY13" fmla="*/ 23946 h 46036"/>
                <a:gd name="connsiteX14" fmla="*/ 17293 w 65655"/>
                <a:gd name="connsiteY14" fmla="*/ 12962 h 46036"/>
                <a:gd name="connsiteX15" fmla="*/ -6113 w 65655"/>
                <a:gd name="connsiteY15" fmla="*/ -5507 h 46036"/>
                <a:gd name="connsiteX16" fmla="*/ -4017 w 65655"/>
                <a:gd name="connsiteY16" fmla="*/ -5917 h 46036"/>
                <a:gd name="connsiteX17" fmla="*/ 17774 w 65655"/>
                <a:gd name="connsiteY17" fmla="*/ 10881 h 46036"/>
                <a:gd name="connsiteX18" fmla="*/ 19632 w 65655"/>
                <a:gd name="connsiteY18" fmla="*/ 6429 h 46036"/>
                <a:gd name="connsiteX19" fmla="*/ 32779 w 65655"/>
                <a:gd name="connsiteY19" fmla="*/ -5401 h 46036"/>
                <a:gd name="connsiteX20" fmla="*/ 40684 w 65655"/>
                <a:gd name="connsiteY20" fmla="*/ -6803 h 46036"/>
                <a:gd name="connsiteX21" fmla="*/ 49106 w 65655"/>
                <a:gd name="connsiteY21" fmla="*/ -4605 h 46036"/>
                <a:gd name="connsiteX22" fmla="*/ 58910 w 65655"/>
                <a:gd name="connsiteY22" fmla="*/ 8475 h 46036"/>
                <a:gd name="connsiteX23" fmla="*/ 56469 w 65655"/>
                <a:gd name="connsiteY23" fmla="*/ 25987 h 4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655" h="46036">
                  <a:moveTo>
                    <a:pt x="56834" y="8966"/>
                  </a:moveTo>
                  <a:cubicBezTo>
                    <a:pt x="55593" y="3765"/>
                    <a:pt x="52494" y="-387"/>
                    <a:pt x="48103" y="-2717"/>
                  </a:cubicBezTo>
                  <a:cubicBezTo>
                    <a:pt x="43718" y="-5051"/>
                    <a:pt x="38532" y="-5294"/>
                    <a:pt x="33534" y="-3405"/>
                  </a:cubicBezTo>
                  <a:cubicBezTo>
                    <a:pt x="28485" y="-1496"/>
                    <a:pt x="24215" y="2353"/>
                    <a:pt x="21521" y="7432"/>
                  </a:cubicBezTo>
                  <a:cubicBezTo>
                    <a:pt x="18827" y="12511"/>
                    <a:pt x="18032" y="18198"/>
                    <a:pt x="19278" y="23450"/>
                  </a:cubicBezTo>
                  <a:cubicBezTo>
                    <a:pt x="20514" y="28656"/>
                    <a:pt x="23613" y="32803"/>
                    <a:pt x="28003" y="35133"/>
                  </a:cubicBezTo>
                  <a:cubicBezTo>
                    <a:pt x="30323" y="36368"/>
                    <a:pt x="32855" y="37017"/>
                    <a:pt x="35473" y="37077"/>
                  </a:cubicBezTo>
                  <a:cubicBezTo>
                    <a:pt x="37808" y="37133"/>
                    <a:pt x="40208" y="36713"/>
                    <a:pt x="42568" y="35826"/>
                  </a:cubicBezTo>
                  <a:cubicBezTo>
                    <a:pt x="47622" y="33912"/>
                    <a:pt x="51886" y="30064"/>
                    <a:pt x="54585" y="24984"/>
                  </a:cubicBezTo>
                  <a:cubicBezTo>
                    <a:pt x="57279" y="19910"/>
                    <a:pt x="58079" y="14218"/>
                    <a:pt x="56834" y="8966"/>
                  </a:cubicBezTo>
                  <a:close/>
                  <a:moveTo>
                    <a:pt x="56469" y="25987"/>
                  </a:moveTo>
                  <a:cubicBezTo>
                    <a:pt x="53532" y="31527"/>
                    <a:pt x="48863" y="35730"/>
                    <a:pt x="43328" y="37822"/>
                  </a:cubicBezTo>
                  <a:cubicBezTo>
                    <a:pt x="37737" y="39944"/>
                    <a:pt x="31943" y="39655"/>
                    <a:pt x="27001" y="37022"/>
                  </a:cubicBezTo>
                  <a:cubicBezTo>
                    <a:pt x="22053" y="34403"/>
                    <a:pt x="18574" y="29755"/>
                    <a:pt x="17192" y="23946"/>
                  </a:cubicBezTo>
                  <a:cubicBezTo>
                    <a:pt x="16341" y="20371"/>
                    <a:pt x="16457" y="16623"/>
                    <a:pt x="17293" y="12962"/>
                  </a:cubicBezTo>
                  <a:cubicBezTo>
                    <a:pt x="12857" y="12228"/>
                    <a:pt x="-3369" y="8586"/>
                    <a:pt x="-6113" y="-5507"/>
                  </a:cubicBezTo>
                  <a:lnTo>
                    <a:pt x="-4017" y="-5917"/>
                  </a:lnTo>
                  <a:cubicBezTo>
                    <a:pt x="-1495" y="7012"/>
                    <a:pt x="13930" y="10268"/>
                    <a:pt x="17774" y="10881"/>
                  </a:cubicBezTo>
                  <a:cubicBezTo>
                    <a:pt x="18255" y="9366"/>
                    <a:pt x="18868" y="7873"/>
                    <a:pt x="19632" y="6429"/>
                  </a:cubicBezTo>
                  <a:cubicBezTo>
                    <a:pt x="22575" y="889"/>
                    <a:pt x="27239" y="-3309"/>
                    <a:pt x="32779" y="-5401"/>
                  </a:cubicBezTo>
                  <a:cubicBezTo>
                    <a:pt x="35402" y="-6398"/>
                    <a:pt x="38076" y="-6864"/>
                    <a:pt x="40684" y="-6803"/>
                  </a:cubicBezTo>
                  <a:cubicBezTo>
                    <a:pt x="43626" y="-6733"/>
                    <a:pt x="46487" y="-5998"/>
                    <a:pt x="49106" y="-4605"/>
                  </a:cubicBezTo>
                  <a:cubicBezTo>
                    <a:pt x="54048" y="-1987"/>
                    <a:pt x="57527" y="2662"/>
                    <a:pt x="58910" y="8475"/>
                  </a:cubicBezTo>
                  <a:cubicBezTo>
                    <a:pt x="60277" y="14228"/>
                    <a:pt x="59411" y="20452"/>
                    <a:pt x="56469" y="25987"/>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1" name="Freeform: Shape 430">
              <a:extLst>
                <a:ext uri="{FF2B5EF4-FFF2-40B4-BE49-F238E27FC236}">
                  <a16:creationId xmlns:a16="http://schemas.microsoft.com/office/drawing/2014/main" id="{1C39C105-FF27-C5E5-4CB7-25125E2D9696}"/>
                </a:ext>
              </a:extLst>
            </p:cNvPr>
            <p:cNvSpPr/>
            <p:nvPr/>
          </p:nvSpPr>
          <p:spPr>
            <a:xfrm flipV="1">
              <a:off x="5530918" y="3323098"/>
              <a:ext cx="97679" cy="370861"/>
            </a:xfrm>
            <a:custGeom>
              <a:avLst/>
              <a:gdLst>
                <a:gd name="connsiteX0" fmla="*/ 821 w 97679"/>
                <a:gd name="connsiteY0" fmla="*/ 364748 h 370861"/>
                <a:gd name="connsiteX1" fmla="*/ 12296 w 97679"/>
                <a:gd name="connsiteY1" fmla="*/ 323809 h 370861"/>
                <a:gd name="connsiteX2" fmla="*/ 91307 w 97679"/>
                <a:gd name="connsiteY2" fmla="*/ 29882 h 370861"/>
                <a:gd name="connsiteX3" fmla="*/ 66741 w 97679"/>
                <a:gd name="connsiteY3" fmla="*/ -6114 h 370861"/>
                <a:gd name="connsiteX4" fmla="*/ 26390 w 97679"/>
                <a:gd name="connsiteY4" fmla="*/ 27041 h 370861"/>
                <a:gd name="connsiteX5" fmla="*/ 3540 w 97679"/>
                <a:gd name="connsiteY5" fmla="*/ 320477 h 370861"/>
                <a:gd name="connsiteX6" fmla="*/ 821 w 97679"/>
                <a:gd name="connsiteY6" fmla="*/ 364748 h 370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79" h="370861">
                  <a:moveTo>
                    <a:pt x="821" y="364748"/>
                  </a:moveTo>
                  <a:cubicBezTo>
                    <a:pt x="821" y="364748"/>
                    <a:pt x="20323" y="352386"/>
                    <a:pt x="12296" y="323809"/>
                  </a:cubicBezTo>
                  <a:cubicBezTo>
                    <a:pt x="12296" y="323809"/>
                    <a:pt x="94862" y="222476"/>
                    <a:pt x="91307" y="29882"/>
                  </a:cubicBezTo>
                  <a:lnTo>
                    <a:pt x="66741" y="-6114"/>
                  </a:lnTo>
                  <a:lnTo>
                    <a:pt x="26390" y="27041"/>
                  </a:lnTo>
                  <a:cubicBezTo>
                    <a:pt x="26390" y="27041"/>
                    <a:pt x="71096" y="225651"/>
                    <a:pt x="3540" y="320477"/>
                  </a:cubicBezTo>
                  <a:cubicBezTo>
                    <a:pt x="3540" y="320477"/>
                    <a:pt x="-16570" y="343706"/>
                    <a:pt x="821" y="364748"/>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2" name="Freeform: Shape 431">
              <a:extLst>
                <a:ext uri="{FF2B5EF4-FFF2-40B4-BE49-F238E27FC236}">
                  <a16:creationId xmlns:a16="http://schemas.microsoft.com/office/drawing/2014/main" id="{C75F792F-78B3-36ED-5154-BFDD29BD5442}"/>
                </a:ext>
              </a:extLst>
            </p:cNvPr>
            <p:cNvSpPr/>
            <p:nvPr/>
          </p:nvSpPr>
          <p:spPr>
            <a:xfrm flipV="1">
              <a:off x="5436605" y="3314818"/>
              <a:ext cx="101201" cy="47007"/>
            </a:xfrm>
            <a:custGeom>
              <a:avLst/>
              <a:gdLst>
                <a:gd name="connsiteX0" fmla="*/ -6103 w 101201"/>
                <a:gd name="connsiteY0" fmla="*/ 39753 h 47007"/>
                <a:gd name="connsiteX1" fmla="*/ 95099 w 101201"/>
                <a:gd name="connsiteY1" fmla="*/ 40513 h 47007"/>
                <a:gd name="connsiteX2" fmla="*/ 90060 w 101201"/>
                <a:gd name="connsiteY2" fmla="*/ -6472 h 47007"/>
                <a:gd name="connsiteX3" fmla="*/ -5257 w 101201"/>
                <a:gd name="connsiteY3" fmla="*/ 17592 h 47007"/>
                <a:gd name="connsiteX4" fmla="*/ -6103 w 101201"/>
                <a:gd name="connsiteY4" fmla="*/ 39753 h 47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01" h="47007">
                  <a:moveTo>
                    <a:pt x="-6103" y="39753"/>
                  </a:moveTo>
                  <a:lnTo>
                    <a:pt x="95099" y="40513"/>
                  </a:lnTo>
                  <a:cubicBezTo>
                    <a:pt x="95099" y="40513"/>
                    <a:pt x="90080" y="-7688"/>
                    <a:pt x="90060" y="-6472"/>
                  </a:cubicBezTo>
                  <a:cubicBezTo>
                    <a:pt x="90045" y="-5257"/>
                    <a:pt x="-5257" y="17592"/>
                    <a:pt x="-5257" y="17592"/>
                  </a:cubicBezTo>
                  <a:lnTo>
                    <a:pt x="-6103" y="39753"/>
                  </a:ln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3" name="Freeform: Shape 432">
              <a:extLst>
                <a:ext uri="{FF2B5EF4-FFF2-40B4-BE49-F238E27FC236}">
                  <a16:creationId xmlns:a16="http://schemas.microsoft.com/office/drawing/2014/main" id="{FC85D7A5-02CD-58C2-2099-92A8BF81BB9E}"/>
                </a:ext>
              </a:extLst>
            </p:cNvPr>
            <p:cNvSpPr/>
            <p:nvPr/>
          </p:nvSpPr>
          <p:spPr>
            <a:xfrm flipV="1">
              <a:off x="5188577" y="4701418"/>
              <a:ext cx="133866" cy="170084"/>
            </a:xfrm>
            <a:custGeom>
              <a:avLst/>
              <a:gdLst>
                <a:gd name="connsiteX0" fmla="*/ 115314 w 133866"/>
                <a:gd name="connsiteY0" fmla="*/ 113 h 170084"/>
                <a:gd name="connsiteX1" fmla="*/ 23152 w 133866"/>
                <a:gd name="connsiteY1" fmla="*/ -3254 h 170084"/>
                <a:gd name="connsiteX2" fmla="*/ -5415 w 133866"/>
                <a:gd name="connsiteY2" fmla="*/ 29450 h 170084"/>
                <a:gd name="connsiteX3" fmla="*/ -1 w 133866"/>
                <a:gd name="connsiteY3" fmla="*/ 51925 h 170084"/>
                <a:gd name="connsiteX4" fmla="*/ 29396 w 133866"/>
                <a:gd name="connsiteY4" fmla="*/ 165336 h 170084"/>
                <a:gd name="connsiteX5" fmla="*/ 94121 w 133866"/>
                <a:gd name="connsiteY5" fmla="*/ 166830 h 170084"/>
                <a:gd name="connsiteX6" fmla="*/ 116722 w 133866"/>
                <a:gd name="connsiteY6" fmla="*/ 36185 h 170084"/>
                <a:gd name="connsiteX7" fmla="*/ 127630 w 133866"/>
                <a:gd name="connsiteY7" fmla="*/ 15635 h 170084"/>
                <a:gd name="connsiteX8" fmla="*/ 127686 w 133866"/>
                <a:gd name="connsiteY8" fmla="*/ 15478 h 170084"/>
                <a:gd name="connsiteX9" fmla="*/ 115314 w 133866"/>
                <a:gd name="connsiteY9" fmla="*/ 113 h 170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866" h="170084">
                  <a:moveTo>
                    <a:pt x="115314" y="113"/>
                  </a:moveTo>
                  <a:lnTo>
                    <a:pt x="23152" y="-3254"/>
                  </a:lnTo>
                  <a:cubicBezTo>
                    <a:pt x="5919" y="-2854"/>
                    <a:pt x="-7907" y="12333"/>
                    <a:pt x="-5415" y="29450"/>
                  </a:cubicBezTo>
                  <a:cubicBezTo>
                    <a:pt x="-4311" y="37066"/>
                    <a:pt x="-2245" y="44759"/>
                    <a:pt x="-1" y="51925"/>
                  </a:cubicBezTo>
                  <a:cubicBezTo>
                    <a:pt x="12046" y="90387"/>
                    <a:pt x="18974" y="128140"/>
                    <a:pt x="29396" y="165336"/>
                  </a:cubicBezTo>
                  <a:lnTo>
                    <a:pt x="94121" y="166830"/>
                  </a:lnTo>
                  <a:cubicBezTo>
                    <a:pt x="76138" y="126205"/>
                    <a:pt x="92404" y="77012"/>
                    <a:pt x="116722" y="36185"/>
                  </a:cubicBezTo>
                  <a:cubicBezTo>
                    <a:pt x="120672" y="29485"/>
                    <a:pt x="125316" y="23069"/>
                    <a:pt x="127630" y="15635"/>
                  </a:cubicBezTo>
                  <a:lnTo>
                    <a:pt x="127686" y="15478"/>
                  </a:lnTo>
                  <a:cubicBezTo>
                    <a:pt x="130005" y="7619"/>
                    <a:pt x="123503" y="-125"/>
                    <a:pt x="115314" y="113"/>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4" name="Freeform: Shape 433">
              <a:extLst>
                <a:ext uri="{FF2B5EF4-FFF2-40B4-BE49-F238E27FC236}">
                  <a16:creationId xmlns:a16="http://schemas.microsoft.com/office/drawing/2014/main" id="{5D9D3695-F396-E324-E2D4-EEFC634A1D74}"/>
                </a:ext>
              </a:extLst>
            </p:cNvPr>
            <p:cNvSpPr/>
            <p:nvPr/>
          </p:nvSpPr>
          <p:spPr>
            <a:xfrm flipV="1">
              <a:off x="5726569" y="4502600"/>
              <a:ext cx="209357" cy="128442"/>
            </a:xfrm>
            <a:custGeom>
              <a:avLst/>
              <a:gdLst>
                <a:gd name="connsiteX0" fmla="*/ 201949 w 209357"/>
                <a:gd name="connsiteY0" fmla="*/ 23480 h 128442"/>
                <a:gd name="connsiteX1" fmla="*/ 185830 w 209357"/>
                <a:gd name="connsiteY1" fmla="*/ 36616 h 128442"/>
                <a:gd name="connsiteX2" fmla="*/ 75913 w 209357"/>
                <a:gd name="connsiteY2" fmla="*/ 124697 h 128442"/>
                <a:gd name="connsiteX3" fmla="*/ 22471 w 209357"/>
                <a:gd name="connsiteY3" fmla="*/ 123461 h 128442"/>
                <a:gd name="connsiteX4" fmla="*/ -5650 w 209357"/>
                <a:gd name="connsiteY4" fmla="*/ 22766 h 128442"/>
                <a:gd name="connsiteX5" fmla="*/ 13954 w 209357"/>
                <a:gd name="connsiteY5" fmla="*/ -3740 h 128442"/>
                <a:gd name="connsiteX6" fmla="*/ 184853 w 209357"/>
                <a:gd name="connsiteY6" fmla="*/ 225 h 128442"/>
                <a:gd name="connsiteX7" fmla="*/ 201949 w 209357"/>
                <a:gd name="connsiteY7" fmla="*/ 23480 h 12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357" h="128442">
                  <a:moveTo>
                    <a:pt x="201949" y="23480"/>
                  </a:moveTo>
                  <a:cubicBezTo>
                    <a:pt x="199843" y="30797"/>
                    <a:pt x="193432" y="36074"/>
                    <a:pt x="185830" y="36616"/>
                  </a:cubicBezTo>
                  <a:cubicBezTo>
                    <a:pt x="155886" y="38738"/>
                    <a:pt x="81874" y="51413"/>
                    <a:pt x="75913" y="124697"/>
                  </a:cubicBezTo>
                  <a:lnTo>
                    <a:pt x="22471" y="123461"/>
                  </a:lnTo>
                  <a:lnTo>
                    <a:pt x="-5650" y="22766"/>
                  </a:lnTo>
                  <a:cubicBezTo>
                    <a:pt x="-10040" y="9528"/>
                    <a:pt x="7" y="-4064"/>
                    <a:pt x="13954" y="-3740"/>
                  </a:cubicBezTo>
                  <a:lnTo>
                    <a:pt x="184853" y="225"/>
                  </a:lnTo>
                  <a:cubicBezTo>
                    <a:pt x="196789" y="504"/>
                    <a:pt x="205241" y="11994"/>
                    <a:pt x="201949" y="23480"/>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5" name="Freeform: Shape 434">
              <a:extLst>
                <a:ext uri="{FF2B5EF4-FFF2-40B4-BE49-F238E27FC236}">
                  <a16:creationId xmlns:a16="http://schemas.microsoft.com/office/drawing/2014/main" id="{3ABCC4CE-279F-3A59-E797-59B0C895D71B}"/>
                </a:ext>
              </a:extLst>
            </p:cNvPr>
            <p:cNvSpPr/>
            <p:nvPr/>
          </p:nvSpPr>
          <p:spPr>
            <a:xfrm flipV="1">
              <a:off x="5209064" y="3761757"/>
              <a:ext cx="765181" cy="960075"/>
            </a:xfrm>
            <a:custGeom>
              <a:avLst/>
              <a:gdLst>
                <a:gd name="connsiteX0" fmla="*/ 730433 w 765181"/>
                <a:gd name="connsiteY0" fmla="*/ 728272 h 960075"/>
                <a:gd name="connsiteX1" fmla="*/ 441636 w 765181"/>
                <a:gd name="connsiteY1" fmla="*/ 932276 h 960075"/>
                <a:gd name="connsiteX2" fmla="*/ 230077 w 765181"/>
                <a:gd name="connsiteY2" fmla="*/ 951940 h 960075"/>
                <a:gd name="connsiteX3" fmla="*/ 205612 w 765181"/>
                <a:gd name="connsiteY3" fmla="*/ 893920 h 960075"/>
                <a:gd name="connsiteX4" fmla="*/ 176205 w 765181"/>
                <a:gd name="connsiteY4" fmla="*/ 783258 h 960075"/>
                <a:gd name="connsiteX5" fmla="*/ 125644 w 765181"/>
                <a:gd name="connsiteY5" fmla="*/ 466993 h 960075"/>
                <a:gd name="connsiteX6" fmla="*/ -6281 w 765181"/>
                <a:gd name="connsiteY6" fmla="*/ 7985 h 960075"/>
                <a:gd name="connsiteX7" fmla="*/ 79930 w 765181"/>
                <a:gd name="connsiteY7" fmla="*/ 4638 h 960075"/>
                <a:gd name="connsiteX8" fmla="*/ 236873 w 765181"/>
                <a:gd name="connsiteY8" fmla="*/ 428698 h 960075"/>
                <a:gd name="connsiteX9" fmla="*/ 376177 w 765181"/>
                <a:gd name="connsiteY9" fmla="*/ 744077 h 960075"/>
                <a:gd name="connsiteX10" fmla="*/ 622603 w 765181"/>
                <a:gd name="connsiteY10" fmla="*/ 627901 h 960075"/>
                <a:gd name="connsiteX11" fmla="*/ 529818 w 765181"/>
                <a:gd name="connsiteY11" fmla="*/ 207790 h 960075"/>
                <a:gd name="connsiteX12" fmla="*/ 616536 w 765181"/>
                <a:gd name="connsiteY12" fmla="*/ 197141 h 960075"/>
                <a:gd name="connsiteX13" fmla="*/ 750128 w 765181"/>
                <a:gd name="connsiteY13" fmla="*/ 610531 h 960075"/>
                <a:gd name="connsiteX14" fmla="*/ 730433 w 765181"/>
                <a:gd name="connsiteY14" fmla="*/ 728272 h 96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5181" h="960075">
                  <a:moveTo>
                    <a:pt x="730433" y="728272"/>
                  </a:moveTo>
                  <a:cubicBezTo>
                    <a:pt x="614880" y="856273"/>
                    <a:pt x="441636" y="932276"/>
                    <a:pt x="441636" y="932276"/>
                  </a:cubicBezTo>
                  <a:cubicBezTo>
                    <a:pt x="441636" y="932276"/>
                    <a:pt x="285083" y="966656"/>
                    <a:pt x="230077" y="951940"/>
                  </a:cubicBezTo>
                  <a:lnTo>
                    <a:pt x="205612" y="893920"/>
                  </a:lnTo>
                  <a:cubicBezTo>
                    <a:pt x="191984" y="858157"/>
                    <a:pt x="182125" y="821067"/>
                    <a:pt x="176205" y="783258"/>
                  </a:cubicBezTo>
                  <a:lnTo>
                    <a:pt x="125644" y="466993"/>
                  </a:lnTo>
                  <a:cubicBezTo>
                    <a:pt x="125644" y="466993"/>
                    <a:pt x="35989" y="283408"/>
                    <a:pt x="-6281" y="7985"/>
                  </a:cubicBezTo>
                  <a:cubicBezTo>
                    <a:pt x="-6281" y="7985"/>
                    <a:pt x="41524" y="-17660"/>
                    <a:pt x="79930" y="4638"/>
                  </a:cubicBezTo>
                  <a:cubicBezTo>
                    <a:pt x="79930" y="4638"/>
                    <a:pt x="149365" y="294311"/>
                    <a:pt x="236873" y="428698"/>
                  </a:cubicBezTo>
                  <a:cubicBezTo>
                    <a:pt x="236873" y="428698"/>
                    <a:pt x="315752" y="596058"/>
                    <a:pt x="376177" y="744077"/>
                  </a:cubicBezTo>
                  <a:cubicBezTo>
                    <a:pt x="482301" y="699108"/>
                    <a:pt x="622603" y="627901"/>
                    <a:pt x="622603" y="627901"/>
                  </a:cubicBezTo>
                  <a:lnTo>
                    <a:pt x="529818" y="207790"/>
                  </a:lnTo>
                  <a:cubicBezTo>
                    <a:pt x="558617" y="167586"/>
                    <a:pt x="616536" y="197141"/>
                    <a:pt x="616536" y="197141"/>
                  </a:cubicBezTo>
                  <a:lnTo>
                    <a:pt x="750128" y="610531"/>
                  </a:lnTo>
                  <a:cubicBezTo>
                    <a:pt x="766849" y="650274"/>
                    <a:pt x="759329" y="696261"/>
                    <a:pt x="730433" y="728272"/>
                  </a:cubicBezTo>
                </a:path>
              </a:pathLst>
            </a:custGeom>
            <a:solidFill>
              <a:srgbClr val="74B6D6"/>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6" name="Freeform: Shape 435">
              <a:extLst>
                <a:ext uri="{FF2B5EF4-FFF2-40B4-BE49-F238E27FC236}">
                  <a16:creationId xmlns:a16="http://schemas.microsoft.com/office/drawing/2014/main" id="{BD193F55-F0C7-8786-CFE8-199222D40F1E}"/>
                </a:ext>
              </a:extLst>
            </p:cNvPr>
            <p:cNvSpPr/>
            <p:nvPr/>
          </p:nvSpPr>
          <p:spPr>
            <a:xfrm flipV="1">
              <a:off x="5445453" y="3738767"/>
              <a:ext cx="214811" cy="46306"/>
            </a:xfrm>
            <a:custGeom>
              <a:avLst/>
              <a:gdLst>
                <a:gd name="connsiteX0" fmla="*/ 206889 w 214811"/>
                <a:gd name="connsiteY0" fmla="*/ 94 h 46306"/>
                <a:gd name="connsiteX1" fmla="*/ 205324 w 214811"/>
                <a:gd name="connsiteY1" fmla="*/ -5547 h 46306"/>
                <a:gd name="connsiteX2" fmla="*/ 184784 w 214811"/>
                <a:gd name="connsiteY2" fmla="*/ -3511 h 46306"/>
                <a:gd name="connsiteX3" fmla="*/ 89092 w 214811"/>
                <a:gd name="connsiteY3" fmla="*/ 1097 h 46306"/>
                <a:gd name="connsiteX4" fmla="*/ 73869 w 214811"/>
                <a:gd name="connsiteY4" fmla="*/ 2789 h 46306"/>
                <a:gd name="connsiteX5" fmla="*/ -6215 w 214811"/>
                <a:gd name="connsiteY5" fmla="*/ 14127 h 46306"/>
                <a:gd name="connsiteX6" fmla="*/ -3329 w 214811"/>
                <a:gd name="connsiteY6" fmla="*/ 40759 h 46306"/>
                <a:gd name="connsiteX7" fmla="*/ 75404 w 214811"/>
                <a:gd name="connsiteY7" fmla="*/ 29856 h 46306"/>
                <a:gd name="connsiteX8" fmla="*/ 90682 w 214811"/>
                <a:gd name="connsiteY8" fmla="*/ 28286 h 46306"/>
                <a:gd name="connsiteX9" fmla="*/ 206129 w 214811"/>
                <a:gd name="connsiteY9" fmla="*/ 27871 h 46306"/>
                <a:gd name="connsiteX10" fmla="*/ 206185 w 214811"/>
                <a:gd name="connsiteY10" fmla="*/ 27871 h 46306"/>
                <a:gd name="connsiteX11" fmla="*/ 206479 w 214811"/>
                <a:gd name="connsiteY11" fmla="*/ 27937 h 46306"/>
                <a:gd name="connsiteX12" fmla="*/ 206889 w 214811"/>
                <a:gd name="connsiteY12" fmla="*/ 94 h 46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4811" h="46306">
                  <a:moveTo>
                    <a:pt x="206889" y="94"/>
                  </a:moveTo>
                  <a:cubicBezTo>
                    <a:pt x="206463" y="-1724"/>
                    <a:pt x="205982" y="-3602"/>
                    <a:pt x="205324" y="-5547"/>
                  </a:cubicBezTo>
                  <a:lnTo>
                    <a:pt x="184784" y="-3511"/>
                  </a:lnTo>
                  <a:cubicBezTo>
                    <a:pt x="159833" y="-5203"/>
                    <a:pt x="123452" y="-2600"/>
                    <a:pt x="89092" y="1097"/>
                  </a:cubicBezTo>
                  <a:cubicBezTo>
                    <a:pt x="83942" y="1680"/>
                    <a:pt x="78847" y="2262"/>
                    <a:pt x="73869" y="2789"/>
                  </a:cubicBezTo>
                  <a:cubicBezTo>
                    <a:pt x="30368" y="7969"/>
                    <a:pt x="-6215" y="14127"/>
                    <a:pt x="-6215" y="14127"/>
                  </a:cubicBezTo>
                  <a:cubicBezTo>
                    <a:pt x="-5076" y="22969"/>
                    <a:pt x="-4174" y="31867"/>
                    <a:pt x="-3329" y="40759"/>
                  </a:cubicBezTo>
                  <a:cubicBezTo>
                    <a:pt x="-3329" y="40759"/>
                    <a:pt x="32373" y="34703"/>
                    <a:pt x="75404" y="29856"/>
                  </a:cubicBezTo>
                  <a:cubicBezTo>
                    <a:pt x="80437" y="29335"/>
                    <a:pt x="85527" y="28752"/>
                    <a:pt x="90682" y="28286"/>
                  </a:cubicBezTo>
                  <a:cubicBezTo>
                    <a:pt x="134284" y="23866"/>
                    <a:pt x="181811" y="21409"/>
                    <a:pt x="206129" y="27871"/>
                  </a:cubicBezTo>
                  <a:lnTo>
                    <a:pt x="206185" y="27871"/>
                  </a:lnTo>
                  <a:lnTo>
                    <a:pt x="206479" y="27937"/>
                  </a:lnTo>
                  <a:cubicBezTo>
                    <a:pt x="207096" y="26372"/>
                    <a:pt x="210661" y="16122"/>
                    <a:pt x="206889" y="94"/>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7" name="Freeform: Shape 436">
              <a:extLst>
                <a:ext uri="{FF2B5EF4-FFF2-40B4-BE49-F238E27FC236}">
                  <a16:creationId xmlns:a16="http://schemas.microsoft.com/office/drawing/2014/main" id="{7C541B89-7CE6-A725-76B5-BE22E2563181}"/>
                </a:ext>
              </a:extLst>
            </p:cNvPr>
            <p:cNvSpPr/>
            <p:nvPr/>
          </p:nvSpPr>
          <p:spPr>
            <a:xfrm flipV="1">
              <a:off x="5629640" y="3746202"/>
              <a:ext cx="33706" cy="40518"/>
            </a:xfrm>
            <a:custGeom>
              <a:avLst/>
              <a:gdLst>
                <a:gd name="connsiteX0" fmla="*/ 19710 w 33706"/>
                <a:gd name="connsiteY0" fmla="*/ 34967 h 40518"/>
                <a:gd name="connsiteX1" fmla="*/ -3063 w 33706"/>
                <a:gd name="connsiteY1" fmla="*/ 32941 h 40518"/>
                <a:gd name="connsiteX2" fmla="*/ -6350 w 33706"/>
                <a:gd name="connsiteY2" fmla="*/ 28662 h 40518"/>
                <a:gd name="connsiteX3" fmla="*/ -2572 w 33706"/>
                <a:gd name="connsiteY3" fmla="*/ -2250 h 40518"/>
                <a:gd name="connsiteX4" fmla="*/ 1707 w 33706"/>
                <a:gd name="connsiteY4" fmla="*/ -5536 h 40518"/>
                <a:gd name="connsiteX5" fmla="*/ 24126 w 33706"/>
                <a:gd name="connsiteY5" fmla="*/ -5009 h 40518"/>
                <a:gd name="connsiteX6" fmla="*/ 23134 w 33706"/>
                <a:gd name="connsiteY6" fmla="*/ 2556 h 40518"/>
                <a:gd name="connsiteX7" fmla="*/ 4599 w 33706"/>
                <a:gd name="connsiteY7" fmla="*/ 2085 h 40518"/>
                <a:gd name="connsiteX8" fmla="*/ 1687 w 33706"/>
                <a:gd name="connsiteY8" fmla="*/ 25674 h 40518"/>
                <a:gd name="connsiteX9" fmla="*/ 20703 w 33706"/>
                <a:gd name="connsiteY9" fmla="*/ 27396 h 40518"/>
                <a:gd name="connsiteX10" fmla="*/ 19710 w 33706"/>
                <a:gd name="connsiteY10" fmla="*/ 34967 h 4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06" h="40518">
                  <a:moveTo>
                    <a:pt x="19710" y="34967"/>
                  </a:moveTo>
                  <a:cubicBezTo>
                    <a:pt x="9749" y="34167"/>
                    <a:pt x="6903" y="33736"/>
                    <a:pt x="-3063" y="32941"/>
                  </a:cubicBezTo>
                  <a:cubicBezTo>
                    <a:pt x="-5135" y="32774"/>
                    <a:pt x="-6588" y="30632"/>
                    <a:pt x="-6350" y="28662"/>
                  </a:cubicBezTo>
                  <a:cubicBezTo>
                    <a:pt x="-4967" y="17004"/>
                    <a:pt x="-3955" y="9413"/>
                    <a:pt x="-2572" y="-2250"/>
                  </a:cubicBezTo>
                  <a:cubicBezTo>
                    <a:pt x="-2303" y="-4468"/>
                    <a:pt x="-339" y="-5572"/>
                    <a:pt x="1707" y="-5536"/>
                  </a:cubicBezTo>
                  <a:cubicBezTo>
                    <a:pt x="11532" y="-5394"/>
                    <a:pt x="14297" y="-5156"/>
                    <a:pt x="24126" y="-5009"/>
                  </a:cubicBezTo>
                  <a:cubicBezTo>
                    <a:pt x="29033" y="-4939"/>
                    <a:pt x="27990" y="2627"/>
                    <a:pt x="23134" y="2556"/>
                  </a:cubicBezTo>
                  <a:cubicBezTo>
                    <a:pt x="14605" y="2435"/>
                    <a:pt x="13137" y="2212"/>
                    <a:pt x="4599" y="2085"/>
                  </a:cubicBezTo>
                  <a:cubicBezTo>
                    <a:pt x="3505" y="11307"/>
                    <a:pt x="2786" y="16457"/>
                    <a:pt x="1687" y="25674"/>
                  </a:cubicBezTo>
                  <a:cubicBezTo>
                    <a:pt x="10402" y="26373"/>
                    <a:pt x="11987" y="26697"/>
                    <a:pt x="20703" y="27396"/>
                  </a:cubicBezTo>
                  <a:cubicBezTo>
                    <a:pt x="25610" y="27791"/>
                    <a:pt x="24592" y="35357"/>
                    <a:pt x="19710" y="34967"/>
                  </a:cubicBezTo>
                </a:path>
              </a:pathLst>
            </a:custGeom>
            <a:solidFill>
              <a:srgbClr val="6BB4DA"/>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8" name="Freeform: Shape 437">
              <a:extLst>
                <a:ext uri="{FF2B5EF4-FFF2-40B4-BE49-F238E27FC236}">
                  <a16:creationId xmlns:a16="http://schemas.microsoft.com/office/drawing/2014/main" id="{ECA448D7-2539-CC7E-26FE-05817E24EA20}"/>
                </a:ext>
              </a:extLst>
            </p:cNvPr>
            <p:cNvSpPr/>
            <p:nvPr/>
          </p:nvSpPr>
          <p:spPr>
            <a:xfrm flipV="1">
              <a:off x="5525020" y="3749645"/>
              <a:ext cx="17349" cy="36360"/>
            </a:xfrm>
            <a:custGeom>
              <a:avLst/>
              <a:gdLst>
                <a:gd name="connsiteX0" fmla="*/ 11168 w 17349"/>
                <a:gd name="connsiteY0" fmla="*/ 29222 h 36360"/>
                <a:gd name="connsiteX1" fmla="*/ 9547 w 17349"/>
                <a:gd name="connsiteY1" fmla="*/ 2073 h 36360"/>
                <a:gd name="connsiteX2" fmla="*/ 9111 w 17349"/>
                <a:gd name="connsiteY2" fmla="*/ -5534 h 36360"/>
                <a:gd name="connsiteX3" fmla="*/ -6182 w 17349"/>
                <a:gd name="connsiteY3" fmla="*/ -4663 h 36360"/>
                <a:gd name="connsiteX4" fmla="*/ -5681 w 17349"/>
                <a:gd name="connsiteY4" fmla="*/ 3759 h 36360"/>
                <a:gd name="connsiteX5" fmla="*/ -4106 w 17349"/>
                <a:gd name="connsiteY5" fmla="*/ 30827 h 36360"/>
                <a:gd name="connsiteX6" fmla="*/ 11168 w 17349"/>
                <a:gd name="connsiteY6" fmla="*/ 29222 h 3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49" h="36360">
                  <a:moveTo>
                    <a:pt x="11168" y="29222"/>
                  </a:moveTo>
                  <a:lnTo>
                    <a:pt x="9547" y="2073"/>
                  </a:lnTo>
                  <a:lnTo>
                    <a:pt x="9111" y="-5534"/>
                  </a:lnTo>
                  <a:lnTo>
                    <a:pt x="-6182" y="-4663"/>
                  </a:lnTo>
                  <a:lnTo>
                    <a:pt x="-5681" y="3759"/>
                  </a:lnTo>
                  <a:lnTo>
                    <a:pt x="-4106" y="30827"/>
                  </a:lnTo>
                  <a:cubicBezTo>
                    <a:pt x="887" y="30290"/>
                    <a:pt x="6007" y="29718"/>
                    <a:pt x="11168" y="29222"/>
                  </a:cubicBezTo>
                </a:path>
              </a:pathLst>
            </a:custGeom>
            <a:solidFill>
              <a:srgbClr val="6BB4DA"/>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9" name="Freeform: Shape 438">
              <a:extLst>
                <a:ext uri="{FF2B5EF4-FFF2-40B4-BE49-F238E27FC236}">
                  <a16:creationId xmlns:a16="http://schemas.microsoft.com/office/drawing/2014/main" id="{04FDA7F3-19A9-739E-A788-8176DF00E56D}"/>
                </a:ext>
              </a:extLst>
            </p:cNvPr>
            <p:cNvSpPr/>
            <p:nvPr/>
          </p:nvSpPr>
          <p:spPr>
            <a:xfrm flipV="1">
              <a:off x="6505700" y="2806465"/>
              <a:ext cx="285526" cy="478425"/>
            </a:xfrm>
            <a:custGeom>
              <a:avLst/>
              <a:gdLst>
                <a:gd name="connsiteX0" fmla="*/ 277436 w 285526"/>
                <a:gd name="connsiteY0" fmla="*/ 19813 h 478425"/>
                <a:gd name="connsiteX1" fmla="*/ 222546 w 285526"/>
                <a:gd name="connsiteY1" fmla="*/ -611 h 478425"/>
                <a:gd name="connsiteX2" fmla="*/ 106861 w 285526"/>
                <a:gd name="connsiteY2" fmla="*/ -2540 h 478425"/>
                <a:gd name="connsiteX3" fmla="*/ 79185 w 285526"/>
                <a:gd name="connsiteY3" fmla="*/ 3572 h 478425"/>
                <a:gd name="connsiteX4" fmla="*/ 47276 w 285526"/>
                <a:gd name="connsiteY4" fmla="*/ 136784 h 478425"/>
                <a:gd name="connsiteX5" fmla="*/ -8090 w 285526"/>
                <a:gd name="connsiteY5" fmla="*/ 380177 h 478425"/>
                <a:gd name="connsiteX6" fmla="*/ 6029 w 285526"/>
                <a:gd name="connsiteY6" fmla="*/ 393895 h 478425"/>
                <a:gd name="connsiteX7" fmla="*/ 22366 w 285526"/>
                <a:gd name="connsiteY7" fmla="*/ 407543 h 478425"/>
                <a:gd name="connsiteX8" fmla="*/ 87404 w 285526"/>
                <a:gd name="connsiteY8" fmla="*/ 462145 h 478425"/>
                <a:gd name="connsiteX9" fmla="*/ 90372 w 285526"/>
                <a:gd name="connsiteY9" fmla="*/ 462332 h 478425"/>
                <a:gd name="connsiteX10" fmla="*/ 200086 w 285526"/>
                <a:gd name="connsiteY10" fmla="*/ 470759 h 478425"/>
                <a:gd name="connsiteX11" fmla="*/ 209966 w 285526"/>
                <a:gd name="connsiteY11" fmla="*/ 471275 h 478425"/>
                <a:gd name="connsiteX12" fmla="*/ 277436 w 285526"/>
                <a:gd name="connsiteY12" fmla="*/ 19813 h 47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526" h="478425">
                  <a:moveTo>
                    <a:pt x="277436" y="19813"/>
                  </a:moveTo>
                  <a:cubicBezTo>
                    <a:pt x="259499" y="10085"/>
                    <a:pt x="240904" y="3598"/>
                    <a:pt x="222546" y="-611"/>
                  </a:cubicBezTo>
                  <a:cubicBezTo>
                    <a:pt x="177318" y="-10916"/>
                    <a:pt x="133857" y="-7037"/>
                    <a:pt x="106861" y="-2540"/>
                  </a:cubicBezTo>
                  <a:cubicBezTo>
                    <a:pt x="89739" y="382"/>
                    <a:pt x="79185" y="3572"/>
                    <a:pt x="79185" y="3572"/>
                  </a:cubicBezTo>
                  <a:cubicBezTo>
                    <a:pt x="71088" y="51408"/>
                    <a:pt x="59739" y="96322"/>
                    <a:pt x="47276" y="136784"/>
                  </a:cubicBezTo>
                  <a:lnTo>
                    <a:pt x="-8090" y="380177"/>
                  </a:lnTo>
                  <a:lnTo>
                    <a:pt x="6029" y="393895"/>
                  </a:lnTo>
                  <a:lnTo>
                    <a:pt x="22366" y="407543"/>
                  </a:lnTo>
                  <a:lnTo>
                    <a:pt x="87404" y="462145"/>
                  </a:lnTo>
                  <a:lnTo>
                    <a:pt x="90372" y="462332"/>
                  </a:lnTo>
                  <a:lnTo>
                    <a:pt x="200086" y="470759"/>
                  </a:lnTo>
                  <a:cubicBezTo>
                    <a:pt x="203398" y="471012"/>
                    <a:pt x="206654" y="471144"/>
                    <a:pt x="209966" y="471275"/>
                  </a:cubicBezTo>
                  <a:lnTo>
                    <a:pt x="277436" y="19813"/>
                  </a:lnTo>
                </a:path>
              </a:pathLst>
            </a:custGeom>
            <a:solidFill>
              <a:srgbClr val="4DA5C3">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0" name="Freeform: Shape 439">
              <a:extLst>
                <a:ext uri="{FF2B5EF4-FFF2-40B4-BE49-F238E27FC236}">
                  <a16:creationId xmlns:a16="http://schemas.microsoft.com/office/drawing/2014/main" id="{4AC4F11B-C355-6529-A1B6-527F99EE95FA}"/>
                </a:ext>
              </a:extLst>
            </p:cNvPr>
            <p:cNvSpPr/>
            <p:nvPr/>
          </p:nvSpPr>
          <p:spPr>
            <a:xfrm flipV="1">
              <a:off x="6471640" y="4103349"/>
              <a:ext cx="191336" cy="135084"/>
            </a:xfrm>
            <a:custGeom>
              <a:avLst/>
              <a:gdLst>
                <a:gd name="connsiteX0" fmla="*/ -630 w 191336"/>
                <a:gd name="connsiteY0" fmla="*/ -2825 h 135084"/>
                <a:gd name="connsiteX1" fmla="*/ 12461 w 191336"/>
                <a:gd name="connsiteY1" fmla="*/ -4613 h 135084"/>
                <a:gd name="connsiteX2" fmla="*/ 183386 w 191336"/>
                <a:gd name="connsiteY2" fmla="*/ 13826 h 135084"/>
                <a:gd name="connsiteX3" fmla="*/ 159341 w 191336"/>
                <a:gd name="connsiteY3" fmla="*/ 130453 h 135084"/>
                <a:gd name="connsiteX4" fmla="*/ 99832 w 191336"/>
                <a:gd name="connsiteY4" fmla="*/ 117185 h 135084"/>
                <a:gd name="connsiteX5" fmla="*/ 5604 w 191336"/>
                <a:gd name="connsiteY5" fmla="*/ 27838 h 135084"/>
                <a:gd name="connsiteX6" fmla="*/ -7831 w 191336"/>
                <a:gd name="connsiteY6" fmla="*/ 18029 h 135084"/>
                <a:gd name="connsiteX7" fmla="*/ -630 w 191336"/>
                <a:gd name="connsiteY7" fmla="*/ -2825 h 13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336" h="135084">
                  <a:moveTo>
                    <a:pt x="-630" y="-2825"/>
                  </a:moveTo>
                  <a:cubicBezTo>
                    <a:pt x="3381" y="-4699"/>
                    <a:pt x="8025" y="-4674"/>
                    <a:pt x="12461" y="-4613"/>
                  </a:cubicBezTo>
                  <a:cubicBezTo>
                    <a:pt x="60844" y="-3823"/>
                    <a:pt x="135950" y="4330"/>
                    <a:pt x="183386" y="13826"/>
                  </a:cubicBezTo>
                  <a:cubicBezTo>
                    <a:pt x="183386" y="13826"/>
                    <a:pt x="166466" y="85736"/>
                    <a:pt x="159341" y="130453"/>
                  </a:cubicBezTo>
                  <a:lnTo>
                    <a:pt x="99832" y="117185"/>
                  </a:lnTo>
                  <a:cubicBezTo>
                    <a:pt x="92910" y="71911"/>
                    <a:pt x="49404" y="41202"/>
                    <a:pt x="5604" y="27838"/>
                  </a:cubicBezTo>
                  <a:cubicBezTo>
                    <a:pt x="-2" y="26137"/>
                    <a:pt x="-6752" y="23792"/>
                    <a:pt x="-7831" y="18029"/>
                  </a:cubicBezTo>
                  <a:cubicBezTo>
                    <a:pt x="-8702" y="13679"/>
                    <a:pt x="-4691" y="-952"/>
                    <a:pt x="-630" y="-2825"/>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1" name="Freeform: Shape 440">
              <a:extLst>
                <a:ext uri="{FF2B5EF4-FFF2-40B4-BE49-F238E27FC236}">
                  <a16:creationId xmlns:a16="http://schemas.microsoft.com/office/drawing/2014/main" id="{72F3EC65-46BD-3F5B-92ED-1F59D3FE47C3}"/>
                </a:ext>
              </a:extLst>
            </p:cNvPr>
            <p:cNvSpPr/>
            <p:nvPr/>
          </p:nvSpPr>
          <p:spPr>
            <a:xfrm flipV="1">
              <a:off x="7015658" y="4021077"/>
              <a:ext cx="135726" cy="161938"/>
            </a:xfrm>
            <a:custGeom>
              <a:avLst/>
              <a:gdLst>
                <a:gd name="connsiteX0" fmla="*/ -8835 w 135726"/>
                <a:gd name="connsiteY0" fmla="*/ 147161 h 161938"/>
                <a:gd name="connsiteX1" fmla="*/ 10308 w 135726"/>
                <a:gd name="connsiteY1" fmla="*/ 12896 h 161938"/>
                <a:gd name="connsiteX2" fmla="*/ 9295 w 135726"/>
                <a:gd name="connsiteY2" fmla="*/ -1324 h 161938"/>
                <a:gd name="connsiteX3" fmla="*/ 17347 w 135726"/>
                <a:gd name="connsiteY3" fmla="*/ -3897 h 161938"/>
                <a:gd name="connsiteX4" fmla="*/ 112401 w 135726"/>
                <a:gd name="connsiteY4" fmla="*/ 2135 h 161938"/>
                <a:gd name="connsiteX5" fmla="*/ 125365 w 135726"/>
                <a:gd name="connsiteY5" fmla="*/ 8931 h 161938"/>
                <a:gd name="connsiteX6" fmla="*/ 124960 w 135726"/>
                <a:gd name="connsiteY6" fmla="*/ 23925 h 161938"/>
                <a:gd name="connsiteX7" fmla="*/ 48441 w 135726"/>
                <a:gd name="connsiteY7" fmla="*/ 157153 h 161938"/>
                <a:gd name="connsiteX8" fmla="*/ -8835 w 135726"/>
                <a:gd name="connsiteY8" fmla="*/ 147161 h 16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726" h="161938">
                  <a:moveTo>
                    <a:pt x="-8835" y="147161"/>
                  </a:moveTo>
                  <a:cubicBezTo>
                    <a:pt x="8080" y="100531"/>
                    <a:pt x="33249" y="57648"/>
                    <a:pt x="10308" y="12896"/>
                  </a:cubicBezTo>
                  <a:cubicBezTo>
                    <a:pt x="7928" y="8308"/>
                    <a:pt x="5598" y="2282"/>
                    <a:pt x="9295" y="-1324"/>
                  </a:cubicBezTo>
                  <a:cubicBezTo>
                    <a:pt x="11321" y="-3279"/>
                    <a:pt x="14460" y="-3664"/>
                    <a:pt x="17347" y="-3897"/>
                  </a:cubicBezTo>
                  <a:cubicBezTo>
                    <a:pt x="45808" y="-6191"/>
                    <a:pt x="84396" y="-3998"/>
                    <a:pt x="112401" y="2135"/>
                  </a:cubicBezTo>
                  <a:cubicBezTo>
                    <a:pt x="117313" y="3223"/>
                    <a:pt x="122731" y="4783"/>
                    <a:pt x="125365" y="8931"/>
                  </a:cubicBezTo>
                  <a:cubicBezTo>
                    <a:pt x="128150" y="13392"/>
                    <a:pt x="126580" y="19018"/>
                    <a:pt x="124960" y="23925"/>
                  </a:cubicBezTo>
                  <a:cubicBezTo>
                    <a:pt x="109058" y="71777"/>
                    <a:pt x="64393" y="109302"/>
                    <a:pt x="48441" y="157153"/>
                  </a:cubicBezTo>
                  <a:cubicBezTo>
                    <a:pt x="30311" y="154960"/>
                    <a:pt x="7624" y="154925"/>
                    <a:pt x="-8835" y="147161"/>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2" name="Freeform: Shape 441">
              <a:extLst>
                <a:ext uri="{FF2B5EF4-FFF2-40B4-BE49-F238E27FC236}">
                  <a16:creationId xmlns:a16="http://schemas.microsoft.com/office/drawing/2014/main" id="{4C46E23C-7D68-C577-D2FB-ACD1F2477BCB}"/>
                </a:ext>
              </a:extLst>
            </p:cNvPr>
            <p:cNvSpPr/>
            <p:nvPr/>
          </p:nvSpPr>
          <p:spPr>
            <a:xfrm flipV="1">
              <a:off x="6447209" y="3225062"/>
              <a:ext cx="665375" cy="897044"/>
            </a:xfrm>
            <a:custGeom>
              <a:avLst/>
              <a:gdLst>
                <a:gd name="connsiteX0" fmla="*/ 657061 w 665375"/>
                <a:gd name="connsiteY0" fmla="*/ 81910 h 897044"/>
                <a:gd name="connsiteX1" fmla="*/ 632855 w 665375"/>
                <a:gd name="connsiteY1" fmla="*/ 62777 h 897044"/>
                <a:gd name="connsiteX2" fmla="*/ 575832 w 665375"/>
                <a:gd name="connsiteY2" fmla="*/ 44805 h 897044"/>
                <a:gd name="connsiteX3" fmla="*/ 561349 w 665375"/>
                <a:gd name="connsiteY3" fmla="*/ 43478 h 897044"/>
                <a:gd name="connsiteX4" fmla="*/ 321992 w 665375"/>
                <a:gd name="connsiteY4" fmla="*/ 395537 h 897044"/>
                <a:gd name="connsiteX5" fmla="*/ 293932 w 665375"/>
                <a:gd name="connsiteY5" fmla="*/ 463234 h 897044"/>
                <a:gd name="connsiteX6" fmla="*/ 248811 w 665375"/>
                <a:gd name="connsiteY6" fmla="*/ 732068 h 897044"/>
                <a:gd name="connsiteX7" fmla="*/ 248132 w 665375"/>
                <a:gd name="connsiteY7" fmla="*/ 736013 h 897044"/>
                <a:gd name="connsiteX8" fmla="*/ 246648 w 665375"/>
                <a:gd name="connsiteY8" fmla="*/ 732311 h 897044"/>
                <a:gd name="connsiteX9" fmla="*/ 129480 w 665375"/>
                <a:gd name="connsiteY9" fmla="*/ 437878 h 897044"/>
                <a:gd name="connsiteX10" fmla="*/ 202555 w 665375"/>
                <a:gd name="connsiteY10" fmla="*/ 15823 h 897044"/>
                <a:gd name="connsiteX11" fmla="*/ 184633 w 665375"/>
                <a:gd name="connsiteY11" fmla="*/ 5335 h 897044"/>
                <a:gd name="connsiteX12" fmla="*/ 122886 w 665375"/>
                <a:gd name="connsiteY12" fmla="*/ -5350 h 897044"/>
                <a:gd name="connsiteX13" fmla="*/ 106058 w 665375"/>
                <a:gd name="connsiteY13" fmla="*/ -2834 h 897044"/>
                <a:gd name="connsiteX14" fmla="*/ -2634 w 665375"/>
                <a:gd name="connsiteY14" fmla="*/ 411524 h 897044"/>
                <a:gd name="connsiteX15" fmla="*/ 668 w 665375"/>
                <a:gd name="connsiteY15" fmla="*/ 497351 h 897044"/>
                <a:gd name="connsiteX16" fmla="*/ 137506 w 665375"/>
                <a:gd name="connsiteY16" fmla="*/ 842193 h 897044"/>
                <a:gd name="connsiteX17" fmla="*/ 153919 w 665375"/>
                <a:gd name="connsiteY17" fmla="*/ 857532 h 897044"/>
                <a:gd name="connsiteX18" fmla="*/ 199537 w 665375"/>
                <a:gd name="connsiteY18" fmla="*/ 853238 h 897044"/>
                <a:gd name="connsiteX19" fmla="*/ 201162 w 665375"/>
                <a:gd name="connsiteY19" fmla="*/ 856241 h 897044"/>
                <a:gd name="connsiteX20" fmla="*/ 206520 w 665375"/>
                <a:gd name="connsiteY20" fmla="*/ 858408 h 897044"/>
                <a:gd name="connsiteX21" fmla="*/ 232606 w 665375"/>
                <a:gd name="connsiteY21" fmla="*/ 858312 h 897044"/>
                <a:gd name="connsiteX22" fmla="*/ 239092 w 665375"/>
                <a:gd name="connsiteY22" fmla="*/ 854737 h 897044"/>
                <a:gd name="connsiteX23" fmla="*/ 343940 w 665375"/>
                <a:gd name="connsiteY23" fmla="*/ 889770 h 897044"/>
                <a:gd name="connsiteX24" fmla="*/ 379820 w 665375"/>
                <a:gd name="connsiteY24" fmla="*/ 891300 h 897044"/>
                <a:gd name="connsiteX25" fmla="*/ 433429 w 665375"/>
                <a:gd name="connsiteY25" fmla="*/ 455293 h 897044"/>
                <a:gd name="connsiteX26" fmla="*/ 657061 w 665375"/>
                <a:gd name="connsiteY26" fmla="*/ 81910 h 89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5375" h="897044">
                  <a:moveTo>
                    <a:pt x="657061" y="81910"/>
                  </a:moveTo>
                  <a:cubicBezTo>
                    <a:pt x="650022" y="74004"/>
                    <a:pt x="641666" y="67755"/>
                    <a:pt x="632855" y="62777"/>
                  </a:cubicBezTo>
                  <a:cubicBezTo>
                    <a:pt x="612648" y="51423"/>
                    <a:pt x="590113" y="46704"/>
                    <a:pt x="575832" y="44805"/>
                  </a:cubicBezTo>
                  <a:cubicBezTo>
                    <a:pt x="567021" y="43609"/>
                    <a:pt x="561349" y="43478"/>
                    <a:pt x="561349" y="43478"/>
                  </a:cubicBezTo>
                  <a:lnTo>
                    <a:pt x="321992" y="395537"/>
                  </a:lnTo>
                  <a:cubicBezTo>
                    <a:pt x="306805" y="415216"/>
                    <a:pt x="297128" y="438566"/>
                    <a:pt x="293932" y="463234"/>
                  </a:cubicBezTo>
                  <a:lnTo>
                    <a:pt x="248811" y="732068"/>
                  </a:lnTo>
                  <a:lnTo>
                    <a:pt x="248132" y="736013"/>
                  </a:lnTo>
                  <a:lnTo>
                    <a:pt x="246648" y="732311"/>
                  </a:lnTo>
                  <a:lnTo>
                    <a:pt x="129480" y="437878"/>
                  </a:lnTo>
                  <a:lnTo>
                    <a:pt x="202555" y="15823"/>
                  </a:lnTo>
                  <a:cubicBezTo>
                    <a:pt x="196660" y="11554"/>
                    <a:pt x="190629" y="8095"/>
                    <a:pt x="184633" y="5335"/>
                  </a:cubicBezTo>
                  <a:cubicBezTo>
                    <a:pt x="161135" y="-5685"/>
                    <a:pt x="137931" y="-6515"/>
                    <a:pt x="122886" y="-5350"/>
                  </a:cubicBezTo>
                  <a:cubicBezTo>
                    <a:pt x="112504" y="-4601"/>
                    <a:pt x="106058" y="-2834"/>
                    <a:pt x="106058" y="-2834"/>
                  </a:cubicBezTo>
                  <a:lnTo>
                    <a:pt x="-2634" y="411524"/>
                  </a:lnTo>
                  <a:cubicBezTo>
                    <a:pt x="-11212" y="439736"/>
                    <a:pt x="-10048" y="469974"/>
                    <a:pt x="668" y="497351"/>
                  </a:cubicBezTo>
                  <a:lnTo>
                    <a:pt x="137506" y="842193"/>
                  </a:lnTo>
                  <a:cubicBezTo>
                    <a:pt x="139704" y="847951"/>
                    <a:pt x="145462" y="853086"/>
                    <a:pt x="153919" y="857532"/>
                  </a:cubicBezTo>
                  <a:cubicBezTo>
                    <a:pt x="165369" y="855648"/>
                    <a:pt x="181134" y="853684"/>
                    <a:pt x="199537" y="853238"/>
                  </a:cubicBezTo>
                  <a:cubicBezTo>
                    <a:pt x="199805" y="854347"/>
                    <a:pt x="200367" y="855410"/>
                    <a:pt x="201162" y="856241"/>
                  </a:cubicBezTo>
                  <a:cubicBezTo>
                    <a:pt x="202580" y="857730"/>
                    <a:pt x="204484" y="858535"/>
                    <a:pt x="206520" y="858408"/>
                  </a:cubicBezTo>
                  <a:cubicBezTo>
                    <a:pt x="212699" y="858140"/>
                    <a:pt x="224290" y="857826"/>
                    <a:pt x="232606" y="858312"/>
                  </a:cubicBezTo>
                  <a:cubicBezTo>
                    <a:pt x="235396" y="858434"/>
                    <a:pt x="237817" y="856975"/>
                    <a:pt x="239092" y="854737"/>
                  </a:cubicBezTo>
                  <a:cubicBezTo>
                    <a:pt x="272430" y="858130"/>
                    <a:pt x="309520" y="867838"/>
                    <a:pt x="343940" y="889770"/>
                  </a:cubicBezTo>
                  <a:cubicBezTo>
                    <a:pt x="365569" y="890971"/>
                    <a:pt x="379820" y="891300"/>
                    <a:pt x="379820" y="891300"/>
                  </a:cubicBezTo>
                  <a:cubicBezTo>
                    <a:pt x="451331" y="827704"/>
                    <a:pt x="433429" y="455293"/>
                    <a:pt x="433429" y="455293"/>
                  </a:cubicBezTo>
                  <a:lnTo>
                    <a:pt x="657061" y="81910"/>
                  </a:ln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3" name="Freeform: Shape 442">
              <a:extLst>
                <a:ext uri="{FF2B5EF4-FFF2-40B4-BE49-F238E27FC236}">
                  <a16:creationId xmlns:a16="http://schemas.microsoft.com/office/drawing/2014/main" id="{6F512936-6BCB-258B-0DBE-857EC56E148C}"/>
                </a:ext>
              </a:extLst>
            </p:cNvPr>
            <p:cNvSpPr/>
            <p:nvPr/>
          </p:nvSpPr>
          <p:spPr>
            <a:xfrm flipV="1">
              <a:off x="6589430" y="3201746"/>
              <a:ext cx="245914" cy="83113"/>
            </a:xfrm>
            <a:custGeom>
              <a:avLst/>
              <a:gdLst>
                <a:gd name="connsiteX0" fmla="*/ 237715 w 245914"/>
                <a:gd name="connsiteY0" fmla="*/ 53091 h 83113"/>
                <a:gd name="connsiteX1" fmla="*/ 99252 w 245914"/>
                <a:gd name="connsiteY1" fmla="*/ -5891 h 83113"/>
                <a:gd name="connsiteX2" fmla="*/ 59209 w 245914"/>
                <a:gd name="connsiteY2" fmla="*/ -6180 h 83113"/>
                <a:gd name="connsiteX3" fmla="*/ -4599 w 245914"/>
                <a:gd name="connsiteY3" fmla="*/ 3984 h 83113"/>
                <a:gd name="connsiteX4" fmla="*/ -4655 w 245914"/>
                <a:gd name="connsiteY4" fmla="*/ 3979 h 83113"/>
                <a:gd name="connsiteX5" fmla="*/ -8199 w 245914"/>
                <a:gd name="connsiteY5" fmla="*/ 23517 h 83113"/>
                <a:gd name="connsiteX6" fmla="*/ -8199 w 245914"/>
                <a:gd name="connsiteY6" fmla="*/ 23577 h 83113"/>
                <a:gd name="connsiteX7" fmla="*/ 11814 w 245914"/>
                <a:gd name="connsiteY7" fmla="*/ 19323 h 83113"/>
                <a:gd name="connsiteX8" fmla="*/ 57432 w 245914"/>
                <a:gd name="connsiteY8" fmla="*/ 15029 h 83113"/>
                <a:gd name="connsiteX9" fmla="*/ 96988 w 245914"/>
                <a:gd name="connsiteY9" fmla="*/ 16528 h 83113"/>
                <a:gd name="connsiteX10" fmla="*/ 201835 w 245914"/>
                <a:gd name="connsiteY10" fmla="*/ 51562 h 83113"/>
                <a:gd name="connsiteX11" fmla="*/ 233800 w 245914"/>
                <a:gd name="connsiteY11" fmla="*/ 76406 h 83113"/>
                <a:gd name="connsiteX12" fmla="*/ 237715 w 245914"/>
                <a:gd name="connsiteY12" fmla="*/ 53091 h 8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914" h="83113">
                  <a:moveTo>
                    <a:pt x="237715" y="53091"/>
                  </a:moveTo>
                  <a:cubicBezTo>
                    <a:pt x="196179" y="11783"/>
                    <a:pt x="144353" y="-2690"/>
                    <a:pt x="99252" y="-5891"/>
                  </a:cubicBezTo>
                  <a:cubicBezTo>
                    <a:pt x="85072" y="-6975"/>
                    <a:pt x="71510" y="-6884"/>
                    <a:pt x="59209" y="-6180"/>
                  </a:cubicBezTo>
                  <a:cubicBezTo>
                    <a:pt x="22778" y="-4053"/>
                    <a:pt x="-3135" y="3493"/>
                    <a:pt x="-4599" y="3984"/>
                  </a:cubicBezTo>
                  <a:lnTo>
                    <a:pt x="-4655" y="3979"/>
                  </a:lnTo>
                  <a:cubicBezTo>
                    <a:pt x="-5738" y="10537"/>
                    <a:pt x="-6938" y="17085"/>
                    <a:pt x="-8199" y="23517"/>
                  </a:cubicBezTo>
                  <a:lnTo>
                    <a:pt x="-8199" y="23577"/>
                  </a:lnTo>
                  <a:cubicBezTo>
                    <a:pt x="-8199" y="23577"/>
                    <a:pt x="-816" y="21481"/>
                    <a:pt x="11814" y="19323"/>
                  </a:cubicBezTo>
                  <a:cubicBezTo>
                    <a:pt x="23264" y="17440"/>
                    <a:pt x="39029" y="15475"/>
                    <a:pt x="57432" y="15029"/>
                  </a:cubicBezTo>
                  <a:cubicBezTo>
                    <a:pt x="69611" y="14669"/>
                    <a:pt x="82991" y="15039"/>
                    <a:pt x="96988" y="16528"/>
                  </a:cubicBezTo>
                  <a:cubicBezTo>
                    <a:pt x="130325" y="19921"/>
                    <a:pt x="167415" y="29629"/>
                    <a:pt x="201835" y="51562"/>
                  </a:cubicBezTo>
                  <a:cubicBezTo>
                    <a:pt x="212850" y="58515"/>
                    <a:pt x="223545" y="66739"/>
                    <a:pt x="233800" y="76406"/>
                  </a:cubicBezTo>
                  <a:lnTo>
                    <a:pt x="237715" y="53091"/>
                  </a:ln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4" name="Freeform: Shape 443">
              <a:extLst>
                <a:ext uri="{FF2B5EF4-FFF2-40B4-BE49-F238E27FC236}">
                  <a16:creationId xmlns:a16="http://schemas.microsoft.com/office/drawing/2014/main" id="{13D2E733-4AAE-8B44-5B10-DCE56F689627}"/>
                </a:ext>
              </a:extLst>
            </p:cNvPr>
            <p:cNvSpPr/>
            <p:nvPr/>
          </p:nvSpPr>
          <p:spPr>
            <a:xfrm flipV="1">
              <a:off x="6647978" y="3257940"/>
              <a:ext cx="49022" cy="32819"/>
            </a:xfrm>
            <a:custGeom>
              <a:avLst/>
              <a:gdLst>
                <a:gd name="connsiteX0" fmla="*/ 10513 w 49022"/>
                <a:gd name="connsiteY0" fmla="*/ 12181 h 32819"/>
                <a:gd name="connsiteX1" fmla="*/ 5449 w 49022"/>
                <a:gd name="connsiteY1" fmla="*/ 12125 h 32819"/>
                <a:gd name="connsiteX2" fmla="*/ 4704 w 49022"/>
                <a:gd name="connsiteY2" fmla="*/ 19149 h 32819"/>
                <a:gd name="connsiteX3" fmla="*/ 4978 w 49022"/>
                <a:gd name="connsiteY3" fmla="*/ 19914 h 32819"/>
                <a:gd name="connsiteX4" fmla="*/ 5490 w 49022"/>
                <a:gd name="connsiteY4" fmla="*/ 20218 h 32819"/>
                <a:gd name="connsiteX5" fmla="*/ 5672 w 49022"/>
                <a:gd name="connsiteY5" fmla="*/ 20223 h 32819"/>
                <a:gd name="connsiteX6" fmla="*/ 32395 w 49022"/>
                <a:gd name="connsiteY6" fmla="*/ 20086 h 32819"/>
                <a:gd name="connsiteX7" fmla="*/ 33403 w 49022"/>
                <a:gd name="connsiteY7" fmla="*/ 19235 h 32819"/>
                <a:gd name="connsiteX8" fmla="*/ 34867 w 49022"/>
                <a:gd name="connsiteY8" fmla="*/ 1106 h 32819"/>
                <a:gd name="connsiteX9" fmla="*/ 34076 w 49022"/>
                <a:gd name="connsiteY9" fmla="*/ 98 h 32819"/>
                <a:gd name="connsiteX10" fmla="*/ 7303 w 49022"/>
                <a:gd name="connsiteY10" fmla="*/ 58 h 32819"/>
                <a:gd name="connsiteX11" fmla="*/ 6583 w 49022"/>
                <a:gd name="connsiteY11" fmla="*/ 913 h 32819"/>
                <a:gd name="connsiteX12" fmla="*/ 6056 w 49022"/>
                <a:gd name="connsiteY12" fmla="*/ 6145 h 32819"/>
                <a:gd name="connsiteX13" fmla="*/ 10943 w 49022"/>
                <a:gd name="connsiteY13" fmla="*/ 6195 h 32819"/>
                <a:gd name="connsiteX14" fmla="*/ 11060 w 49022"/>
                <a:gd name="connsiteY14" fmla="*/ 6200 h 32819"/>
                <a:gd name="connsiteX15" fmla="*/ 13719 w 49022"/>
                <a:gd name="connsiteY15" fmla="*/ 9345 h 32819"/>
                <a:gd name="connsiteX16" fmla="*/ 10513 w 49022"/>
                <a:gd name="connsiteY16" fmla="*/ 12181 h 32819"/>
                <a:gd name="connsiteX17" fmla="*/ 39328 w 49022"/>
                <a:gd name="connsiteY17" fmla="*/ 19721 h 32819"/>
                <a:gd name="connsiteX18" fmla="*/ 38507 w 49022"/>
                <a:gd name="connsiteY18" fmla="*/ 22497 h 32819"/>
                <a:gd name="connsiteX19" fmla="*/ 32020 w 49022"/>
                <a:gd name="connsiteY19" fmla="*/ 26072 h 32819"/>
                <a:gd name="connsiteX20" fmla="*/ 5935 w 49022"/>
                <a:gd name="connsiteY20" fmla="*/ 26168 h 32819"/>
                <a:gd name="connsiteX21" fmla="*/ 577 w 49022"/>
                <a:gd name="connsiteY21" fmla="*/ 24001 h 32819"/>
                <a:gd name="connsiteX22" fmla="*/ -1048 w 49022"/>
                <a:gd name="connsiteY22" fmla="*/ 20998 h 32819"/>
                <a:gd name="connsiteX23" fmla="*/ -1276 w 49022"/>
                <a:gd name="connsiteY23" fmla="*/ 18491 h 32819"/>
                <a:gd name="connsiteX24" fmla="*/ -623 w 49022"/>
                <a:gd name="connsiteY24" fmla="*/ 12738 h 32819"/>
                <a:gd name="connsiteX25" fmla="*/ -4193 w 49022"/>
                <a:gd name="connsiteY25" fmla="*/ 13589 h 32819"/>
                <a:gd name="connsiteX26" fmla="*/ -7991 w 49022"/>
                <a:gd name="connsiteY26" fmla="*/ 11695 h 32819"/>
                <a:gd name="connsiteX27" fmla="*/ -6098 w 49022"/>
                <a:gd name="connsiteY27" fmla="*/ 7897 h 32819"/>
                <a:gd name="connsiteX28" fmla="*/ -10 w 49022"/>
                <a:gd name="connsiteY28" fmla="*/ 6585 h 32819"/>
                <a:gd name="connsiteX29" fmla="*/ 658 w 49022"/>
                <a:gd name="connsiteY29" fmla="*/ 311 h 32819"/>
                <a:gd name="connsiteX30" fmla="*/ 729 w 49022"/>
                <a:gd name="connsiteY30" fmla="*/ -211 h 32819"/>
                <a:gd name="connsiteX31" fmla="*/ 6447 w 49022"/>
                <a:gd name="connsiteY31" fmla="*/ -5842 h 32819"/>
                <a:gd name="connsiteX32" fmla="*/ 34623 w 49022"/>
                <a:gd name="connsiteY32" fmla="*/ -5883 h 32819"/>
                <a:gd name="connsiteX33" fmla="*/ 34684 w 49022"/>
                <a:gd name="connsiteY33" fmla="*/ -5883 h 32819"/>
                <a:gd name="connsiteX34" fmla="*/ 40771 w 49022"/>
                <a:gd name="connsiteY34" fmla="*/ 78 h 32819"/>
                <a:gd name="connsiteX35" fmla="*/ 40857 w 49022"/>
                <a:gd name="connsiteY35" fmla="*/ 1597 h 32819"/>
                <a:gd name="connsiteX36" fmla="*/ 39328 w 49022"/>
                <a:gd name="connsiteY36" fmla="*/ 19721 h 32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9022" h="32819">
                  <a:moveTo>
                    <a:pt x="10513" y="12181"/>
                  </a:moveTo>
                  <a:cubicBezTo>
                    <a:pt x="10513" y="12181"/>
                    <a:pt x="8300" y="12014"/>
                    <a:pt x="5449" y="12125"/>
                  </a:cubicBezTo>
                  <a:lnTo>
                    <a:pt x="4704" y="19149"/>
                  </a:lnTo>
                  <a:lnTo>
                    <a:pt x="4978" y="19914"/>
                  </a:lnTo>
                  <a:lnTo>
                    <a:pt x="5490" y="20218"/>
                  </a:lnTo>
                  <a:lnTo>
                    <a:pt x="5672" y="20223"/>
                  </a:lnTo>
                  <a:cubicBezTo>
                    <a:pt x="11961" y="19960"/>
                    <a:pt x="23791" y="19595"/>
                    <a:pt x="32395" y="20086"/>
                  </a:cubicBezTo>
                  <a:cubicBezTo>
                    <a:pt x="32912" y="20096"/>
                    <a:pt x="33332" y="19757"/>
                    <a:pt x="33403" y="19235"/>
                  </a:cubicBezTo>
                  <a:lnTo>
                    <a:pt x="34867" y="1106"/>
                  </a:lnTo>
                  <a:cubicBezTo>
                    <a:pt x="34942" y="584"/>
                    <a:pt x="34664" y="-3"/>
                    <a:pt x="34076" y="98"/>
                  </a:cubicBezTo>
                  <a:cubicBezTo>
                    <a:pt x="28040" y="-505"/>
                    <a:pt x="16590" y="-1239"/>
                    <a:pt x="7303" y="58"/>
                  </a:cubicBezTo>
                  <a:lnTo>
                    <a:pt x="6583" y="913"/>
                  </a:lnTo>
                  <a:lnTo>
                    <a:pt x="6056" y="6145"/>
                  </a:lnTo>
                  <a:cubicBezTo>
                    <a:pt x="8730" y="6089"/>
                    <a:pt x="10711" y="6190"/>
                    <a:pt x="10943" y="6195"/>
                  </a:cubicBezTo>
                  <a:lnTo>
                    <a:pt x="11060" y="6200"/>
                  </a:lnTo>
                  <a:cubicBezTo>
                    <a:pt x="12630" y="6352"/>
                    <a:pt x="13815" y="7775"/>
                    <a:pt x="13719" y="9345"/>
                  </a:cubicBezTo>
                  <a:cubicBezTo>
                    <a:pt x="13622" y="11032"/>
                    <a:pt x="12200" y="12282"/>
                    <a:pt x="10513" y="12181"/>
                  </a:cubicBezTo>
                  <a:close/>
                  <a:moveTo>
                    <a:pt x="39328" y="19721"/>
                  </a:moveTo>
                  <a:cubicBezTo>
                    <a:pt x="39247" y="20709"/>
                    <a:pt x="38933" y="21691"/>
                    <a:pt x="38507" y="22497"/>
                  </a:cubicBezTo>
                  <a:cubicBezTo>
                    <a:pt x="37231" y="24735"/>
                    <a:pt x="34811" y="26194"/>
                    <a:pt x="32020" y="26072"/>
                  </a:cubicBezTo>
                  <a:cubicBezTo>
                    <a:pt x="23705" y="25586"/>
                    <a:pt x="12114" y="25900"/>
                    <a:pt x="5935" y="26168"/>
                  </a:cubicBezTo>
                  <a:cubicBezTo>
                    <a:pt x="3899" y="26295"/>
                    <a:pt x="1995" y="25490"/>
                    <a:pt x="577" y="24001"/>
                  </a:cubicBezTo>
                  <a:cubicBezTo>
                    <a:pt x="-218" y="23170"/>
                    <a:pt x="-780" y="22107"/>
                    <a:pt x="-1048" y="20998"/>
                  </a:cubicBezTo>
                  <a:cubicBezTo>
                    <a:pt x="-1261" y="20177"/>
                    <a:pt x="-1357" y="19357"/>
                    <a:pt x="-1276" y="18491"/>
                  </a:cubicBezTo>
                  <a:lnTo>
                    <a:pt x="-623" y="12738"/>
                  </a:lnTo>
                  <a:cubicBezTo>
                    <a:pt x="-1848" y="12946"/>
                    <a:pt x="-3074" y="13209"/>
                    <a:pt x="-4193" y="13589"/>
                  </a:cubicBezTo>
                  <a:cubicBezTo>
                    <a:pt x="-5712" y="14136"/>
                    <a:pt x="-7444" y="13280"/>
                    <a:pt x="-7991" y="11695"/>
                  </a:cubicBezTo>
                  <a:cubicBezTo>
                    <a:pt x="-8472" y="10115"/>
                    <a:pt x="-7683" y="8444"/>
                    <a:pt x="-6098" y="7897"/>
                  </a:cubicBezTo>
                  <a:cubicBezTo>
                    <a:pt x="-4218" y="7244"/>
                    <a:pt x="-2056" y="6884"/>
                    <a:pt x="-10" y="6585"/>
                  </a:cubicBezTo>
                  <a:lnTo>
                    <a:pt x="658" y="311"/>
                  </a:lnTo>
                  <a:lnTo>
                    <a:pt x="729" y="-211"/>
                  </a:lnTo>
                  <a:cubicBezTo>
                    <a:pt x="1261" y="-3168"/>
                    <a:pt x="3585" y="-5442"/>
                    <a:pt x="6447" y="-5842"/>
                  </a:cubicBezTo>
                  <a:cubicBezTo>
                    <a:pt x="16378" y="-7240"/>
                    <a:pt x="28349" y="-6496"/>
                    <a:pt x="34623" y="-5883"/>
                  </a:cubicBezTo>
                  <a:lnTo>
                    <a:pt x="34684" y="-5883"/>
                  </a:lnTo>
                  <a:cubicBezTo>
                    <a:pt x="37880" y="-5579"/>
                    <a:pt x="40381" y="-3016"/>
                    <a:pt x="40771" y="78"/>
                  </a:cubicBezTo>
                  <a:cubicBezTo>
                    <a:pt x="40883" y="549"/>
                    <a:pt x="40928" y="1070"/>
                    <a:pt x="40857" y="1597"/>
                  </a:cubicBezTo>
                  <a:lnTo>
                    <a:pt x="39328" y="19721"/>
                  </a:lnTo>
                </a:path>
              </a:pathLst>
            </a:custGeom>
            <a:solidFill>
              <a:srgbClr val="FFFFFF"/>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5" name="Freeform: Shape 444">
              <a:extLst>
                <a:ext uri="{FF2B5EF4-FFF2-40B4-BE49-F238E27FC236}">
                  <a16:creationId xmlns:a16="http://schemas.microsoft.com/office/drawing/2014/main" id="{35B5E6FB-AE09-A2C1-420A-72F563B9F25B}"/>
                </a:ext>
              </a:extLst>
            </p:cNvPr>
            <p:cNvSpPr/>
            <p:nvPr/>
          </p:nvSpPr>
          <p:spPr>
            <a:xfrm flipV="1">
              <a:off x="6122721" y="2870208"/>
              <a:ext cx="518084" cy="481797"/>
            </a:xfrm>
            <a:custGeom>
              <a:avLst/>
              <a:gdLst>
                <a:gd name="connsiteX0" fmla="*/ 510451 w 518084"/>
                <a:gd name="connsiteY0" fmla="*/ -3352 h 481797"/>
                <a:gd name="connsiteX1" fmla="*/ 439973 w 518084"/>
                <a:gd name="connsiteY1" fmla="*/ 12747 h 481797"/>
                <a:gd name="connsiteX2" fmla="*/ 387650 w 518084"/>
                <a:gd name="connsiteY2" fmla="*/ 293827 h 481797"/>
                <a:gd name="connsiteX3" fmla="*/ 275080 w 518084"/>
                <a:gd name="connsiteY3" fmla="*/ 155753 h 481797"/>
                <a:gd name="connsiteX4" fmla="*/ 229255 w 518084"/>
                <a:gd name="connsiteY4" fmla="*/ 125657 h 481797"/>
                <a:gd name="connsiteX5" fmla="*/ 18759 w 518084"/>
                <a:gd name="connsiteY5" fmla="*/ 21999 h 481797"/>
                <a:gd name="connsiteX6" fmla="*/ -6618 w 518084"/>
                <a:gd name="connsiteY6" fmla="*/ 74555 h 481797"/>
                <a:gd name="connsiteX7" fmla="*/ 208153 w 518084"/>
                <a:gd name="connsiteY7" fmla="*/ 212613 h 481797"/>
                <a:gd name="connsiteX8" fmla="*/ 327119 w 518084"/>
                <a:gd name="connsiteY8" fmla="*/ 395616 h 481797"/>
                <a:gd name="connsiteX9" fmla="*/ 361120 w 518084"/>
                <a:gd name="connsiteY9" fmla="*/ 433658 h 481797"/>
                <a:gd name="connsiteX10" fmla="*/ 389469 w 518084"/>
                <a:gd name="connsiteY10" fmla="*/ 461125 h 481797"/>
                <a:gd name="connsiteX11" fmla="*/ 405775 w 518084"/>
                <a:gd name="connsiteY11" fmla="*/ 474794 h 481797"/>
                <a:gd name="connsiteX12" fmla="*/ 490316 w 518084"/>
                <a:gd name="connsiteY12" fmla="*/ 64741 h 481797"/>
                <a:gd name="connsiteX13" fmla="*/ 510451 w 518084"/>
                <a:gd name="connsiteY13" fmla="*/ -3352 h 48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084" h="481797">
                  <a:moveTo>
                    <a:pt x="510451" y="-3352"/>
                  </a:moveTo>
                  <a:cubicBezTo>
                    <a:pt x="510451" y="-3352"/>
                    <a:pt x="482396" y="-18448"/>
                    <a:pt x="439973" y="12747"/>
                  </a:cubicBezTo>
                  <a:cubicBezTo>
                    <a:pt x="439973" y="12747"/>
                    <a:pt x="430609" y="193461"/>
                    <a:pt x="387650" y="293827"/>
                  </a:cubicBezTo>
                  <a:lnTo>
                    <a:pt x="275080" y="155753"/>
                  </a:lnTo>
                  <a:cubicBezTo>
                    <a:pt x="261802" y="142987"/>
                    <a:pt x="246290" y="132767"/>
                    <a:pt x="229255" y="125657"/>
                  </a:cubicBezTo>
                  <a:lnTo>
                    <a:pt x="18759" y="21999"/>
                  </a:lnTo>
                  <a:cubicBezTo>
                    <a:pt x="-15414" y="37298"/>
                    <a:pt x="-6618" y="74555"/>
                    <a:pt x="-6618" y="74555"/>
                  </a:cubicBezTo>
                  <a:lnTo>
                    <a:pt x="208153" y="212613"/>
                  </a:lnTo>
                  <a:lnTo>
                    <a:pt x="327119" y="395616"/>
                  </a:lnTo>
                  <a:cubicBezTo>
                    <a:pt x="337531" y="409097"/>
                    <a:pt x="348884" y="421828"/>
                    <a:pt x="361120" y="433658"/>
                  </a:cubicBezTo>
                  <a:lnTo>
                    <a:pt x="389469" y="461125"/>
                  </a:lnTo>
                  <a:lnTo>
                    <a:pt x="405775" y="474794"/>
                  </a:lnTo>
                  <a:cubicBezTo>
                    <a:pt x="407158" y="463227"/>
                    <a:pt x="429136" y="282032"/>
                    <a:pt x="490316" y="64741"/>
                  </a:cubicBezTo>
                  <a:cubicBezTo>
                    <a:pt x="496590" y="42367"/>
                    <a:pt x="503300" y="19624"/>
                    <a:pt x="510451" y="-3352"/>
                  </a:cubicBezTo>
                </a:path>
              </a:pathLst>
            </a:custGeom>
            <a:solidFill>
              <a:srgbClr val="4DA5C3">
                <a:lumMod val="60000"/>
                <a:lumOff val="4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6" name="Freeform: Shape 445">
              <a:extLst>
                <a:ext uri="{FF2B5EF4-FFF2-40B4-BE49-F238E27FC236}">
                  <a16:creationId xmlns:a16="http://schemas.microsoft.com/office/drawing/2014/main" id="{54F200DB-82FC-AD55-43A3-EF8A733D51EC}"/>
                </a:ext>
              </a:extLst>
            </p:cNvPr>
            <p:cNvSpPr/>
            <p:nvPr/>
          </p:nvSpPr>
          <p:spPr>
            <a:xfrm flipV="1">
              <a:off x="6496918" y="2978975"/>
              <a:ext cx="25114" cy="76363"/>
            </a:xfrm>
            <a:custGeom>
              <a:avLst/>
              <a:gdLst>
                <a:gd name="connsiteX0" fmla="*/ 13341 w 25114"/>
                <a:gd name="connsiteY0" fmla="*/ -7213 h 76363"/>
                <a:gd name="connsiteX1" fmla="*/ 9554 w 25114"/>
                <a:gd name="connsiteY1" fmla="*/ -4746 h 76363"/>
                <a:gd name="connsiteX2" fmla="*/ -7826 w 25114"/>
                <a:gd name="connsiteY2" fmla="*/ 64678 h 76363"/>
                <a:gd name="connsiteX3" fmla="*/ -4302 w 25114"/>
                <a:gd name="connsiteY3" fmla="*/ 69124 h 76363"/>
                <a:gd name="connsiteX4" fmla="*/ 140 w 25114"/>
                <a:gd name="connsiteY4" fmla="*/ 65594 h 76363"/>
                <a:gd name="connsiteX5" fmla="*/ 16947 w 25114"/>
                <a:gd name="connsiteY5" fmla="*/ -1663 h 76363"/>
                <a:gd name="connsiteX6" fmla="*/ 14800 w 25114"/>
                <a:gd name="connsiteY6" fmla="*/ -6904 h 76363"/>
                <a:gd name="connsiteX7" fmla="*/ 13341 w 25114"/>
                <a:gd name="connsiteY7" fmla="*/ -7213 h 76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14" h="76363">
                  <a:moveTo>
                    <a:pt x="13341" y="-7213"/>
                  </a:moveTo>
                  <a:cubicBezTo>
                    <a:pt x="11742" y="-7248"/>
                    <a:pt x="10207" y="-6321"/>
                    <a:pt x="9554" y="-4746"/>
                  </a:cubicBezTo>
                  <a:cubicBezTo>
                    <a:pt x="9027" y="-3480"/>
                    <a:pt x="-3491" y="26808"/>
                    <a:pt x="-7826" y="64678"/>
                  </a:cubicBezTo>
                  <a:cubicBezTo>
                    <a:pt x="-8075" y="66881"/>
                    <a:pt x="-6500" y="68866"/>
                    <a:pt x="-4302" y="69124"/>
                  </a:cubicBezTo>
                  <a:cubicBezTo>
                    <a:pt x="-2064" y="69372"/>
                    <a:pt x="-109" y="67787"/>
                    <a:pt x="140" y="65594"/>
                  </a:cubicBezTo>
                  <a:cubicBezTo>
                    <a:pt x="4343" y="28900"/>
                    <a:pt x="16831" y="-1364"/>
                    <a:pt x="16947" y="-1663"/>
                  </a:cubicBezTo>
                  <a:cubicBezTo>
                    <a:pt x="17808" y="-3703"/>
                    <a:pt x="16841" y="-6053"/>
                    <a:pt x="14800" y="-6904"/>
                  </a:cubicBezTo>
                  <a:cubicBezTo>
                    <a:pt x="14319" y="-7101"/>
                    <a:pt x="13833" y="-7203"/>
                    <a:pt x="13341" y="-7213"/>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7" name="Freeform: Shape 446">
              <a:extLst>
                <a:ext uri="{FF2B5EF4-FFF2-40B4-BE49-F238E27FC236}">
                  <a16:creationId xmlns:a16="http://schemas.microsoft.com/office/drawing/2014/main" id="{BB338C71-9B20-5C22-A23E-E476BAD95088}"/>
                </a:ext>
              </a:extLst>
            </p:cNvPr>
            <p:cNvSpPr/>
            <p:nvPr/>
          </p:nvSpPr>
          <p:spPr>
            <a:xfrm flipV="1">
              <a:off x="6613257" y="2731714"/>
              <a:ext cx="601365" cy="604687"/>
            </a:xfrm>
            <a:custGeom>
              <a:avLst/>
              <a:gdLst>
                <a:gd name="connsiteX0" fmla="*/ 592522 w 601365"/>
                <a:gd name="connsiteY0" fmla="*/ 532245 h 604687"/>
                <a:gd name="connsiteX1" fmla="*/ 391122 w 601365"/>
                <a:gd name="connsiteY1" fmla="*/ 364516 h 604687"/>
                <a:gd name="connsiteX2" fmla="*/ 338571 w 601365"/>
                <a:gd name="connsiteY2" fmla="*/ 350737 h 604687"/>
                <a:gd name="connsiteX3" fmla="*/ 167201 w 601365"/>
                <a:gd name="connsiteY3" fmla="*/ 379855 h 604687"/>
                <a:gd name="connsiteX4" fmla="*/ 249594 w 601365"/>
                <a:gd name="connsiteY4" fmla="*/ 43764 h 604687"/>
                <a:gd name="connsiteX5" fmla="*/ 136421 w 601365"/>
                <a:gd name="connsiteY5" fmla="*/ -7176 h 604687"/>
                <a:gd name="connsiteX6" fmla="*/ 136370 w 601365"/>
                <a:gd name="connsiteY6" fmla="*/ -7080 h 604687"/>
                <a:gd name="connsiteX7" fmla="*/ -8544 w 601365"/>
                <a:gd name="connsiteY7" fmla="*/ 514531 h 604687"/>
                <a:gd name="connsiteX8" fmla="*/ 92054 w 601365"/>
                <a:gd name="connsiteY8" fmla="*/ 522228 h 604687"/>
                <a:gd name="connsiteX9" fmla="*/ 182399 w 601365"/>
                <a:gd name="connsiteY9" fmla="*/ 509877 h 604687"/>
                <a:gd name="connsiteX10" fmla="*/ 352928 w 601365"/>
                <a:gd name="connsiteY10" fmla="*/ 447983 h 604687"/>
                <a:gd name="connsiteX11" fmla="*/ 569278 w 601365"/>
                <a:gd name="connsiteY11" fmla="*/ 597512 h 604687"/>
                <a:gd name="connsiteX12" fmla="*/ 592522 w 601365"/>
                <a:gd name="connsiteY12" fmla="*/ 532245 h 60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1365" h="604687">
                  <a:moveTo>
                    <a:pt x="592522" y="532245"/>
                  </a:moveTo>
                  <a:lnTo>
                    <a:pt x="391122" y="364516"/>
                  </a:lnTo>
                  <a:cubicBezTo>
                    <a:pt x="376030" y="353198"/>
                    <a:pt x="357222" y="348271"/>
                    <a:pt x="338571" y="350737"/>
                  </a:cubicBezTo>
                  <a:lnTo>
                    <a:pt x="167201" y="379855"/>
                  </a:lnTo>
                  <a:cubicBezTo>
                    <a:pt x="201733" y="188801"/>
                    <a:pt x="249594" y="43764"/>
                    <a:pt x="249594" y="43764"/>
                  </a:cubicBezTo>
                  <a:cubicBezTo>
                    <a:pt x="207142" y="-699"/>
                    <a:pt x="136421" y="-7176"/>
                    <a:pt x="136421" y="-7176"/>
                  </a:cubicBezTo>
                  <a:lnTo>
                    <a:pt x="136370" y="-7080"/>
                  </a:lnTo>
                  <a:cubicBezTo>
                    <a:pt x="133509" y="-572"/>
                    <a:pt x="-6266" y="337129"/>
                    <a:pt x="-8544" y="514531"/>
                  </a:cubicBezTo>
                  <a:lnTo>
                    <a:pt x="92054" y="522228"/>
                  </a:lnTo>
                  <a:cubicBezTo>
                    <a:pt x="122682" y="524583"/>
                    <a:pt x="153508" y="520370"/>
                    <a:pt x="182399" y="509877"/>
                  </a:cubicBezTo>
                  <a:lnTo>
                    <a:pt x="352928" y="447983"/>
                  </a:lnTo>
                  <a:lnTo>
                    <a:pt x="569278" y="597512"/>
                  </a:lnTo>
                  <a:cubicBezTo>
                    <a:pt x="569278" y="597512"/>
                    <a:pt x="595915" y="594119"/>
                    <a:pt x="592522" y="532245"/>
                  </a:cubicBezTo>
                </a:path>
              </a:pathLst>
            </a:custGeom>
            <a:solidFill>
              <a:srgbClr val="4DA5C3">
                <a:lumMod val="60000"/>
                <a:lumOff val="4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8" name="Freeform: Shape 447">
              <a:extLst>
                <a:ext uri="{FF2B5EF4-FFF2-40B4-BE49-F238E27FC236}">
                  <a16:creationId xmlns:a16="http://schemas.microsoft.com/office/drawing/2014/main" id="{ECB0082E-AC07-4600-29F1-EC586A39A11D}"/>
                </a:ext>
              </a:extLst>
            </p:cNvPr>
            <p:cNvSpPr/>
            <p:nvPr/>
          </p:nvSpPr>
          <p:spPr>
            <a:xfrm flipV="1">
              <a:off x="6764988" y="3225513"/>
              <a:ext cx="80637" cy="29178"/>
            </a:xfrm>
            <a:custGeom>
              <a:avLst/>
              <a:gdLst>
                <a:gd name="connsiteX0" fmla="*/ 55906 w 80637"/>
                <a:gd name="connsiteY0" fmla="*/ -6690 h 29178"/>
                <a:gd name="connsiteX1" fmla="*/ -6940 w 80637"/>
                <a:gd name="connsiteY1" fmla="*/ 15395 h 29178"/>
                <a:gd name="connsiteX2" fmla="*/ -7406 w 80637"/>
                <a:gd name="connsiteY2" fmla="*/ 21046 h 29178"/>
                <a:gd name="connsiteX3" fmla="*/ -1760 w 80637"/>
                <a:gd name="connsiteY3" fmla="*/ 21512 h 29178"/>
                <a:gd name="connsiteX4" fmla="*/ 67599 w 80637"/>
                <a:gd name="connsiteY4" fmla="*/ 2456 h 29178"/>
                <a:gd name="connsiteX5" fmla="*/ 72222 w 80637"/>
                <a:gd name="connsiteY5" fmla="*/ -831 h 29178"/>
                <a:gd name="connsiteX6" fmla="*/ 68930 w 80637"/>
                <a:gd name="connsiteY6" fmla="*/ -5449 h 29178"/>
                <a:gd name="connsiteX7" fmla="*/ 55906 w 80637"/>
                <a:gd name="connsiteY7" fmla="*/ -6690 h 29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637" h="29178">
                  <a:moveTo>
                    <a:pt x="55906" y="-6690"/>
                  </a:moveTo>
                  <a:cubicBezTo>
                    <a:pt x="33203" y="-7217"/>
                    <a:pt x="10440" y="643"/>
                    <a:pt x="-6940" y="15395"/>
                  </a:cubicBezTo>
                  <a:cubicBezTo>
                    <a:pt x="-8632" y="16828"/>
                    <a:pt x="-8839" y="19360"/>
                    <a:pt x="-7406" y="21046"/>
                  </a:cubicBezTo>
                  <a:cubicBezTo>
                    <a:pt x="-5968" y="22748"/>
                    <a:pt x="-3441" y="22935"/>
                    <a:pt x="-1760" y="21512"/>
                  </a:cubicBezTo>
                  <a:cubicBezTo>
                    <a:pt x="17185" y="5434"/>
                    <a:pt x="43114" y="-1671"/>
                    <a:pt x="67599" y="2456"/>
                  </a:cubicBezTo>
                  <a:cubicBezTo>
                    <a:pt x="69746" y="2785"/>
                    <a:pt x="71848" y="1357"/>
                    <a:pt x="72222" y="-831"/>
                  </a:cubicBezTo>
                  <a:cubicBezTo>
                    <a:pt x="72592" y="-3008"/>
                    <a:pt x="71118" y="-5079"/>
                    <a:pt x="68930" y="-5449"/>
                  </a:cubicBezTo>
                  <a:cubicBezTo>
                    <a:pt x="64621" y="-6184"/>
                    <a:pt x="60266" y="-6589"/>
                    <a:pt x="55906" y="-6690"/>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9" name="Freeform: Shape 448">
              <a:extLst>
                <a:ext uri="{FF2B5EF4-FFF2-40B4-BE49-F238E27FC236}">
                  <a16:creationId xmlns:a16="http://schemas.microsoft.com/office/drawing/2014/main" id="{5632AE76-F682-F465-BBBD-C3535A37EF16}"/>
                </a:ext>
              </a:extLst>
            </p:cNvPr>
            <p:cNvSpPr/>
            <p:nvPr/>
          </p:nvSpPr>
          <p:spPr>
            <a:xfrm flipV="1">
              <a:off x="6624968" y="2831413"/>
              <a:ext cx="96793" cy="357906"/>
            </a:xfrm>
            <a:custGeom>
              <a:avLst/>
              <a:gdLst>
                <a:gd name="connsiteX0" fmla="*/ 84736 w 96793"/>
                <a:gd name="connsiteY0" fmla="*/ -7228 h 357906"/>
                <a:gd name="connsiteX1" fmla="*/ 80775 w 96793"/>
                <a:gd name="connsiteY1" fmla="*/ -4245 h 357906"/>
                <a:gd name="connsiteX2" fmla="*/ 53151 w 96793"/>
                <a:gd name="connsiteY2" fmla="*/ 242079 h 357906"/>
                <a:gd name="connsiteX3" fmla="*/ 33643 w 96793"/>
                <a:gd name="connsiteY3" fmla="*/ 250541 h 357906"/>
                <a:gd name="connsiteX4" fmla="*/ 11609 w 96793"/>
                <a:gd name="connsiteY4" fmla="*/ 260097 h 357906"/>
                <a:gd name="connsiteX5" fmla="*/ 7989 w 96793"/>
                <a:gd name="connsiteY5" fmla="*/ 261682 h 357906"/>
                <a:gd name="connsiteX6" fmla="*/ 34722 w 96793"/>
                <a:gd name="connsiteY6" fmla="*/ 325075 h 357906"/>
                <a:gd name="connsiteX7" fmla="*/ -5740 w 96793"/>
                <a:gd name="connsiteY7" fmla="*/ 342997 h 357906"/>
                <a:gd name="connsiteX8" fmla="*/ -7791 w 96793"/>
                <a:gd name="connsiteY8" fmla="*/ 348284 h 357906"/>
                <a:gd name="connsiteX9" fmla="*/ -2499 w 96793"/>
                <a:gd name="connsiteY9" fmla="*/ 350330 h 357906"/>
                <a:gd name="connsiteX10" fmla="*/ 45175 w 96793"/>
                <a:gd name="connsiteY10" fmla="*/ 329213 h 357906"/>
                <a:gd name="connsiteX11" fmla="*/ 18451 w 96793"/>
                <a:gd name="connsiteY11" fmla="*/ 265860 h 357906"/>
                <a:gd name="connsiteX12" fmla="*/ 36819 w 96793"/>
                <a:gd name="connsiteY12" fmla="*/ 257900 h 357906"/>
                <a:gd name="connsiteX13" fmla="*/ 58848 w 96793"/>
                <a:gd name="connsiteY13" fmla="*/ 248344 h 357906"/>
                <a:gd name="connsiteX14" fmla="*/ 61334 w 96793"/>
                <a:gd name="connsiteY14" fmla="*/ 247255 h 357906"/>
                <a:gd name="connsiteX15" fmla="*/ 61248 w 96793"/>
                <a:gd name="connsiteY15" fmla="*/ 244546 h 357906"/>
                <a:gd name="connsiteX16" fmla="*/ 88529 w 96793"/>
                <a:gd name="connsiteY16" fmla="*/ -2199 h 357906"/>
                <a:gd name="connsiteX17" fmla="*/ 85672 w 96793"/>
                <a:gd name="connsiteY17" fmla="*/ -7096 h 357906"/>
                <a:gd name="connsiteX18" fmla="*/ 84736 w 96793"/>
                <a:gd name="connsiteY18" fmla="*/ -7228 h 35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6793" h="357906">
                  <a:moveTo>
                    <a:pt x="84736" y="-7228"/>
                  </a:moveTo>
                  <a:cubicBezTo>
                    <a:pt x="82928" y="-7269"/>
                    <a:pt x="81252" y="-6073"/>
                    <a:pt x="80775" y="-4245"/>
                  </a:cubicBezTo>
                  <a:cubicBezTo>
                    <a:pt x="60007" y="74401"/>
                    <a:pt x="50714" y="157265"/>
                    <a:pt x="53151" y="242079"/>
                  </a:cubicBezTo>
                  <a:cubicBezTo>
                    <a:pt x="46663" y="244915"/>
                    <a:pt x="40151" y="247726"/>
                    <a:pt x="33643" y="250541"/>
                  </a:cubicBezTo>
                  <a:cubicBezTo>
                    <a:pt x="26290" y="253717"/>
                    <a:pt x="18932" y="256892"/>
                    <a:pt x="11609" y="260097"/>
                  </a:cubicBezTo>
                  <a:lnTo>
                    <a:pt x="7989" y="261682"/>
                  </a:lnTo>
                  <a:lnTo>
                    <a:pt x="34722" y="325075"/>
                  </a:lnTo>
                  <a:lnTo>
                    <a:pt x="-5740" y="342997"/>
                  </a:lnTo>
                  <a:cubicBezTo>
                    <a:pt x="-7771" y="343894"/>
                    <a:pt x="-8682" y="346264"/>
                    <a:pt x="-7791" y="348284"/>
                  </a:cubicBezTo>
                  <a:cubicBezTo>
                    <a:pt x="-6895" y="350305"/>
                    <a:pt x="-4540" y="351237"/>
                    <a:pt x="-2499" y="350330"/>
                  </a:cubicBezTo>
                  <a:lnTo>
                    <a:pt x="45175" y="329213"/>
                  </a:lnTo>
                  <a:lnTo>
                    <a:pt x="18451" y="265860"/>
                  </a:lnTo>
                  <a:cubicBezTo>
                    <a:pt x="24558" y="263197"/>
                    <a:pt x="30691" y="260548"/>
                    <a:pt x="36819" y="257900"/>
                  </a:cubicBezTo>
                  <a:cubicBezTo>
                    <a:pt x="44172" y="254719"/>
                    <a:pt x="51530" y="251544"/>
                    <a:pt x="58848" y="248344"/>
                  </a:cubicBezTo>
                  <a:lnTo>
                    <a:pt x="61334" y="247255"/>
                  </a:lnTo>
                  <a:lnTo>
                    <a:pt x="61248" y="244546"/>
                  </a:lnTo>
                  <a:cubicBezTo>
                    <a:pt x="58559" y="159559"/>
                    <a:pt x="67735" y="76543"/>
                    <a:pt x="88529" y="-2199"/>
                  </a:cubicBezTo>
                  <a:cubicBezTo>
                    <a:pt x="89091" y="-4341"/>
                    <a:pt x="87809" y="-6529"/>
                    <a:pt x="85672" y="-7096"/>
                  </a:cubicBezTo>
                  <a:lnTo>
                    <a:pt x="84736" y="-7228"/>
                  </a:ln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0" name="Freeform: Shape 449">
              <a:extLst>
                <a:ext uri="{FF2B5EF4-FFF2-40B4-BE49-F238E27FC236}">
                  <a16:creationId xmlns:a16="http://schemas.microsoft.com/office/drawing/2014/main" id="{4281A29F-227F-D9B0-5CEB-C48F2DF7E464}"/>
                </a:ext>
              </a:extLst>
            </p:cNvPr>
            <p:cNvSpPr/>
            <p:nvPr/>
          </p:nvSpPr>
          <p:spPr>
            <a:xfrm flipV="1">
              <a:off x="5866242" y="1836052"/>
              <a:ext cx="1519199" cy="460634"/>
            </a:xfrm>
            <a:custGeom>
              <a:avLst/>
              <a:gdLst>
                <a:gd name="connsiteX0" fmla="*/ 1443339 w 1519199"/>
                <a:gd name="connsiteY0" fmla="*/ 31710 h 460634"/>
                <a:gd name="connsiteX1" fmla="*/ 1511148 w 1519199"/>
                <a:gd name="connsiteY1" fmla="*/ 385080 h 460634"/>
                <a:gd name="connsiteX2" fmla="*/ 1276375 w 1519199"/>
                <a:gd name="connsiteY2" fmla="*/ 447754 h 460634"/>
                <a:gd name="connsiteX3" fmla="*/ 1045273 w 1519199"/>
                <a:gd name="connsiteY3" fmla="*/ 367204 h 460634"/>
                <a:gd name="connsiteX4" fmla="*/ 810920 w 1519199"/>
                <a:gd name="connsiteY4" fmla="*/ 299264 h 460634"/>
                <a:gd name="connsiteX5" fmla="*/ 521829 w 1519199"/>
                <a:gd name="connsiteY5" fmla="*/ 337660 h 460634"/>
                <a:gd name="connsiteX6" fmla="*/ 237412 w 1519199"/>
                <a:gd name="connsiteY6" fmla="*/ 266256 h 460634"/>
                <a:gd name="connsiteX7" fmla="*/ -8051 w 1519199"/>
                <a:gd name="connsiteY7" fmla="*/ 100410 h 460634"/>
                <a:gd name="connsiteX8" fmla="*/ 650139 w 1519199"/>
                <a:gd name="connsiteY8" fmla="*/ 119421 h 460634"/>
                <a:gd name="connsiteX9" fmla="*/ 989567 w 1519199"/>
                <a:gd name="connsiteY9" fmla="*/ -9031 h 460634"/>
                <a:gd name="connsiteX10" fmla="*/ 1218340 w 1519199"/>
                <a:gd name="connsiteY10" fmla="*/ 31113 h 460634"/>
                <a:gd name="connsiteX11" fmla="*/ 1443339 w 1519199"/>
                <a:gd name="connsiteY11" fmla="*/ 31710 h 460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19199" h="460634">
                  <a:moveTo>
                    <a:pt x="1443339" y="31710"/>
                  </a:moveTo>
                  <a:cubicBezTo>
                    <a:pt x="1443339" y="31710"/>
                    <a:pt x="1266601" y="287566"/>
                    <a:pt x="1511148" y="385080"/>
                  </a:cubicBezTo>
                  <a:cubicBezTo>
                    <a:pt x="1453670" y="443333"/>
                    <a:pt x="1357401" y="459381"/>
                    <a:pt x="1276375" y="447754"/>
                  </a:cubicBezTo>
                  <a:cubicBezTo>
                    <a:pt x="1195349" y="436132"/>
                    <a:pt x="1120045" y="400465"/>
                    <a:pt x="1045273" y="367204"/>
                  </a:cubicBezTo>
                  <a:cubicBezTo>
                    <a:pt x="970476" y="333943"/>
                    <a:pt x="892721" y="302201"/>
                    <a:pt x="810920" y="299264"/>
                  </a:cubicBezTo>
                  <a:cubicBezTo>
                    <a:pt x="713588" y="295770"/>
                    <a:pt x="619126" y="333340"/>
                    <a:pt x="521829" y="337660"/>
                  </a:cubicBezTo>
                  <a:cubicBezTo>
                    <a:pt x="423048" y="342055"/>
                    <a:pt x="325199" y="311747"/>
                    <a:pt x="237412" y="266256"/>
                  </a:cubicBezTo>
                  <a:cubicBezTo>
                    <a:pt x="149615" y="220760"/>
                    <a:pt x="70524" y="160425"/>
                    <a:pt x="-8051" y="100410"/>
                  </a:cubicBezTo>
                  <a:cubicBezTo>
                    <a:pt x="192574" y="205045"/>
                    <a:pt x="441836" y="207810"/>
                    <a:pt x="650139" y="119421"/>
                  </a:cubicBezTo>
                  <a:cubicBezTo>
                    <a:pt x="762310" y="71823"/>
                    <a:pt x="867836" y="-3637"/>
                    <a:pt x="989567" y="-9031"/>
                  </a:cubicBezTo>
                  <a:cubicBezTo>
                    <a:pt x="1067216" y="-12469"/>
                    <a:pt x="1142682" y="13388"/>
                    <a:pt x="1218340" y="31113"/>
                  </a:cubicBezTo>
                  <a:cubicBezTo>
                    <a:pt x="1294049" y="48837"/>
                    <a:pt x="1373860" y="66471"/>
                    <a:pt x="1443339" y="31710"/>
                  </a:cubicBezTo>
                </a:path>
              </a:pathLst>
            </a:custGeom>
            <a:solidFill>
              <a:srgbClr val="4DA5C3"/>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1" name="Freeform: Shape 450">
              <a:extLst>
                <a:ext uri="{FF2B5EF4-FFF2-40B4-BE49-F238E27FC236}">
                  <a16:creationId xmlns:a16="http://schemas.microsoft.com/office/drawing/2014/main" id="{2635427F-C960-D853-FDA9-2D754D7D5D86}"/>
                </a:ext>
              </a:extLst>
            </p:cNvPr>
            <p:cNvSpPr/>
            <p:nvPr/>
          </p:nvSpPr>
          <p:spPr>
            <a:xfrm flipV="1">
              <a:off x="6940144" y="1868679"/>
              <a:ext cx="456727" cy="2327859"/>
            </a:xfrm>
            <a:custGeom>
              <a:avLst/>
              <a:gdLst>
                <a:gd name="connsiteX0" fmla="*/ 14601 w 456727"/>
                <a:gd name="connsiteY0" fmla="*/ 1713 h 2327859"/>
                <a:gd name="connsiteX1" fmla="*/ 57672 w 456727"/>
                <a:gd name="connsiteY1" fmla="*/ 231027 h 2327859"/>
                <a:gd name="connsiteX2" fmla="*/ 161132 w 456727"/>
                <a:gd name="connsiteY2" fmla="*/ 781660 h 2327859"/>
                <a:gd name="connsiteX3" fmla="*/ 285761 w 456727"/>
                <a:gd name="connsiteY3" fmla="*/ 1445143 h 2327859"/>
                <a:gd name="connsiteX4" fmla="*/ 394386 w 456727"/>
                <a:gd name="connsiteY4" fmla="*/ 2023172 h 2327859"/>
                <a:gd name="connsiteX5" fmla="*/ 429835 w 456727"/>
                <a:gd name="connsiteY5" fmla="*/ 2212039 h 2327859"/>
                <a:gd name="connsiteX6" fmla="*/ 446749 w 456727"/>
                <a:gd name="connsiteY6" fmla="*/ 2301918 h 2327859"/>
                <a:gd name="connsiteX7" fmla="*/ 447509 w 456727"/>
                <a:gd name="connsiteY7" fmla="*/ 2305939 h 2327859"/>
                <a:gd name="connsiteX8" fmla="*/ 424163 w 456727"/>
                <a:gd name="connsiteY8" fmla="*/ 2311793 h 2327859"/>
                <a:gd name="connsiteX9" fmla="*/ 381068 w 456727"/>
                <a:gd name="connsiteY9" fmla="*/ 2082479 h 2327859"/>
                <a:gd name="connsiteX10" fmla="*/ 277607 w 456727"/>
                <a:gd name="connsiteY10" fmla="*/ 1531845 h 2327859"/>
                <a:gd name="connsiteX11" fmla="*/ 152979 w 456727"/>
                <a:gd name="connsiteY11" fmla="*/ 868363 h 2327859"/>
                <a:gd name="connsiteX12" fmla="*/ 44404 w 456727"/>
                <a:gd name="connsiteY12" fmla="*/ 290338 h 2327859"/>
                <a:gd name="connsiteX13" fmla="*/ 8904 w 456727"/>
                <a:gd name="connsiteY13" fmla="*/ 101466 h 2327859"/>
                <a:gd name="connsiteX14" fmla="*/ -7979 w 456727"/>
                <a:gd name="connsiteY14" fmla="*/ 11588 h 2327859"/>
                <a:gd name="connsiteX15" fmla="*/ -8739 w 456727"/>
                <a:gd name="connsiteY15" fmla="*/ 7567 h 2327859"/>
                <a:gd name="connsiteX16" fmla="*/ 14601 w 456727"/>
                <a:gd name="connsiteY16" fmla="*/ 1713 h 232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6727" h="2327859">
                  <a:moveTo>
                    <a:pt x="14601" y="1713"/>
                  </a:moveTo>
                  <a:cubicBezTo>
                    <a:pt x="28963" y="78151"/>
                    <a:pt x="43340" y="154589"/>
                    <a:pt x="57672" y="231027"/>
                  </a:cubicBezTo>
                  <a:cubicBezTo>
                    <a:pt x="92159" y="414571"/>
                    <a:pt x="126645" y="598116"/>
                    <a:pt x="161132" y="781660"/>
                  </a:cubicBezTo>
                  <a:cubicBezTo>
                    <a:pt x="202658" y="1002821"/>
                    <a:pt x="244235" y="1223982"/>
                    <a:pt x="285761" y="1445143"/>
                  </a:cubicBezTo>
                  <a:cubicBezTo>
                    <a:pt x="321969" y="1637818"/>
                    <a:pt x="358178" y="1830493"/>
                    <a:pt x="394386" y="2023172"/>
                  </a:cubicBezTo>
                  <a:cubicBezTo>
                    <a:pt x="406186" y="2086125"/>
                    <a:pt x="418036" y="2149082"/>
                    <a:pt x="429835" y="2212039"/>
                  </a:cubicBezTo>
                  <a:cubicBezTo>
                    <a:pt x="435355" y="2241452"/>
                    <a:pt x="444167" y="2272049"/>
                    <a:pt x="446749" y="2301918"/>
                  </a:cubicBezTo>
                  <a:cubicBezTo>
                    <a:pt x="446850" y="2303255"/>
                    <a:pt x="447255" y="2304617"/>
                    <a:pt x="447509" y="2305939"/>
                  </a:cubicBezTo>
                  <a:cubicBezTo>
                    <a:pt x="450345" y="2321106"/>
                    <a:pt x="426999" y="2327021"/>
                    <a:pt x="424163" y="2311793"/>
                  </a:cubicBezTo>
                  <a:cubicBezTo>
                    <a:pt x="409781" y="2235355"/>
                    <a:pt x="395449" y="2158917"/>
                    <a:pt x="381068" y="2082479"/>
                  </a:cubicBezTo>
                  <a:cubicBezTo>
                    <a:pt x="346581" y="1898934"/>
                    <a:pt x="312094" y="1715390"/>
                    <a:pt x="277607" y="1531845"/>
                  </a:cubicBezTo>
                  <a:cubicBezTo>
                    <a:pt x="236081" y="1310685"/>
                    <a:pt x="194505" y="1089524"/>
                    <a:pt x="152979" y="868363"/>
                  </a:cubicBezTo>
                  <a:cubicBezTo>
                    <a:pt x="116770" y="675693"/>
                    <a:pt x="80562" y="483013"/>
                    <a:pt x="44404" y="290338"/>
                  </a:cubicBezTo>
                  <a:cubicBezTo>
                    <a:pt x="32559" y="227380"/>
                    <a:pt x="20729" y="164423"/>
                    <a:pt x="8904" y="101466"/>
                  </a:cubicBezTo>
                  <a:cubicBezTo>
                    <a:pt x="3374" y="72053"/>
                    <a:pt x="-5427" y="41451"/>
                    <a:pt x="-7979" y="11588"/>
                  </a:cubicBezTo>
                  <a:cubicBezTo>
                    <a:pt x="-8101" y="10251"/>
                    <a:pt x="-8491" y="8894"/>
                    <a:pt x="-8739" y="7567"/>
                  </a:cubicBezTo>
                  <a:cubicBezTo>
                    <a:pt x="-11590" y="-7605"/>
                    <a:pt x="11740" y="-13520"/>
                    <a:pt x="14601" y="1713"/>
                  </a:cubicBezTo>
                </a:path>
              </a:pathLst>
            </a:custGeom>
            <a:solidFill>
              <a:srgbClr val="4DA5C3">
                <a:lumMod val="5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2" name="Freeform: Shape 451">
              <a:extLst>
                <a:ext uri="{FF2B5EF4-FFF2-40B4-BE49-F238E27FC236}">
                  <a16:creationId xmlns:a16="http://schemas.microsoft.com/office/drawing/2014/main" id="{6B178583-4771-D771-C0E2-997D4D4FA580}"/>
                </a:ext>
              </a:extLst>
            </p:cNvPr>
            <p:cNvSpPr/>
            <p:nvPr/>
          </p:nvSpPr>
          <p:spPr>
            <a:xfrm flipV="1">
              <a:off x="7190711" y="2709436"/>
              <a:ext cx="27815" cy="22181"/>
            </a:xfrm>
            <a:custGeom>
              <a:avLst/>
              <a:gdLst>
                <a:gd name="connsiteX0" fmla="*/ 18470 w 27815"/>
                <a:gd name="connsiteY0" fmla="*/ 6915 h 22181"/>
                <a:gd name="connsiteX1" fmla="*/ 11735 w 27815"/>
                <a:gd name="connsiteY1" fmla="*/ 4813 h 22181"/>
                <a:gd name="connsiteX2" fmla="*/ 11634 w 27815"/>
                <a:gd name="connsiteY2" fmla="*/ 4631 h 22181"/>
                <a:gd name="connsiteX3" fmla="*/ -6141 w 27815"/>
                <a:gd name="connsiteY3" fmla="*/ -7878 h 22181"/>
                <a:gd name="connsiteX4" fmla="*/ 8241 w 27815"/>
                <a:gd name="connsiteY4" fmla="*/ 14298 h 22181"/>
                <a:gd name="connsiteX5" fmla="*/ 17508 w 27815"/>
                <a:gd name="connsiteY5" fmla="*/ 9087 h 22181"/>
                <a:gd name="connsiteX6" fmla="*/ 18470 w 27815"/>
                <a:gd name="connsiteY6" fmla="*/ 6915 h 2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15" h="22181">
                  <a:moveTo>
                    <a:pt x="18470" y="6915"/>
                  </a:moveTo>
                  <a:cubicBezTo>
                    <a:pt x="17863" y="3339"/>
                    <a:pt x="13204" y="7295"/>
                    <a:pt x="11735" y="4813"/>
                  </a:cubicBezTo>
                  <a:lnTo>
                    <a:pt x="11634" y="4631"/>
                  </a:lnTo>
                  <a:cubicBezTo>
                    <a:pt x="5355" y="-5710"/>
                    <a:pt x="-6141" y="-7878"/>
                    <a:pt x="-6141" y="-7878"/>
                  </a:cubicBezTo>
                  <a:cubicBezTo>
                    <a:pt x="-15155" y="10571"/>
                    <a:pt x="-1128" y="14030"/>
                    <a:pt x="8241" y="14298"/>
                  </a:cubicBezTo>
                  <a:cubicBezTo>
                    <a:pt x="11431" y="14460"/>
                    <a:pt x="15483" y="11275"/>
                    <a:pt x="17508" y="9087"/>
                  </a:cubicBezTo>
                  <a:cubicBezTo>
                    <a:pt x="18673" y="7806"/>
                    <a:pt x="19129" y="6854"/>
                    <a:pt x="18470" y="6915"/>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3" name="Freeform: Shape 452">
              <a:extLst>
                <a:ext uri="{FF2B5EF4-FFF2-40B4-BE49-F238E27FC236}">
                  <a16:creationId xmlns:a16="http://schemas.microsoft.com/office/drawing/2014/main" id="{FD84B9A8-B688-216E-5183-FA57BF673D9A}"/>
                </a:ext>
              </a:extLst>
            </p:cNvPr>
            <p:cNvSpPr/>
            <p:nvPr/>
          </p:nvSpPr>
          <p:spPr>
            <a:xfrm flipV="1">
              <a:off x="7209715" y="2714653"/>
              <a:ext cx="8810" cy="4456"/>
            </a:xfrm>
            <a:custGeom>
              <a:avLst/>
              <a:gdLst>
                <a:gd name="connsiteX0" fmla="*/ -550 w 8810"/>
                <a:gd name="connsiteY0" fmla="*/ -5602 h 4456"/>
                <a:gd name="connsiteX1" fmla="*/ -7286 w 8810"/>
                <a:gd name="connsiteY1" fmla="*/ -7703 h 4456"/>
                <a:gd name="connsiteX2" fmla="*/ -7387 w 8810"/>
                <a:gd name="connsiteY2" fmla="*/ -7886 h 4456"/>
                <a:gd name="connsiteX3" fmla="*/ -9058 w 8810"/>
                <a:gd name="connsiteY3" fmla="*/ -7288 h 4456"/>
                <a:gd name="connsiteX4" fmla="*/ -1512 w 8810"/>
                <a:gd name="connsiteY4" fmla="*/ -3429 h 4456"/>
                <a:gd name="connsiteX5" fmla="*/ -550 w 8810"/>
                <a:gd name="connsiteY5" fmla="*/ -5602 h 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10" h="4456">
                  <a:moveTo>
                    <a:pt x="-550" y="-5602"/>
                  </a:moveTo>
                  <a:cubicBezTo>
                    <a:pt x="-1158" y="-9177"/>
                    <a:pt x="-5817" y="-5222"/>
                    <a:pt x="-7286" y="-7703"/>
                  </a:cubicBezTo>
                  <a:lnTo>
                    <a:pt x="-7387" y="-7886"/>
                  </a:lnTo>
                  <a:lnTo>
                    <a:pt x="-9058" y="-7288"/>
                  </a:lnTo>
                  <a:cubicBezTo>
                    <a:pt x="-9058" y="-7288"/>
                    <a:pt x="-6121" y="-5298"/>
                    <a:pt x="-1512" y="-3429"/>
                  </a:cubicBezTo>
                  <a:cubicBezTo>
                    <a:pt x="-348" y="-4711"/>
                    <a:pt x="108" y="-5663"/>
                    <a:pt x="-550" y="-5602"/>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4" name="Freeform: Shape 453">
              <a:extLst>
                <a:ext uri="{FF2B5EF4-FFF2-40B4-BE49-F238E27FC236}">
                  <a16:creationId xmlns:a16="http://schemas.microsoft.com/office/drawing/2014/main" id="{4686DCC7-AE78-C2B1-A377-6E0CA96A7D70}"/>
                </a:ext>
              </a:extLst>
            </p:cNvPr>
            <p:cNvSpPr/>
            <p:nvPr/>
          </p:nvSpPr>
          <p:spPr>
            <a:xfrm flipV="1">
              <a:off x="7190582" y="2715825"/>
              <a:ext cx="59991" cy="84265"/>
            </a:xfrm>
            <a:custGeom>
              <a:avLst/>
              <a:gdLst>
                <a:gd name="connsiteX0" fmla="*/ 24447 w 59991"/>
                <a:gd name="connsiteY0" fmla="*/ -7069 h 84265"/>
                <a:gd name="connsiteX1" fmla="*/ 14419 w 59991"/>
                <a:gd name="connsiteY1" fmla="*/ -7671 h 84265"/>
                <a:gd name="connsiteX2" fmla="*/ 4899 w 59991"/>
                <a:gd name="connsiteY2" fmla="*/ -6035 h 84265"/>
                <a:gd name="connsiteX3" fmla="*/ -925 w 59991"/>
                <a:gd name="connsiteY3" fmla="*/ 1171 h 84265"/>
                <a:gd name="connsiteX4" fmla="*/ -1077 w 59991"/>
                <a:gd name="connsiteY4" fmla="*/ 7856 h 84265"/>
                <a:gd name="connsiteX5" fmla="*/ -1127 w 59991"/>
                <a:gd name="connsiteY5" fmla="*/ 7911 h 84265"/>
                <a:gd name="connsiteX6" fmla="*/ -4014 w 59991"/>
                <a:gd name="connsiteY6" fmla="*/ 25210 h 84265"/>
                <a:gd name="connsiteX7" fmla="*/ -9027 w 59991"/>
                <a:gd name="connsiteY7" fmla="*/ 33293 h 84265"/>
                <a:gd name="connsiteX8" fmla="*/ -5128 w 59991"/>
                <a:gd name="connsiteY8" fmla="*/ 42844 h 84265"/>
                <a:gd name="connsiteX9" fmla="*/ -8116 w 59991"/>
                <a:gd name="connsiteY9" fmla="*/ 50176 h 84265"/>
                <a:gd name="connsiteX10" fmla="*/ -3862 w 59991"/>
                <a:gd name="connsiteY10" fmla="*/ 57697 h 84265"/>
                <a:gd name="connsiteX11" fmla="*/ -5685 w 59991"/>
                <a:gd name="connsiteY11" fmla="*/ 66306 h 84265"/>
                <a:gd name="connsiteX12" fmla="*/ 2620 w 59991"/>
                <a:gd name="connsiteY12" fmla="*/ 71608 h 84265"/>
                <a:gd name="connsiteX13" fmla="*/ 30371 w 59991"/>
                <a:gd name="connsiteY13" fmla="*/ 76454 h 84265"/>
                <a:gd name="connsiteX14" fmla="*/ 40854 w 59991"/>
                <a:gd name="connsiteY14" fmla="*/ 75208 h 84265"/>
                <a:gd name="connsiteX15" fmla="*/ 48552 w 59991"/>
                <a:gd name="connsiteY15" fmla="*/ 68276 h 84265"/>
                <a:gd name="connsiteX16" fmla="*/ 48704 w 59991"/>
                <a:gd name="connsiteY16" fmla="*/ 60978 h 84265"/>
                <a:gd name="connsiteX17" fmla="*/ 49463 w 59991"/>
                <a:gd name="connsiteY17" fmla="*/ 54521 h 84265"/>
                <a:gd name="connsiteX18" fmla="*/ 50881 w 59991"/>
                <a:gd name="connsiteY18" fmla="*/ 47710 h 84265"/>
                <a:gd name="connsiteX19" fmla="*/ 48450 w 59991"/>
                <a:gd name="connsiteY19" fmla="*/ 42687 h 84265"/>
                <a:gd name="connsiteX20" fmla="*/ 45311 w 59991"/>
                <a:gd name="connsiteY20" fmla="*/ 33455 h 84265"/>
                <a:gd name="connsiteX21" fmla="*/ 44906 w 59991"/>
                <a:gd name="connsiteY21" fmla="*/ 26724 h 84265"/>
                <a:gd name="connsiteX22" fmla="*/ 41766 w 59991"/>
                <a:gd name="connsiteY22" fmla="*/ 21523 h 84265"/>
                <a:gd name="connsiteX23" fmla="*/ 38880 w 59991"/>
                <a:gd name="connsiteY23" fmla="*/ 12945 h 84265"/>
                <a:gd name="connsiteX24" fmla="*/ 36448 w 59991"/>
                <a:gd name="connsiteY24" fmla="*/ 3191 h 84265"/>
                <a:gd name="connsiteX25" fmla="*/ 24447 w 59991"/>
                <a:gd name="connsiteY25" fmla="*/ -7069 h 84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991" h="84265">
                  <a:moveTo>
                    <a:pt x="24447" y="-7069"/>
                  </a:moveTo>
                  <a:cubicBezTo>
                    <a:pt x="21307" y="-8117"/>
                    <a:pt x="17661" y="-7347"/>
                    <a:pt x="14419" y="-7671"/>
                  </a:cubicBezTo>
                  <a:cubicBezTo>
                    <a:pt x="11179" y="-8026"/>
                    <a:pt x="7735" y="-7651"/>
                    <a:pt x="4899" y="-6035"/>
                  </a:cubicBezTo>
                  <a:cubicBezTo>
                    <a:pt x="2165" y="-4471"/>
                    <a:pt x="38" y="-1772"/>
                    <a:pt x="-925" y="1171"/>
                  </a:cubicBezTo>
                  <a:cubicBezTo>
                    <a:pt x="-1684" y="3333"/>
                    <a:pt x="-1836" y="5663"/>
                    <a:pt x="-1077" y="7856"/>
                  </a:cubicBezTo>
                  <a:lnTo>
                    <a:pt x="-1127" y="7911"/>
                  </a:lnTo>
                  <a:cubicBezTo>
                    <a:pt x="-6191" y="12018"/>
                    <a:pt x="-7559" y="19766"/>
                    <a:pt x="-4014" y="25210"/>
                  </a:cubicBezTo>
                  <a:cubicBezTo>
                    <a:pt x="-7457" y="25874"/>
                    <a:pt x="-9382" y="29864"/>
                    <a:pt x="-9027" y="33293"/>
                  </a:cubicBezTo>
                  <a:cubicBezTo>
                    <a:pt x="-8622" y="36782"/>
                    <a:pt x="-7154" y="39962"/>
                    <a:pt x="-5128" y="42844"/>
                  </a:cubicBezTo>
                  <a:cubicBezTo>
                    <a:pt x="-7255" y="44631"/>
                    <a:pt x="-8369" y="47482"/>
                    <a:pt x="-8116" y="50176"/>
                  </a:cubicBezTo>
                  <a:cubicBezTo>
                    <a:pt x="-7913" y="52906"/>
                    <a:pt x="-6242" y="56294"/>
                    <a:pt x="-3862" y="57697"/>
                  </a:cubicBezTo>
                  <a:cubicBezTo>
                    <a:pt x="-6951" y="58958"/>
                    <a:pt x="-7508" y="63520"/>
                    <a:pt x="-5685" y="66306"/>
                  </a:cubicBezTo>
                  <a:cubicBezTo>
                    <a:pt x="-3862" y="69121"/>
                    <a:pt x="-520" y="70555"/>
                    <a:pt x="2620" y="71608"/>
                  </a:cubicBezTo>
                  <a:cubicBezTo>
                    <a:pt x="11533" y="74651"/>
                    <a:pt x="20952" y="76313"/>
                    <a:pt x="30371" y="76454"/>
                  </a:cubicBezTo>
                  <a:cubicBezTo>
                    <a:pt x="33916" y="76530"/>
                    <a:pt x="37512" y="76399"/>
                    <a:pt x="40854" y="75208"/>
                  </a:cubicBezTo>
                  <a:cubicBezTo>
                    <a:pt x="44197" y="73958"/>
                    <a:pt x="47286" y="71618"/>
                    <a:pt x="48552" y="68276"/>
                  </a:cubicBezTo>
                  <a:cubicBezTo>
                    <a:pt x="49413" y="66088"/>
                    <a:pt x="49565" y="63232"/>
                    <a:pt x="48704" y="60978"/>
                  </a:cubicBezTo>
                  <a:cubicBezTo>
                    <a:pt x="47894" y="58846"/>
                    <a:pt x="48400" y="56527"/>
                    <a:pt x="49463" y="54521"/>
                  </a:cubicBezTo>
                  <a:cubicBezTo>
                    <a:pt x="50527" y="52460"/>
                    <a:pt x="51084" y="50055"/>
                    <a:pt x="50881" y="47710"/>
                  </a:cubicBezTo>
                  <a:cubicBezTo>
                    <a:pt x="50729" y="45776"/>
                    <a:pt x="49767" y="44110"/>
                    <a:pt x="48450" y="42687"/>
                  </a:cubicBezTo>
                  <a:cubicBezTo>
                    <a:pt x="46172" y="40150"/>
                    <a:pt x="44754" y="36822"/>
                    <a:pt x="45311" y="33455"/>
                  </a:cubicBezTo>
                  <a:cubicBezTo>
                    <a:pt x="45665" y="31014"/>
                    <a:pt x="45665" y="28537"/>
                    <a:pt x="44906" y="26724"/>
                  </a:cubicBezTo>
                  <a:cubicBezTo>
                    <a:pt x="44095" y="24825"/>
                    <a:pt x="43083" y="23007"/>
                    <a:pt x="41766" y="21523"/>
                  </a:cubicBezTo>
                  <a:cubicBezTo>
                    <a:pt x="39639" y="19199"/>
                    <a:pt x="38880" y="16075"/>
                    <a:pt x="38880" y="12945"/>
                  </a:cubicBezTo>
                  <a:cubicBezTo>
                    <a:pt x="38880" y="9557"/>
                    <a:pt x="38019" y="6169"/>
                    <a:pt x="36448" y="3191"/>
                  </a:cubicBezTo>
                  <a:cubicBezTo>
                    <a:pt x="33967" y="-1604"/>
                    <a:pt x="29561" y="-5327"/>
                    <a:pt x="24447" y="-7069"/>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5" name="Freeform: Shape 454">
              <a:extLst>
                <a:ext uri="{FF2B5EF4-FFF2-40B4-BE49-F238E27FC236}">
                  <a16:creationId xmlns:a16="http://schemas.microsoft.com/office/drawing/2014/main" id="{726D2D77-9451-3484-ECC0-FF0E1D0DAADB}"/>
                </a:ext>
              </a:extLst>
            </p:cNvPr>
            <p:cNvSpPr/>
            <p:nvPr/>
          </p:nvSpPr>
          <p:spPr>
            <a:xfrm flipV="1">
              <a:off x="7198075" y="2784386"/>
              <a:ext cx="22326" cy="7717"/>
            </a:xfrm>
            <a:custGeom>
              <a:avLst/>
              <a:gdLst>
                <a:gd name="connsiteX0" fmla="*/ 13276 w 22326"/>
                <a:gd name="connsiteY0" fmla="*/ -7149 h 7717"/>
                <a:gd name="connsiteX1" fmla="*/ 4160 w 22326"/>
                <a:gd name="connsiteY1" fmla="*/ -7600 h 7717"/>
                <a:gd name="connsiteX2" fmla="*/ -8399 w 22326"/>
                <a:gd name="connsiteY2" fmla="*/ -6749 h 7717"/>
                <a:gd name="connsiteX3" fmla="*/ -8550 w 22326"/>
                <a:gd name="connsiteY3" fmla="*/ -64 h 7717"/>
                <a:gd name="connsiteX4" fmla="*/ -8601 w 22326"/>
                <a:gd name="connsiteY4" fmla="*/ -9 h 7717"/>
                <a:gd name="connsiteX5" fmla="*/ 4768 w 22326"/>
                <a:gd name="connsiteY5" fmla="*/ -3842 h 7717"/>
                <a:gd name="connsiteX6" fmla="*/ 13276 w 22326"/>
                <a:gd name="connsiteY6" fmla="*/ -7149 h 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6" h="7717">
                  <a:moveTo>
                    <a:pt x="13276" y="-7149"/>
                  </a:moveTo>
                  <a:cubicBezTo>
                    <a:pt x="13124" y="-7767"/>
                    <a:pt x="9681" y="-7838"/>
                    <a:pt x="4160" y="-7600"/>
                  </a:cubicBezTo>
                  <a:cubicBezTo>
                    <a:pt x="666" y="-7463"/>
                    <a:pt x="-3638" y="-7189"/>
                    <a:pt x="-8399" y="-6749"/>
                  </a:cubicBezTo>
                  <a:cubicBezTo>
                    <a:pt x="-9158" y="-4587"/>
                    <a:pt x="-9310" y="-2257"/>
                    <a:pt x="-8550" y="-64"/>
                  </a:cubicBezTo>
                  <a:lnTo>
                    <a:pt x="-8601" y="-9"/>
                  </a:lnTo>
                  <a:cubicBezTo>
                    <a:pt x="-3436" y="-1366"/>
                    <a:pt x="1173" y="-2804"/>
                    <a:pt x="4768" y="-3842"/>
                  </a:cubicBezTo>
                  <a:cubicBezTo>
                    <a:pt x="10086" y="-5397"/>
                    <a:pt x="13327" y="-6531"/>
                    <a:pt x="13276" y="-7149"/>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6" name="Freeform: Shape 455">
              <a:extLst>
                <a:ext uri="{FF2B5EF4-FFF2-40B4-BE49-F238E27FC236}">
                  <a16:creationId xmlns:a16="http://schemas.microsoft.com/office/drawing/2014/main" id="{1AB5F771-6509-B45A-7AE3-782EF4B71733}"/>
                </a:ext>
              </a:extLst>
            </p:cNvPr>
            <p:cNvSpPr/>
            <p:nvPr/>
          </p:nvSpPr>
          <p:spPr>
            <a:xfrm flipV="1">
              <a:off x="6520376" y="2791866"/>
              <a:ext cx="92744" cy="104501"/>
            </a:xfrm>
            <a:custGeom>
              <a:avLst/>
              <a:gdLst>
                <a:gd name="connsiteX0" fmla="*/ 70270 w 92744"/>
                <a:gd name="connsiteY0" fmla="*/ 96900 h 104501"/>
                <a:gd name="connsiteX1" fmla="*/ -7950 w 92744"/>
                <a:gd name="connsiteY1" fmla="*/ 26478 h 104501"/>
                <a:gd name="connsiteX2" fmla="*/ 32851 w 92744"/>
                <a:gd name="connsiteY2" fmla="*/ -7583 h 104501"/>
                <a:gd name="connsiteX3" fmla="*/ 84794 w 92744"/>
                <a:gd name="connsiteY3" fmla="*/ 79657 h 104501"/>
                <a:gd name="connsiteX4" fmla="*/ 70270 w 92744"/>
                <a:gd name="connsiteY4" fmla="*/ 96900 h 104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44" h="104501">
                  <a:moveTo>
                    <a:pt x="70270" y="96900"/>
                  </a:moveTo>
                  <a:lnTo>
                    <a:pt x="-7950" y="26478"/>
                  </a:lnTo>
                  <a:cubicBezTo>
                    <a:pt x="-7950" y="26478"/>
                    <a:pt x="33727" y="-8510"/>
                    <a:pt x="32851" y="-7583"/>
                  </a:cubicBezTo>
                  <a:cubicBezTo>
                    <a:pt x="31980" y="-6651"/>
                    <a:pt x="84794" y="79657"/>
                    <a:pt x="84794" y="79657"/>
                  </a:cubicBezTo>
                  <a:lnTo>
                    <a:pt x="70270" y="96900"/>
                  </a:lnTo>
                </a:path>
              </a:pathLst>
            </a:custGeom>
            <a:solidFill>
              <a:srgbClr val="94B7E5"/>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7" name="Freeform: Shape 456">
              <a:extLst>
                <a:ext uri="{FF2B5EF4-FFF2-40B4-BE49-F238E27FC236}">
                  <a16:creationId xmlns:a16="http://schemas.microsoft.com/office/drawing/2014/main" id="{371F5E28-4917-3AA0-6FD6-90EAA99CA00F}"/>
                </a:ext>
              </a:extLst>
            </p:cNvPr>
            <p:cNvSpPr/>
            <p:nvPr/>
          </p:nvSpPr>
          <p:spPr>
            <a:xfrm flipV="1">
              <a:off x="6527764" y="2758961"/>
              <a:ext cx="84722" cy="109405"/>
            </a:xfrm>
            <a:custGeom>
              <a:avLst/>
              <a:gdLst>
                <a:gd name="connsiteX0" fmla="*/ 73556 w 84722"/>
                <a:gd name="connsiteY0" fmla="*/ 53037 h 109405"/>
                <a:gd name="connsiteX1" fmla="*/ 76767 w 84722"/>
                <a:gd name="connsiteY1" fmla="*/ 56698 h 109405"/>
                <a:gd name="connsiteX2" fmla="*/ 59433 w 84722"/>
                <a:gd name="connsiteY2" fmla="*/ 76575 h 109405"/>
                <a:gd name="connsiteX3" fmla="*/ 59382 w 84722"/>
                <a:gd name="connsiteY3" fmla="*/ 76646 h 109405"/>
                <a:gd name="connsiteX4" fmla="*/ -7956 w 84722"/>
                <a:gd name="connsiteY4" fmla="*/ 47800 h 109405"/>
                <a:gd name="connsiteX5" fmla="*/ -7176 w 84722"/>
                <a:gd name="connsiteY5" fmla="*/ 46200 h 109405"/>
                <a:gd name="connsiteX6" fmla="*/ 7586 w 84722"/>
                <a:gd name="connsiteY6" fmla="*/ -7505 h 109405"/>
                <a:gd name="connsiteX7" fmla="*/ 73556 w 84722"/>
                <a:gd name="connsiteY7" fmla="*/ 53037 h 109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22" h="109405">
                  <a:moveTo>
                    <a:pt x="73556" y="53037"/>
                  </a:moveTo>
                  <a:lnTo>
                    <a:pt x="76767" y="56698"/>
                  </a:lnTo>
                  <a:lnTo>
                    <a:pt x="59433" y="76575"/>
                  </a:lnTo>
                  <a:lnTo>
                    <a:pt x="59382" y="76646"/>
                  </a:lnTo>
                  <a:cubicBezTo>
                    <a:pt x="6527" y="146708"/>
                    <a:pt x="-7956" y="47800"/>
                    <a:pt x="-7956" y="47800"/>
                  </a:cubicBezTo>
                  <a:cubicBezTo>
                    <a:pt x="-7698" y="47269"/>
                    <a:pt x="-7434" y="46737"/>
                    <a:pt x="-7176" y="46200"/>
                  </a:cubicBezTo>
                  <a:cubicBezTo>
                    <a:pt x="1585" y="27220"/>
                    <a:pt x="5747" y="8224"/>
                    <a:pt x="7586" y="-7505"/>
                  </a:cubicBezTo>
                  <a:cubicBezTo>
                    <a:pt x="7996" y="-11333"/>
                    <a:pt x="73556" y="53037"/>
                    <a:pt x="73556" y="53037"/>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8" name="Freeform: Shape 457">
              <a:extLst>
                <a:ext uri="{FF2B5EF4-FFF2-40B4-BE49-F238E27FC236}">
                  <a16:creationId xmlns:a16="http://schemas.microsoft.com/office/drawing/2014/main" id="{74196A61-0F9C-2373-ACCD-F218850D4D06}"/>
                </a:ext>
              </a:extLst>
            </p:cNvPr>
            <p:cNvSpPr/>
            <p:nvPr/>
          </p:nvSpPr>
          <p:spPr>
            <a:xfrm flipV="1">
              <a:off x="6528524" y="2796357"/>
              <a:ext cx="35332" cy="71864"/>
            </a:xfrm>
            <a:custGeom>
              <a:avLst/>
              <a:gdLst>
                <a:gd name="connsiteX0" fmla="*/ 27417 w 35332"/>
                <a:gd name="connsiteY0" fmla="*/ 64237 h 71864"/>
                <a:gd name="connsiteX1" fmla="*/ 6872 w 35332"/>
                <a:gd name="connsiteY1" fmla="*/ -7627 h 71864"/>
                <a:gd name="connsiteX2" fmla="*/ -7915 w 35332"/>
                <a:gd name="connsiteY2" fmla="*/ 46108 h 71864"/>
                <a:gd name="connsiteX3" fmla="*/ 27417 w 35332"/>
                <a:gd name="connsiteY3" fmla="*/ 64237 h 71864"/>
              </a:gdLst>
              <a:ahLst/>
              <a:cxnLst>
                <a:cxn ang="0">
                  <a:pos x="connsiteX0" y="connsiteY0"/>
                </a:cxn>
                <a:cxn ang="0">
                  <a:pos x="connsiteX1" y="connsiteY1"/>
                </a:cxn>
                <a:cxn ang="0">
                  <a:pos x="connsiteX2" y="connsiteY2"/>
                </a:cxn>
                <a:cxn ang="0">
                  <a:pos x="connsiteX3" y="connsiteY3"/>
                </a:cxn>
              </a:cxnLst>
              <a:rect l="l" t="t" r="r" b="b"/>
              <a:pathLst>
                <a:path w="35332" h="71864">
                  <a:moveTo>
                    <a:pt x="27417" y="64237"/>
                  </a:moveTo>
                  <a:lnTo>
                    <a:pt x="6872" y="-7627"/>
                  </a:lnTo>
                  <a:cubicBezTo>
                    <a:pt x="5019" y="8117"/>
                    <a:pt x="881" y="27113"/>
                    <a:pt x="-7915" y="46108"/>
                  </a:cubicBezTo>
                  <a:lnTo>
                    <a:pt x="27417" y="64237"/>
                  </a:ln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9" name="Freeform: Shape 458">
              <a:extLst>
                <a:ext uri="{FF2B5EF4-FFF2-40B4-BE49-F238E27FC236}">
                  <a16:creationId xmlns:a16="http://schemas.microsoft.com/office/drawing/2014/main" id="{DE3273E2-580D-C029-5DD0-B7E7C22262A1}"/>
                </a:ext>
              </a:extLst>
            </p:cNvPr>
            <p:cNvSpPr/>
            <p:nvPr/>
          </p:nvSpPr>
          <p:spPr>
            <a:xfrm flipV="1">
              <a:off x="6449929" y="2679314"/>
              <a:ext cx="125485" cy="161063"/>
            </a:xfrm>
            <a:custGeom>
              <a:avLst/>
              <a:gdLst>
                <a:gd name="connsiteX0" fmla="*/ 45392 w 125485"/>
                <a:gd name="connsiteY0" fmla="*/ -7736 h 161063"/>
                <a:gd name="connsiteX1" fmla="*/ 47949 w 125485"/>
                <a:gd name="connsiteY1" fmla="*/ -7771 h 161063"/>
                <a:gd name="connsiteX2" fmla="*/ 75027 w 125485"/>
                <a:gd name="connsiteY2" fmla="*/ 787 h 161063"/>
                <a:gd name="connsiteX3" fmla="*/ 107321 w 125485"/>
                <a:gd name="connsiteY3" fmla="*/ 36697 h 161063"/>
                <a:gd name="connsiteX4" fmla="*/ 107943 w 125485"/>
                <a:gd name="connsiteY4" fmla="*/ 42658 h 161063"/>
                <a:gd name="connsiteX5" fmla="*/ 114623 w 125485"/>
                <a:gd name="connsiteY5" fmla="*/ 69244 h 161063"/>
                <a:gd name="connsiteX6" fmla="*/ 110764 w 125485"/>
                <a:gd name="connsiteY6" fmla="*/ 153258 h 161063"/>
                <a:gd name="connsiteX7" fmla="*/ 34569 w 125485"/>
                <a:gd name="connsiteY7" fmla="*/ 140370 h 161063"/>
                <a:gd name="connsiteX8" fmla="*/ -4956 w 125485"/>
                <a:gd name="connsiteY8" fmla="*/ 133088 h 161063"/>
                <a:gd name="connsiteX9" fmla="*/ -7594 w 125485"/>
                <a:gd name="connsiteY9" fmla="*/ 117880 h 161063"/>
                <a:gd name="connsiteX10" fmla="*/ -6440 w 125485"/>
                <a:gd name="connsiteY10" fmla="*/ 101508 h 161063"/>
                <a:gd name="connsiteX11" fmla="*/ 4969 w 125485"/>
                <a:gd name="connsiteY11" fmla="*/ 69067 h 161063"/>
                <a:gd name="connsiteX12" fmla="*/ 5015 w 125485"/>
                <a:gd name="connsiteY12" fmla="*/ 69031 h 161063"/>
                <a:gd name="connsiteX13" fmla="*/ 4979 w 125485"/>
                <a:gd name="connsiteY13" fmla="*/ 68986 h 161063"/>
                <a:gd name="connsiteX14" fmla="*/ -171 w 125485"/>
                <a:gd name="connsiteY14" fmla="*/ 34788 h 161063"/>
                <a:gd name="connsiteX15" fmla="*/ 3394 w 125485"/>
                <a:gd name="connsiteY15" fmla="*/ 30073 h 161063"/>
                <a:gd name="connsiteX16" fmla="*/ 12925 w 125485"/>
                <a:gd name="connsiteY16" fmla="*/ 29815 h 161063"/>
                <a:gd name="connsiteX17" fmla="*/ 45392 w 125485"/>
                <a:gd name="connsiteY17" fmla="*/ -7736 h 16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485" h="161063">
                  <a:moveTo>
                    <a:pt x="45392" y="-7736"/>
                  </a:moveTo>
                  <a:cubicBezTo>
                    <a:pt x="46197" y="-7812"/>
                    <a:pt x="47072" y="-7791"/>
                    <a:pt x="47949" y="-7771"/>
                  </a:cubicBezTo>
                  <a:cubicBezTo>
                    <a:pt x="57535" y="-7599"/>
                    <a:pt x="66792" y="-4095"/>
                    <a:pt x="75027" y="787"/>
                  </a:cubicBezTo>
                  <a:cubicBezTo>
                    <a:pt x="89049" y="9148"/>
                    <a:pt x="100312" y="21940"/>
                    <a:pt x="107321" y="36697"/>
                  </a:cubicBezTo>
                  <a:cubicBezTo>
                    <a:pt x="107635" y="38637"/>
                    <a:pt x="107852" y="40637"/>
                    <a:pt x="107943" y="42658"/>
                  </a:cubicBezTo>
                  <a:cubicBezTo>
                    <a:pt x="110800" y="51332"/>
                    <a:pt x="113033" y="60235"/>
                    <a:pt x="114623" y="69244"/>
                  </a:cubicBezTo>
                  <a:cubicBezTo>
                    <a:pt x="119632" y="97097"/>
                    <a:pt x="118401" y="126044"/>
                    <a:pt x="110764" y="153258"/>
                  </a:cubicBezTo>
                  <a:cubicBezTo>
                    <a:pt x="85261" y="153578"/>
                    <a:pt x="59059" y="149131"/>
                    <a:pt x="34569" y="140370"/>
                  </a:cubicBezTo>
                  <a:cubicBezTo>
                    <a:pt x="20744" y="135397"/>
                    <a:pt x="-4956" y="133088"/>
                    <a:pt x="-4956" y="133088"/>
                  </a:cubicBezTo>
                  <a:cubicBezTo>
                    <a:pt x="-5762" y="131361"/>
                    <a:pt x="-7261" y="119941"/>
                    <a:pt x="-7594" y="117880"/>
                  </a:cubicBezTo>
                  <a:cubicBezTo>
                    <a:pt x="-8227" y="113009"/>
                    <a:pt x="-7671" y="107286"/>
                    <a:pt x="-6440" y="101508"/>
                  </a:cubicBezTo>
                  <a:cubicBezTo>
                    <a:pt x="-3285" y="85926"/>
                    <a:pt x="4519" y="70034"/>
                    <a:pt x="4969" y="69067"/>
                  </a:cubicBezTo>
                  <a:lnTo>
                    <a:pt x="5015" y="69031"/>
                  </a:lnTo>
                  <a:lnTo>
                    <a:pt x="4979" y="68986"/>
                  </a:lnTo>
                  <a:lnTo>
                    <a:pt x="-171" y="34788"/>
                  </a:lnTo>
                  <a:cubicBezTo>
                    <a:pt x="-353" y="32540"/>
                    <a:pt x="1227" y="30544"/>
                    <a:pt x="3394" y="30073"/>
                  </a:cubicBezTo>
                  <a:lnTo>
                    <a:pt x="12925" y="29815"/>
                  </a:lnTo>
                  <a:cubicBezTo>
                    <a:pt x="12925" y="29815"/>
                    <a:pt x="8241" y="-6768"/>
                    <a:pt x="45392" y="-7736"/>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0" name="Freeform: Shape 459">
              <a:extLst>
                <a:ext uri="{FF2B5EF4-FFF2-40B4-BE49-F238E27FC236}">
                  <a16:creationId xmlns:a16="http://schemas.microsoft.com/office/drawing/2014/main" id="{250E9191-4318-57B5-697A-233810862765}"/>
                </a:ext>
              </a:extLst>
            </p:cNvPr>
            <p:cNvSpPr/>
            <p:nvPr/>
          </p:nvSpPr>
          <p:spPr>
            <a:xfrm flipV="1">
              <a:off x="6472338" y="2748068"/>
              <a:ext cx="10777" cy="15889"/>
            </a:xfrm>
            <a:custGeom>
              <a:avLst/>
              <a:gdLst>
                <a:gd name="connsiteX0" fmla="*/ 2309 w 10777"/>
                <a:gd name="connsiteY0" fmla="*/ 1724 h 15889"/>
                <a:gd name="connsiteX1" fmla="*/ 192 w 10777"/>
                <a:gd name="connsiteY1" fmla="*/ -7640 h 15889"/>
                <a:gd name="connsiteX2" fmla="*/ -7131 w 10777"/>
                <a:gd name="connsiteY2" fmla="*/ -1426 h 15889"/>
                <a:gd name="connsiteX3" fmla="*/ -5009 w 10777"/>
                <a:gd name="connsiteY3" fmla="*/ 7932 h 15889"/>
                <a:gd name="connsiteX4" fmla="*/ 2309 w 10777"/>
                <a:gd name="connsiteY4" fmla="*/ 1724 h 15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7" h="15889">
                  <a:moveTo>
                    <a:pt x="2309" y="1724"/>
                  </a:moveTo>
                  <a:cubicBezTo>
                    <a:pt x="3747" y="-2576"/>
                    <a:pt x="2795" y="-6769"/>
                    <a:pt x="192" y="-7640"/>
                  </a:cubicBezTo>
                  <a:cubicBezTo>
                    <a:pt x="-2416" y="-8506"/>
                    <a:pt x="-5697" y="-5726"/>
                    <a:pt x="-7131" y="-1426"/>
                  </a:cubicBezTo>
                  <a:cubicBezTo>
                    <a:pt x="-8564" y="2873"/>
                    <a:pt x="-7612" y="7066"/>
                    <a:pt x="-5009" y="7932"/>
                  </a:cubicBezTo>
                  <a:cubicBezTo>
                    <a:pt x="-2401" y="8803"/>
                    <a:pt x="876" y="6023"/>
                    <a:pt x="2309" y="1724"/>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1" name="Freeform: Shape 460">
              <a:extLst>
                <a:ext uri="{FF2B5EF4-FFF2-40B4-BE49-F238E27FC236}">
                  <a16:creationId xmlns:a16="http://schemas.microsoft.com/office/drawing/2014/main" id="{3DC99AF8-B725-614C-9B63-EAB6041A8AFF}"/>
                </a:ext>
              </a:extLst>
            </p:cNvPr>
            <p:cNvSpPr/>
            <p:nvPr/>
          </p:nvSpPr>
          <p:spPr>
            <a:xfrm flipV="1">
              <a:off x="6464734" y="2727008"/>
              <a:ext cx="25304" cy="16233"/>
            </a:xfrm>
            <a:custGeom>
              <a:avLst/>
              <a:gdLst>
                <a:gd name="connsiteX0" fmla="*/ 16898 w 25304"/>
                <a:gd name="connsiteY0" fmla="*/ -2211 h 16233"/>
                <a:gd name="connsiteX1" fmla="*/ -4964 w 25304"/>
                <a:gd name="connsiteY1" fmla="*/ 8332 h 16233"/>
                <a:gd name="connsiteX2" fmla="*/ -4002 w 25304"/>
                <a:gd name="connsiteY2" fmla="*/ 1592 h 16233"/>
                <a:gd name="connsiteX3" fmla="*/ 11565 w 25304"/>
                <a:gd name="connsiteY3" fmla="*/ -6445 h 16233"/>
                <a:gd name="connsiteX4" fmla="*/ 16898 w 25304"/>
                <a:gd name="connsiteY4" fmla="*/ -2211 h 16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04" h="16233">
                  <a:moveTo>
                    <a:pt x="16898" y="-2211"/>
                  </a:moveTo>
                  <a:cubicBezTo>
                    <a:pt x="12066" y="5107"/>
                    <a:pt x="3695" y="8905"/>
                    <a:pt x="-4964" y="8332"/>
                  </a:cubicBezTo>
                  <a:cubicBezTo>
                    <a:pt x="-9339" y="8044"/>
                    <a:pt x="-8357" y="1303"/>
                    <a:pt x="-4002" y="1592"/>
                  </a:cubicBezTo>
                  <a:cubicBezTo>
                    <a:pt x="2363" y="2012"/>
                    <a:pt x="8096" y="-1193"/>
                    <a:pt x="11565" y="-6445"/>
                  </a:cubicBezTo>
                  <a:cubicBezTo>
                    <a:pt x="13976" y="-10101"/>
                    <a:pt x="19303" y="-5852"/>
                    <a:pt x="16898" y="-2211"/>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2" name="Freeform: Shape 461">
              <a:extLst>
                <a:ext uri="{FF2B5EF4-FFF2-40B4-BE49-F238E27FC236}">
                  <a16:creationId xmlns:a16="http://schemas.microsoft.com/office/drawing/2014/main" id="{33C9CFE5-221F-32D0-22C0-E1460FC0A88F}"/>
                </a:ext>
              </a:extLst>
            </p:cNvPr>
            <p:cNvSpPr/>
            <p:nvPr/>
          </p:nvSpPr>
          <p:spPr>
            <a:xfrm flipV="1">
              <a:off x="6533649" y="2733767"/>
              <a:ext cx="11319" cy="27709"/>
            </a:xfrm>
            <a:custGeom>
              <a:avLst/>
              <a:gdLst>
                <a:gd name="connsiteX0" fmla="*/ -3751 w 11319"/>
                <a:gd name="connsiteY0" fmla="*/ -7801 h 27709"/>
                <a:gd name="connsiteX1" fmla="*/ -2510 w 11319"/>
                <a:gd name="connsiteY1" fmla="*/ -7315 h 27709"/>
                <a:gd name="connsiteX2" fmla="*/ 194 w 11319"/>
                <a:gd name="connsiteY2" fmla="*/ 565 h 27709"/>
                <a:gd name="connsiteX3" fmla="*/ -5240 w 11319"/>
                <a:gd name="connsiteY3" fmla="*/ 2190 h 27709"/>
                <a:gd name="connsiteX4" fmla="*/ 2519 w 11319"/>
                <a:gd name="connsiteY4" fmla="*/ 17337 h 27709"/>
                <a:gd name="connsiteX5" fmla="*/ 3349 w 11319"/>
                <a:gd name="connsiteY5" fmla="*/ 18993 h 27709"/>
                <a:gd name="connsiteX6" fmla="*/ 1693 w 11319"/>
                <a:gd name="connsiteY6" fmla="*/ 19824 h 27709"/>
                <a:gd name="connsiteX7" fmla="*/ -7802 w 11319"/>
                <a:gd name="connsiteY7" fmla="*/ 1912 h 27709"/>
                <a:gd name="connsiteX8" fmla="*/ -6850 w 11319"/>
                <a:gd name="connsiteY8" fmla="*/ 139 h 27709"/>
                <a:gd name="connsiteX9" fmla="*/ -4895 w 11319"/>
                <a:gd name="connsiteY9" fmla="*/ -413 h 27709"/>
                <a:gd name="connsiteX10" fmla="*/ -2084 w 11319"/>
                <a:gd name="connsiteY10" fmla="*/ -727 h 27709"/>
                <a:gd name="connsiteX11" fmla="*/ -4576 w 11319"/>
                <a:gd name="connsiteY11" fmla="*/ -5695 h 27709"/>
                <a:gd name="connsiteX12" fmla="*/ -4353 w 11319"/>
                <a:gd name="connsiteY12" fmla="*/ -7538 h 27709"/>
                <a:gd name="connsiteX13" fmla="*/ -3751 w 11319"/>
                <a:gd name="connsiteY13" fmla="*/ -7801 h 27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19" h="27709">
                  <a:moveTo>
                    <a:pt x="-3751" y="-7801"/>
                  </a:moveTo>
                  <a:cubicBezTo>
                    <a:pt x="-3290" y="-7872"/>
                    <a:pt x="-2814" y="-7700"/>
                    <a:pt x="-2510" y="-7315"/>
                  </a:cubicBezTo>
                  <a:cubicBezTo>
                    <a:pt x="336" y="-3689"/>
                    <a:pt x="1197" y="-1188"/>
                    <a:pt x="194" y="565"/>
                  </a:cubicBezTo>
                  <a:cubicBezTo>
                    <a:pt x="-368" y="1557"/>
                    <a:pt x="-1765" y="2636"/>
                    <a:pt x="-5240" y="2190"/>
                  </a:cubicBezTo>
                  <a:cubicBezTo>
                    <a:pt x="-6252" y="14278"/>
                    <a:pt x="2433" y="17307"/>
                    <a:pt x="2519" y="17337"/>
                  </a:cubicBezTo>
                  <a:cubicBezTo>
                    <a:pt x="3207" y="17560"/>
                    <a:pt x="3577" y="18304"/>
                    <a:pt x="3349" y="18993"/>
                  </a:cubicBezTo>
                  <a:cubicBezTo>
                    <a:pt x="3132" y="19677"/>
                    <a:pt x="2387" y="20057"/>
                    <a:pt x="1693" y="19824"/>
                  </a:cubicBezTo>
                  <a:cubicBezTo>
                    <a:pt x="1592" y="19788"/>
                    <a:pt x="-9048" y="16091"/>
                    <a:pt x="-7802" y="1912"/>
                  </a:cubicBezTo>
                  <a:cubicBezTo>
                    <a:pt x="-7742" y="1223"/>
                    <a:pt x="-7397" y="580"/>
                    <a:pt x="-6850" y="139"/>
                  </a:cubicBezTo>
                  <a:cubicBezTo>
                    <a:pt x="-6303" y="-301"/>
                    <a:pt x="-5594" y="-494"/>
                    <a:pt x="-4895" y="-413"/>
                  </a:cubicBezTo>
                  <a:cubicBezTo>
                    <a:pt x="-3108" y="-180"/>
                    <a:pt x="-2221" y="-484"/>
                    <a:pt x="-2084" y="-727"/>
                  </a:cubicBezTo>
                  <a:cubicBezTo>
                    <a:pt x="-2059" y="-772"/>
                    <a:pt x="-1528" y="-1815"/>
                    <a:pt x="-4576" y="-5695"/>
                  </a:cubicBezTo>
                  <a:cubicBezTo>
                    <a:pt x="-5022" y="-6267"/>
                    <a:pt x="-4921" y="-7092"/>
                    <a:pt x="-4353" y="-7538"/>
                  </a:cubicBezTo>
                  <a:lnTo>
                    <a:pt x="-3751" y="-7801"/>
                  </a:lnTo>
                </a:path>
              </a:pathLst>
            </a:custGeom>
            <a:solidFill>
              <a:srgbClr val="E8E4E2">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3" name="Freeform: Shape 462">
              <a:extLst>
                <a:ext uri="{FF2B5EF4-FFF2-40B4-BE49-F238E27FC236}">
                  <a16:creationId xmlns:a16="http://schemas.microsoft.com/office/drawing/2014/main" id="{A6C866B4-D54A-FF40-4BAB-241101B42A04}"/>
                </a:ext>
              </a:extLst>
            </p:cNvPr>
            <p:cNvSpPr/>
            <p:nvPr/>
          </p:nvSpPr>
          <p:spPr>
            <a:xfrm flipV="1">
              <a:off x="6540201" y="2768107"/>
              <a:ext cx="19284" cy="10802"/>
            </a:xfrm>
            <a:custGeom>
              <a:avLst/>
              <a:gdLst>
                <a:gd name="connsiteX0" fmla="*/ -7921 w 19284"/>
                <a:gd name="connsiteY0" fmla="*/ -5628 h 10802"/>
                <a:gd name="connsiteX1" fmla="*/ 11363 w 19284"/>
                <a:gd name="connsiteY1" fmla="*/ 2864 h 10802"/>
                <a:gd name="connsiteX2" fmla="*/ 2926 w 19284"/>
                <a:gd name="connsiteY2" fmla="*/ 469 h 10802"/>
                <a:gd name="connsiteX3" fmla="*/ -7921 w 19284"/>
                <a:gd name="connsiteY3" fmla="*/ -5628 h 10802"/>
              </a:gdLst>
              <a:ahLst/>
              <a:cxnLst>
                <a:cxn ang="0">
                  <a:pos x="connsiteX0" y="connsiteY0"/>
                </a:cxn>
                <a:cxn ang="0">
                  <a:pos x="connsiteX1" y="connsiteY1"/>
                </a:cxn>
                <a:cxn ang="0">
                  <a:pos x="connsiteX2" y="connsiteY2"/>
                </a:cxn>
                <a:cxn ang="0">
                  <a:pos x="connsiteX3" y="connsiteY3"/>
                </a:cxn>
              </a:cxnLst>
              <a:rect l="l" t="t" r="r" b="b"/>
              <a:pathLst>
                <a:path w="19284" h="10802">
                  <a:moveTo>
                    <a:pt x="-7921" y="-5628"/>
                  </a:moveTo>
                  <a:cubicBezTo>
                    <a:pt x="-3911" y="-8358"/>
                    <a:pt x="3879" y="-10819"/>
                    <a:pt x="11363" y="2864"/>
                  </a:cubicBezTo>
                  <a:cubicBezTo>
                    <a:pt x="11363" y="2864"/>
                    <a:pt x="6284" y="4019"/>
                    <a:pt x="2926" y="469"/>
                  </a:cubicBezTo>
                  <a:cubicBezTo>
                    <a:pt x="2926" y="469"/>
                    <a:pt x="-3222" y="-7593"/>
                    <a:pt x="-7921" y="-5628"/>
                  </a:cubicBezTo>
                </a:path>
              </a:pathLst>
            </a:custGeom>
            <a:solidFill>
              <a:srgbClr val="E8E4E2">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4" name="Freeform: Shape 463">
              <a:extLst>
                <a:ext uri="{FF2B5EF4-FFF2-40B4-BE49-F238E27FC236}">
                  <a16:creationId xmlns:a16="http://schemas.microsoft.com/office/drawing/2014/main" id="{F5F79CB2-F82D-2507-14A3-8741EC107613}"/>
                </a:ext>
              </a:extLst>
            </p:cNvPr>
            <p:cNvSpPr/>
            <p:nvPr/>
          </p:nvSpPr>
          <p:spPr>
            <a:xfrm flipV="1">
              <a:off x="6413994" y="2619262"/>
              <a:ext cx="194269" cy="162221"/>
            </a:xfrm>
            <a:custGeom>
              <a:avLst/>
              <a:gdLst>
                <a:gd name="connsiteX0" fmla="*/ 74760 w 194269"/>
                <a:gd name="connsiteY0" fmla="*/ 75954 h 162221"/>
                <a:gd name="connsiteX1" fmla="*/ 104178 w 194269"/>
                <a:gd name="connsiteY1" fmla="*/ 30565 h 162221"/>
                <a:gd name="connsiteX2" fmla="*/ 111344 w 194269"/>
                <a:gd name="connsiteY2" fmla="*/ 43124 h 162221"/>
                <a:gd name="connsiteX3" fmla="*/ 125716 w 194269"/>
                <a:gd name="connsiteY3" fmla="*/ 44380 h 162221"/>
                <a:gd name="connsiteX4" fmla="*/ 137034 w 194269"/>
                <a:gd name="connsiteY4" fmla="*/ 25480 h 162221"/>
                <a:gd name="connsiteX5" fmla="*/ 129195 w 194269"/>
                <a:gd name="connsiteY5" fmla="*/ 2879 h 162221"/>
                <a:gd name="connsiteX6" fmla="*/ 129418 w 194269"/>
                <a:gd name="connsiteY6" fmla="*/ 2920 h 162221"/>
                <a:gd name="connsiteX7" fmla="*/ 171273 w 194269"/>
                <a:gd name="connsiteY7" fmla="*/ -7923 h 162221"/>
                <a:gd name="connsiteX8" fmla="*/ 183427 w 194269"/>
                <a:gd name="connsiteY8" fmla="*/ 48218 h 162221"/>
                <a:gd name="connsiteX9" fmla="*/ 183245 w 194269"/>
                <a:gd name="connsiteY9" fmla="*/ 87151 h 162221"/>
                <a:gd name="connsiteX10" fmla="*/ 168852 w 194269"/>
                <a:gd name="connsiteY10" fmla="*/ 103169 h 162221"/>
                <a:gd name="connsiteX11" fmla="*/ 172473 w 194269"/>
                <a:gd name="connsiteY11" fmla="*/ 104111 h 162221"/>
                <a:gd name="connsiteX12" fmla="*/ 173623 w 194269"/>
                <a:gd name="connsiteY12" fmla="*/ 110021 h 162221"/>
                <a:gd name="connsiteX13" fmla="*/ 137444 w 194269"/>
                <a:gd name="connsiteY13" fmla="*/ 120423 h 162221"/>
                <a:gd name="connsiteX14" fmla="*/ 76093 w 194269"/>
                <a:gd name="connsiteY14" fmla="*/ 153476 h 162221"/>
                <a:gd name="connsiteX15" fmla="*/ 74447 w 194269"/>
                <a:gd name="connsiteY15" fmla="*/ 149172 h 162221"/>
                <a:gd name="connsiteX16" fmla="*/ 77885 w 194269"/>
                <a:gd name="connsiteY16" fmla="*/ 145206 h 162221"/>
                <a:gd name="connsiteX17" fmla="*/ 72649 w 194269"/>
                <a:gd name="connsiteY17" fmla="*/ 143480 h 162221"/>
                <a:gd name="connsiteX18" fmla="*/ -3566 w 194269"/>
                <a:gd name="connsiteY18" fmla="*/ 113921 h 162221"/>
                <a:gd name="connsiteX19" fmla="*/ -3850 w 194269"/>
                <a:gd name="connsiteY19" fmla="*/ 113870 h 162221"/>
                <a:gd name="connsiteX20" fmla="*/ -7835 w 194269"/>
                <a:gd name="connsiteY20" fmla="*/ 108254 h 162221"/>
                <a:gd name="connsiteX21" fmla="*/ 25755 w 194269"/>
                <a:gd name="connsiteY21" fmla="*/ 68536 h 162221"/>
                <a:gd name="connsiteX22" fmla="*/ 74760 w 194269"/>
                <a:gd name="connsiteY22" fmla="*/ 75954 h 16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4269" h="162221">
                  <a:moveTo>
                    <a:pt x="74760" y="75954"/>
                  </a:moveTo>
                  <a:cubicBezTo>
                    <a:pt x="76695" y="59050"/>
                    <a:pt x="88368" y="36819"/>
                    <a:pt x="104178" y="30565"/>
                  </a:cubicBezTo>
                  <a:cubicBezTo>
                    <a:pt x="104371" y="35558"/>
                    <a:pt x="107116" y="40419"/>
                    <a:pt x="111344" y="43124"/>
                  </a:cubicBezTo>
                  <a:cubicBezTo>
                    <a:pt x="115542" y="45843"/>
                    <a:pt x="121128" y="46324"/>
                    <a:pt x="125716" y="44380"/>
                  </a:cubicBezTo>
                  <a:cubicBezTo>
                    <a:pt x="132887" y="41377"/>
                    <a:pt x="136867" y="33234"/>
                    <a:pt x="137034" y="25480"/>
                  </a:cubicBezTo>
                  <a:cubicBezTo>
                    <a:pt x="137242" y="17702"/>
                    <a:pt x="132512" y="9928"/>
                    <a:pt x="129195" y="2879"/>
                  </a:cubicBezTo>
                  <a:lnTo>
                    <a:pt x="129418" y="2920"/>
                  </a:lnTo>
                  <a:cubicBezTo>
                    <a:pt x="131540" y="3441"/>
                    <a:pt x="155417" y="1264"/>
                    <a:pt x="171273" y="-7923"/>
                  </a:cubicBezTo>
                  <a:cubicBezTo>
                    <a:pt x="173972" y="5153"/>
                    <a:pt x="180753" y="35178"/>
                    <a:pt x="183427" y="48218"/>
                  </a:cubicBezTo>
                  <a:cubicBezTo>
                    <a:pt x="186096" y="61172"/>
                    <a:pt x="188623" y="75114"/>
                    <a:pt x="183245" y="87151"/>
                  </a:cubicBezTo>
                  <a:cubicBezTo>
                    <a:pt x="180257" y="93836"/>
                    <a:pt x="175046" y="99219"/>
                    <a:pt x="168852" y="103169"/>
                  </a:cubicBezTo>
                  <a:lnTo>
                    <a:pt x="172473" y="104111"/>
                  </a:lnTo>
                  <a:cubicBezTo>
                    <a:pt x="175172" y="104815"/>
                    <a:pt x="175821" y="108289"/>
                    <a:pt x="173623" y="110021"/>
                  </a:cubicBezTo>
                  <a:cubicBezTo>
                    <a:pt x="156936" y="123041"/>
                    <a:pt x="137444" y="120423"/>
                    <a:pt x="137444" y="120423"/>
                  </a:cubicBezTo>
                  <a:cubicBezTo>
                    <a:pt x="131742" y="131999"/>
                    <a:pt x="116236" y="159376"/>
                    <a:pt x="76093" y="153476"/>
                  </a:cubicBezTo>
                  <a:cubicBezTo>
                    <a:pt x="74047" y="153198"/>
                    <a:pt x="73084" y="150747"/>
                    <a:pt x="74447" y="149172"/>
                  </a:cubicBezTo>
                  <a:lnTo>
                    <a:pt x="77885" y="145206"/>
                  </a:lnTo>
                  <a:lnTo>
                    <a:pt x="72649" y="143480"/>
                  </a:lnTo>
                  <a:cubicBezTo>
                    <a:pt x="51010" y="136319"/>
                    <a:pt x="18604" y="119248"/>
                    <a:pt x="-3566" y="113921"/>
                  </a:cubicBezTo>
                  <a:lnTo>
                    <a:pt x="-3850" y="113870"/>
                  </a:lnTo>
                  <a:cubicBezTo>
                    <a:pt x="-6367" y="113282"/>
                    <a:pt x="-8058" y="110856"/>
                    <a:pt x="-7835" y="108254"/>
                  </a:cubicBezTo>
                  <a:cubicBezTo>
                    <a:pt x="-6185" y="89911"/>
                    <a:pt x="7793" y="73048"/>
                    <a:pt x="25755" y="68536"/>
                  </a:cubicBezTo>
                  <a:cubicBezTo>
                    <a:pt x="42036" y="64474"/>
                    <a:pt x="59047" y="70176"/>
                    <a:pt x="74760" y="75954"/>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5" name="Freeform: Shape 464">
              <a:extLst>
                <a:ext uri="{FF2B5EF4-FFF2-40B4-BE49-F238E27FC236}">
                  <a16:creationId xmlns:a16="http://schemas.microsoft.com/office/drawing/2014/main" id="{1CD2AD6F-161B-C45A-3C06-AC336BA798E6}"/>
                </a:ext>
              </a:extLst>
            </p:cNvPr>
            <p:cNvSpPr/>
            <p:nvPr/>
          </p:nvSpPr>
          <p:spPr>
            <a:xfrm flipV="1">
              <a:off x="6485560" y="2796422"/>
              <a:ext cx="22928" cy="25599"/>
            </a:xfrm>
            <a:custGeom>
              <a:avLst/>
              <a:gdLst>
                <a:gd name="connsiteX0" fmla="*/ 9837 w 22928"/>
                <a:gd name="connsiteY0" fmla="*/ 16850 h 25599"/>
                <a:gd name="connsiteX1" fmla="*/ -6515 w 22928"/>
                <a:gd name="connsiteY1" fmla="*/ 4529 h 25599"/>
                <a:gd name="connsiteX2" fmla="*/ -6899 w 22928"/>
                <a:gd name="connsiteY2" fmla="*/ 1050 h 25599"/>
                <a:gd name="connsiteX3" fmla="*/ 13631 w 22928"/>
                <a:gd name="connsiteY3" fmla="*/ 16552 h 25599"/>
                <a:gd name="connsiteX4" fmla="*/ 9837 w 22928"/>
                <a:gd name="connsiteY4" fmla="*/ 16850 h 25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28" h="25599">
                  <a:moveTo>
                    <a:pt x="9837" y="16850"/>
                  </a:moveTo>
                  <a:cubicBezTo>
                    <a:pt x="7984" y="11994"/>
                    <a:pt x="3553" y="4838"/>
                    <a:pt x="-6515" y="4529"/>
                  </a:cubicBezTo>
                  <a:cubicBezTo>
                    <a:pt x="-8510" y="4468"/>
                    <a:pt x="-7897" y="2914"/>
                    <a:pt x="-6899" y="1050"/>
                  </a:cubicBezTo>
                  <a:cubicBezTo>
                    <a:pt x="-1613" y="-8810"/>
                    <a:pt x="21014" y="-17241"/>
                    <a:pt x="13631" y="16552"/>
                  </a:cubicBezTo>
                  <a:cubicBezTo>
                    <a:pt x="13251" y="18284"/>
                    <a:pt x="10410" y="18359"/>
                    <a:pt x="9837" y="16850"/>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6" name="Freeform: Shape 465">
              <a:extLst>
                <a:ext uri="{FF2B5EF4-FFF2-40B4-BE49-F238E27FC236}">
                  <a16:creationId xmlns:a16="http://schemas.microsoft.com/office/drawing/2014/main" id="{D53BFAC9-0BF1-1886-BADF-13A7E92D1723}"/>
                </a:ext>
              </a:extLst>
            </p:cNvPr>
            <p:cNvSpPr/>
            <p:nvPr/>
          </p:nvSpPr>
          <p:spPr>
            <a:xfrm flipV="1">
              <a:off x="6544542" y="2868866"/>
              <a:ext cx="137840" cy="369894"/>
            </a:xfrm>
            <a:custGeom>
              <a:avLst/>
              <a:gdLst>
                <a:gd name="connsiteX0" fmla="*/ -7509 w 137840"/>
                <a:gd name="connsiteY0" fmla="*/ 362763 h 369894"/>
                <a:gd name="connsiteX1" fmla="*/ 9846 w 137840"/>
                <a:gd name="connsiteY1" fmla="*/ 317267 h 369894"/>
                <a:gd name="connsiteX2" fmla="*/ 71922 w 137840"/>
                <a:gd name="connsiteY2" fmla="*/ 14244 h 369894"/>
                <a:gd name="connsiteX3" fmla="*/ 109867 w 137840"/>
                <a:gd name="connsiteY3" fmla="*/ -7132 h 369894"/>
                <a:gd name="connsiteX4" fmla="*/ 129810 w 137840"/>
                <a:gd name="connsiteY4" fmla="*/ 40441 h 369894"/>
                <a:gd name="connsiteX5" fmla="*/ 20222 w 137840"/>
                <a:gd name="connsiteY5" fmla="*/ 322341 h 369894"/>
                <a:gd name="connsiteX6" fmla="*/ -7509 w 137840"/>
                <a:gd name="connsiteY6" fmla="*/ 362763 h 36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840" h="369894">
                  <a:moveTo>
                    <a:pt x="-7509" y="362763"/>
                  </a:moveTo>
                  <a:cubicBezTo>
                    <a:pt x="-7509" y="362763"/>
                    <a:pt x="-12725" y="327010"/>
                    <a:pt x="9846" y="317267"/>
                  </a:cubicBezTo>
                  <a:cubicBezTo>
                    <a:pt x="9846" y="317267"/>
                    <a:pt x="20288" y="131413"/>
                    <a:pt x="71922" y="14244"/>
                  </a:cubicBezTo>
                  <a:lnTo>
                    <a:pt x="109867" y="-7132"/>
                  </a:lnTo>
                  <a:lnTo>
                    <a:pt x="129810" y="40441"/>
                  </a:lnTo>
                  <a:cubicBezTo>
                    <a:pt x="129810" y="40441"/>
                    <a:pt x="39076" y="162132"/>
                    <a:pt x="20222" y="322341"/>
                  </a:cubicBezTo>
                  <a:cubicBezTo>
                    <a:pt x="20222" y="322341"/>
                    <a:pt x="23352" y="359856"/>
                    <a:pt x="-7509" y="362763"/>
                  </a:cubicBezTo>
                </a:path>
              </a:pathLst>
            </a:custGeom>
            <a:solidFill>
              <a:srgbClr val="FFFFFF"/>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7" name="Freeform: Shape 466">
              <a:extLst>
                <a:ext uri="{FF2B5EF4-FFF2-40B4-BE49-F238E27FC236}">
                  <a16:creationId xmlns:a16="http://schemas.microsoft.com/office/drawing/2014/main" id="{540E524D-3BEA-6F3B-6AD8-73DCB39FC60A}"/>
                </a:ext>
              </a:extLst>
            </p:cNvPr>
            <p:cNvSpPr/>
            <p:nvPr/>
          </p:nvSpPr>
          <p:spPr>
            <a:xfrm flipV="1">
              <a:off x="6536054" y="2796236"/>
              <a:ext cx="92328" cy="105120"/>
            </a:xfrm>
            <a:custGeom>
              <a:avLst/>
              <a:gdLst>
                <a:gd name="connsiteX0" fmla="*/ 68795 w 92328"/>
                <a:gd name="connsiteY0" fmla="*/ 97530 h 105120"/>
                <a:gd name="connsiteX1" fmla="*/ -7977 w 92328"/>
                <a:gd name="connsiteY1" fmla="*/ 24125 h 105120"/>
                <a:gd name="connsiteX2" fmla="*/ 30171 w 92328"/>
                <a:gd name="connsiteY2" fmla="*/ -7571 h 105120"/>
                <a:gd name="connsiteX3" fmla="*/ 84352 w 92328"/>
                <a:gd name="connsiteY3" fmla="*/ 80226 h 105120"/>
                <a:gd name="connsiteX4" fmla="*/ 68795 w 92328"/>
                <a:gd name="connsiteY4" fmla="*/ 97530 h 105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28" h="105120">
                  <a:moveTo>
                    <a:pt x="68795" y="97530"/>
                  </a:moveTo>
                  <a:lnTo>
                    <a:pt x="-7977" y="24125"/>
                  </a:lnTo>
                  <a:cubicBezTo>
                    <a:pt x="-7977" y="24125"/>
                    <a:pt x="31042" y="-8503"/>
                    <a:pt x="30171" y="-7571"/>
                  </a:cubicBezTo>
                  <a:cubicBezTo>
                    <a:pt x="29295" y="-6644"/>
                    <a:pt x="84352" y="80226"/>
                    <a:pt x="84352" y="80226"/>
                  </a:cubicBezTo>
                  <a:lnTo>
                    <a:pt x="68795" y="97530"/>
                  </a:lnTo>
                </a:path>
              </a:pathLst>
            </a:custGeom>
            <a:solidFill>
              <a:srgbClr val="4DA5C3">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8" name="Freeform: Shape 467">
              <a:extLst>
                <a:ext uri="{FF2B5EF4-FFF2-40B4-BE49-F238E27FC236}">
                  <a16:creationId xmlns:a16="http://schemas.microsoft.com/office/drawing/2014/main" id="{05244C88-1486-E9EA-5302-073408EB6458}"/>
                </a:ext>
              </a:extLst>
            </p:cNvPr>
            <p:cNvSpPr/>
            <p:nvPr/>
          </p:nvSpPr>
          <p:spPr>
            <a:xfrm flipV="1">
              <a:off x="6071375" y="3275678"/>
              <a:ext cx="57137" cy="50250"/>
            </a:xfrm>
            <a:custGeom>
              <a:avLst/>
              <a:gdLst>
                <a:gd name="connsiteX0" fmla="*/ 49987 w 57137"/>
                <a:gd name="connsiteY0" fmla="*/ 43424 h 50250"/>
                <a:gd name="connsiteX1" fmla="*/ 6420 w 57137"/>
                <a:gd name="connsiteY1" fmla="*/ 35316 h 50250"/>
                <a:gd name="connsiteX2" fmla="*/ -7147 w 57137"/>
                <a:gd name="connsiteY2" fmla="*/ 3078 h 50250"/>
                <a:gd name="connsiteX3" fmla="*/ -2220 w 57137"/>
                <a:gd name="connsiteY3" fmla="*/ -6382 h 50250"/>
                <a:gd name="connsiteX4" fmla="*/ 7458 w 57137"/>
                <a:gd name="connsiteY4" fmla="*/ 475 h 50250"/>
                <a:gd name="connsiteX5" fmla="*/ 16209 w 57137"/>
                <a:gd name="connsiteY5" fmla="*/ 23891 h 50250"/>
                <a:gd name="connsiteX6" fmla="*/ 43722 w 57137"/>
                <a:gd name="connsiteY6" fmla="*/ 34030 h 50250"/>
                <a:gd name="connsiteX7" fmla="*/ 49987 w 57137"/>
                <a:gd name="connsiteY7" fmla="*/ 43424 h 5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37" h="50250">
                  <a:moveTo>
                    <a:pt x="49987" y="43424"/>
                  </a:moveTo>
                  <a:cubicBezTo>
                    <a:pt x="38015" y="44198"/>
                    <a:pt x="15115" y="43581"/>
                    <a:pt x="6420" y="35316"/>
                  </a:cubicBezTo>
                  <a:cubicBezTo>
                    <a:pt x="-2270" y="27051"/>
                    <a:pt x="-7319" y="15075"/>
                    <a:pt x="-7147" y="3078"/>
                  </a:cubicBezTo>
                  <a:cubicBezTo>
                    <a:pt x="-7097" y="-741"/>
                    <a:pt x="-5896" y="-5344"/>
                    <a:pt x="-2220" y="-6382"/>
                  </a:cubicBezTo>
                  <a:cubicBezTo>
                    <a:pt x="1912" y="-7547"/>
                    <a:pt x="5452" y="-3323"/>
                    <a:pt x="7458" y="475"/>
                  </a:cubicBezTo>
                  <a:cubicBezTo>
                    <a:pt x="11367" y="7858"/>
                    <a:pt x="14315" y="15753"/>
                    <a:pt x="16209" y="23891"/>
                  </a:cubicBezTo>
                  <a:lnTo>
                    <a:pt x="43722" y="34030"/>
                  </a:lnTo>
                  <a:lnTo>
                    <a:pt x="49987" y="43424"/>
                  </a:ln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9" name="Freeform: Shape 468">
              <a:extLst>
                <a:ext uri="{FF2B5EF4-FFF2-40B4-BE49-F238E27FC236}">
                  <a16:creationId xmlns:a16="http://schemas.microsoft.com/office/drawing/2014/main" id="{24AFB264-F89D-AD4E-A52F-8541CD66EC48}"/>
                </a:ext>
              </a:extLst>
            </p:cNvPr>
            <p:cNvSpPr/>
            <p:nvPr/>
          </p:nvSpPr>
          <p:spPr>
            <a:xfrm flipV="1">
              <a:off x="6076200" y="3339611"/>
              <a:ext cx="55092" cy="32089"/>
            </a:xfrm>
            <a:custGeom>
              <a:avLst/>
              <a:gdLst>
                <a:gd name="connsiteX0" fmla="*/ 47935 w 55092"/>
                <a:gd name="connsiteY0" fmla="*/ 15297 h 32089"/>
                <a:gd name="connsiteX1" fmla="*/ 30160 w 55092"/>
                <a:gd name="connsiteY1" fmla="*/ 25592 h 32089"/>
                <a:gd name="connsiteX2" fmla="*/ 10293 w 55092"/>
                <a:gd name="connsiteY2" fmla="*/ 18988 h 32089"/>
                <a:gd name="connsiteX3" fmla="*/ -7158 w 55092"/>
                <a:gd name="connsiteY3" fmla="*/ 2464 h 32089"/>
                <a:gd name="connsiteX4" fmla="*/ 15124 w 55092"/>
                <a:gd name="connsiteY4" fmla="*/ -6454 h 32089"/>
                <a:gd name="connsiteX5" fmla="*/ 34141 w 55092"/>
                <a:gd name="connsiteY5" fmla="*/ 236 h 32089"/>
                <a:gd name="connsiteX6" fmla="*/ 47935 w 55092"/>
                <a:gd name="connsiteY6" fmla="*/ 15297 h 3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92" h="32089">
                  <a:moveTo>
                    <a:pt x="47935" y="15297"/>
                  </a:moveTo>
                  <a:cubicBezTo>
                    <a:pt x="44304" y="21434"/>
                    <a:pt x="37275" y="25177"/>
                    <a:pt x="30160" y="25592"/>
                  </a:cubicBezTo>
                  <a:cubicBezTo>
                    <a:pt x="23045" y="26002"/>
                    <a:pt x="15945" y="23333"/>
                    <a:pt x="10293" y="18988"/>
                  </a:cubicBezTo>
                  <a:cubicBezTo>
                    <a:pt x="4637" y="14648"/>
                    <a:pt x="-3932" y="8819"/>
                    <a:pt x="-7158" y="2464"/>
                  </a:cubicBezTo>
                  <a:cubicBezTo>
                    <a:pt x="-3512" y="-3324"/>
                    <a:pt x="8288" y="-6363"/>
                    <a:pt x="15124" y="-6454"/>
                  </a:cubicBezTo>
                  <a:cubicBezTo>
                    <a:pt x="21961" y="-6545"/>
                    <a:pt x="28620" y="-3800"/>
                    <a:pt x="34141" y="236"/>
                  </a:cubicBezTo>
                  <a:cubicBezTo>
                    <a:pt x="39660" y="4272"/>
                    <a:pt x="43828" y="9832"/>
                    <a:pt x="47935" y="15297"/>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grpSp>
    </p:spTree>
    <p:extLst>
      <p:ext uri="{BB962C8B-B14F-4D97-AF65-F5344CB8AC3E}">
        <p14:creationId xmlns:p14="http://schemas.microsoft.com/office/powerpoint/2010/main" val="32795677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ild Adventure">
  <a:themeElements>
    <a:clrScheme name="Aangepast 4">
      <a:dk1>
        <a:srgbClr val="BB4826"/>
      </a:dk1>
      <a:lt1>
        <a:srgbClr val="F2F2F2"/>
      </a:lt1>
      <a:dk2>
        <a:srgbClr val="05507E"/>
      </a:dk2>
      <a:lt2>
        <a:srgbClr val="28ACE2"/>
      </a:lt2>
      <a:accent1>
        <a:srgbClr val="C7890F"/>
      </a:accent1>
      <a:accent2>
        <a:srgbClr val="8AA36E"/>
      </a:accent2>
      <a:accent3>
        <a:srgbClr val="218DB9"/>
      </a:accent3>
      <a:accent4>
        <a:srgbClr val="054F7D"/>
      </a:accent4>
      <a:accent5>
        <a:srgbClr val="28ACE2"/>
      </a:accent5>
      <a:accent6>
        <a:srgbClr val="E08366"/>
      </a:accent6>
      <a:hlink>
        <a:srgbClr val="8AA36E"/>
      </a:hlink>
      <a:folHlink>
        <a:srgbClr val="8AA36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57c7f9a-97e3-4979-b9aa-2c08dfba3b1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BD2040E098EFF43AF84438690E07A7D" ma:contentTypeVersion="15" ma:contentTypeDescription="Create a new document." ma:contentTypeScope="" ma:versionID="f717cd3c1e9f60106d229c47992cd5bc">
  <xsd:schema xmlns:xsd="http://www.w3.org/2001/XMLSchema" xmlns:xs="http://www.w3.org/2001/XMLSchema" xmlns:p="http://schemas.microsoft.com/office/2006/metadata/properties" xmlns:ns3="18ab2941-7253-43ac-b30e-e7ef1e0bb33b" xmlns:ns4="d57c7f9a-97e3-4979-b9aa-2c08dfba3b1c" targetNamespace="http://schemas.microsoft.com/office/2006/metadata/properties" ma:root="true" ma:fieldsID="cd2d9530aa7d30b56aa641e81352ff51" ns3:_="" ns4:_="">
    <xsd:import namespace="18ab2941-7253-43ac-b30e-e7ef1e0bb33b"/>
    <xsd:import namespace="d57c7f9a-97e3-4979-b9aa-2c08dfba3b1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LengthInSeconds"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Location"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ab2941-7253-43ac-b30e-e7ef1e0bb33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7c7f9a-97e3-4979-b9aa-2c08dfba3b1c"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element name="_activity" ma:index="22"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566BCB-26E5-483D-86CE-1308BF180BF0}">
  <ds:schemaRefs>
    <ds:schemaRef ds:uri="http://schemas.microsoft.com/office/infopath/2007/PartnerControls"/>
    <ds:schemaRef ds:uri="http://purl.org/dc/elements/1.1/"/>
    <ds:schemaRef ds:uri="http://schemas.microsoft.com/office/2006/documentManagement/types"/>
    <ds:schemaRef ds:uri="http://purl.org/dc/dcmitype/"/>
    <ds:schemaRef ds:uri="http://schemas.microsoft.com/office/2006/metadata/properties"/>
    <ds:schemaRef ds:uri="http://www.w3.org/XML/1998/namespace"/>
    <ds:schemaRef ds:uri="d57c7f9a-97e3-4979-b9aa-2c08dfba3b1c"/>
    <ds:schemaRef ds:uri="http://schemas.openxmlformats.org/package/2006/metadata/core-properties"/>
    <ds:schemaRef ds:uri="18ab2941-7253-43ac-b30e-e7ef1e0bb33b"/>
    <ds:schemaRef ds:uri="http://purl.org/dc/terms/"/>
  </ds:schemaRefs>
</ds:datastoreItem>
</file>

<file path=customXml/itemProps2.xml><?xml version="1.0" encoding="utf-8"?>
<ds:datastoreItem xmlns:ds="http://schemas.openxmlformats.org/officeDocument/2006/customXml" ds:itemID="{0E9817EC-D9D7-4177-93A5-A42CDAD76C5E}">
  <ds:schemaRefs>
    <ds:schemaRef ds:uri="http://schemas.microsoft.com/sharepoint/v3/contenttype/forms"/>
  </ds:schemaRefs>
</ds:datastoreItem>
</file>

<file path=customXml/itemProps3.xml><?xml version="1.0" encoding="utf-8"?>
<ds:datastoreItem xmlns:ds="http://schemas.openxmlformats.org/officeDocument/2006/customXml" ds:itemID="{4857BD0D-5B7F-4AF5-A78E-D1AB180E1158}">
  <ds:schemaRefs>
    <ds:schemaRef ds:uri="18ab2941-7253-43ac-b30e-e7ef1e0bb33b"/>
    <ds:schemaRef ds:uri="d57c7f9a-97e3-4979-b9aa-2c08dfba3b1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Retrospect</Template>
  <TotalTime>1856</TotalTime>
  <Words>1424</Words>
  <Application>Microsoft Office PowerPoint</Application>
  <PresentationFormat>Widescreen</PresentationFormat>
  <Paragraphs>183</Paragraphs>
  <Slides>15</Slides>
  <Notes>15</Notes>
  <HiddenSlides>0</HiddenSlides>
  <MMClips>0</MMClips>
  <ScaleCrop>false</ScaleCrop>
  <HeadingPairs>
    <vt:vector size="4" baseType="variant">
      <vt:variant>
        <vt:lpstr>Theme</vt:lpstr>
      </vt:variant>
      <vt:variant>
        <vt:i4>2</vt:i4>
      </vt:variant>
      <vt:variant>
        <vt:lpstr>Slide Titles</vt:lpstr>
      </vt:variant>
      <vt:variant>
        <vt:i4>15</vt:i4>
      </vt:variant>
    </vt:vector>
  </HeadingPairs>
  <TitlesOfParts>
    <vt:vector size="17" baseType="lpstr">
      <vt:lpstr>1_Wild Adventure</vt:lpstr>
      <vt:lpstr>2_Office Theme</vt:lpstr>
      <vt:lpstr>Career Accelerator</vt:lpstr>
      <vt:lpstr>In this Sprint Planning</vt:lpstr>
      <vt:lpstr>The Scrum Team</vt:lpstr>
      <vt:lpstr>Scrum in Career Accelerator</vt:lpstr>
      <vt:lpstr>Project Introduction</vt:lpstr>
      <vt:lpstr>Project Deliverables</vt:lpstr>
      <vt:lpstr>Sprint Rubrics</vt:lpstr>
      <vt:lpstr>Why is this Sprint Valuable?</vt:lpstr>
      <vt:lpstr>Sprint Backlog</vt:lpstr>
      <vt:lpstr>Sprint Backlog</vt:lpstr>
      <vt:lpstr>Sprint Backlog</vt:lpstr>
      <vt:lpstr>Sprint Backlog</vt:lpstr>
      <vt:lpstr>Sprint (4 Weeks) </vt:lpstr>
      <vt:lpstr>Sprint Timeline (4 Weeks)</vt:lpstr>
      <vt:lpstr>How to get hel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reer Accelerator</dc:title>
  <dc:creator>Robert  Njuguna</dc:creator>
  <cp:lastModifiedBy>teachops@azubiafrica.org</cp:lastModifiedBy>
  <cp:revision>68</cp:revision>
  <dcterms:created xsi:type="dcterms:W3CDTF">2022-08-02T18:12:52Z</dcterms:created>
  <dcterms:modified xsi:type="dcterms:W3CDTF">2024-08-07T12:4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D2040E098EFF43AF84438690E07A7D</vt:lpwstr>
  </property>
</Properties>
</file>